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Override1.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2.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notesSlides/notesSlide1.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2.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3.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4.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5.xml" ContentType="application/vnd.openxmlformats-officedocument.presentationml.notesSlide+xml"/>
  <Override PartName="/ppt/tags/tag138.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6"/>
    <p:sldMasterId id="2147483831" r:id="rId7"/>
    <p:sldMasterId id="2147483840" r:id="rId8"/>
    <p:sldMasterId id="2147483851" r:id="rId9"/>
    <p:sldMasterId id="2147483943" r:id="rId10"/>
    <p:sldMasterId id="2147483970" r:id="rId11"/>
  </p:sldMasterIdLst>
  <p:notesMasterIdLst>
    <p:notesMasterId r:id="rId18"/>
  </p:notesMasterIdLst>
  <p:handoutMasterIdLst>
    <p:handoutMasterId r:id="rId19"/>
  </p:handoutMasterIdLst>
  <p:sldIdLst>
    <p:sldId id="872" r:id="rId12"/>
    <p:sldId id="1135" r:id="rId13"/>
    <p:sldId id="1140" r:id="rId14"/>
    <p:sldId id="1139" r:id="rId15"/>
    <p:sldId id="1132" r:id="rId16"/>
    <p:sldId id="871" r:id="rId17"/>
  </p:sldIdLst>
  <p:sldSz cx="12192000" cy="6858000"/>
  <p:notesSz cx="7315200" cy="96012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29" userDrawn="1">
          <p15:clr>
            <a:srgbClr val="A4A3A4"/>
          </p15:clr>
        </p15:guide>
        <p15:guide id="2" pos="384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7" name="Koncar, Marjeta" initials="KM" lastIdx="3" clrIdx="6">
    <p:extLst>
      <p:ext uri="{19B8F6BF-5375-455C-9EA6-DF929625EA0E}">
        <p15:presenceInfo xmlns:p15="http://schemas.microsoft.com/office/powerpoint/2012/main" userId="S-1-5-21-2094927150-201071529-617630493-748024" providerId="AD"/>
      </p:ext>
    </p:extLst>
  </p:cmAuthor>
  <p:cmAuthor id="1" name="Gábor Tóth" initials="GT" lastIdx="2" clrIdx="1">
    <p:extLst>
      <p:ext uri="{19B8F6BF-5375-455C-9EA6-DF929625EA0E}">
        <p15:presenceInfo xmlns:p15="http://schemas.microsoft.com/office/powerpoint/2012/main" userId="ed593bf444493121" providerId="Windows Live"/>
      </p:ext>
    </p:extLst>
  </p:cmAuthor>
  <p:cmAuthor id="8" name="Vahcic, Tilen" initials="VT" lastIdx="3" clrIdx="7">
    <p:extLst>
      <p:ext uri="{19B8F6BF-5375-455C-9EA6-DF929625EA0E}">
        <p15:presenceInfo xmlns:p15="http://schemas.microsoft.com/office/powerpoint/2012/main" userId="S-1-5-21-2094927150-201071529-617630493-1058500" providerId="AD"/>
      </p:ext>
    </p:extLst>
  </p:cmAuthor>
  <p:cmAuthor id="2" name="Motl, Jan" initials="MJ" lastIdx="9" clrIdx="2">
    <p:extLst>
      <p:ext uri="{19B8F6BF-5375-455C-9EA6-DF929625EA0E}">
        <p15:presenceInfo xmlns:p15="http://schemas.microsoft.com/office/powerpoint/2012/main" userId="S-1-5-21-2094927150-201071529-617630493-1230122" providerId="AD"/>
      </p:ext>
    </p:extLst>
  </p:cmAuthor>
  <p:cmAuthor id="9" name="tvehovar" initials="tvs" lastIdx="51" clrIdx="8">
    <p:extLst>
      <p:ext uri="{19B8F6BF-5375-455C-9EA6-DF929625EA0E}">
        <p15:presenceInfo xmlns:p15="http://schemas.microsoft.com/office/powerpoint/2012/main" userId="tvehovar" providerId="None"/>
      </p:ext>
    </p:extLst>
  </p:cmAuthor>
  <p:cmAuthor id="3" name="Kraja, Idlirjon" initials="KI" lastIdx="4" clrIdx="3">
    <p:extLst>
      <p:ext uri="{19B8F6BF-5375-455C-9EA6-DF929625EA0E}">
        <p15:presenceInfo xmlns:p15="http://schemas.microsoft.com/office/powerpoint/2012/main" userId="S-1-5-21-2094927150-201071529-617630493-857466" providerId="AD"/>
      </p:ext>
    </p:extLst>
  </p:cmAuthor>
  <p:cmAuthor id="10" name="Kostanjevec Jazbec Lea" initials="KJL" lastIdx="10" clrIdx="9">
    <p:extLst>
      <p:ext uri="{19B8F6BF-5375-455C-9EA6-DF929625EA0E}">
        <p15:presenceInfo xmlns:p15="http://schemas.microsoft.com/office/powerpoint/2012/main" userId="S-1-5-21-29062249-217189429-1757479407-101111" providerId="AD"/>
      </p:ext>
    </p:extLst>
  </p:cmAuthor>
  <p:cmAuthor id="4" name="Bielanska, Anita" initials="BA" lastIdx="6" clrIdx="4">
    <p:extLst>
      <p:ext uri="{19B8F6BF-5375-455C-9EA6-DF929625EA0E}">
        <p15:presenceInfo xmlns:p15="http://schemas.microsoft.com/office/powerpoint/2012/main" userId="S-1-5-21-2094927150-201071529-617630493-637853" providerId="AD"/>
      </p:ext>
    </p:extLst>
  </p:cmAuthor>
  <p:cmAuthor id="11" name="Veber, Matija" initials="VM" lastIdx="3" clrIdx="10">
    <p:extLst>
      <p:ext uri="{19B8F6BF-5375-455C-9EA6-DF929625EA0E}">
        <p15:presenceInfo xmlns:p15="http://schemas.microsoft.com/office/powerpoint/2012/main" userId="S-1-5-21-2094927150-201071529-617630493-1355432" providerId="AD"/>
      </p:ext>
    </p:extLst>
  </p:cmAuthor>
  <p:cmAuthor id="5" name="Vesnaver, Luka" initials="VL" lastIdx="10" clrIdx="5">
    <p:extLst>
      <p:ext uri="{19B8F6BF-5375-455C-9EA6-DF929625EA0E}">
        <p15:presenceInfo xmlns:p15="http://schemas.microsoft.com/office/powerpoint/2012/main" userId="S-1-5-21-2094927150-201071529-617630493-10561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6A38"/>
    <a:srgbClr val="CCCCCC"/>
    <a:srgbClr val="012169"/>
    <a:srgbClr val="86BC25"/>
    <a:srgbClr val="00F4EA"/>
    <a:srgbClr val="0ABFCC"/>
    <a:srgbClr val="F7F7F7"/>
    <a:srgbClr val="FCFCFC"/>
    <a:srgbClr val="EBEBE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99" autoAdjust="0"/>
    <p:restoredTop sz="96395" autoAdjust="0"/>
  </p:normalViewPr>
  <p:slideViewPr>
    <p:cSldViewPr snapToGrid="0" snapToObjects="1" showGuides="1">
      <p:cViewPr varScale="1">
        <p:scale>
          <a:sx n="65" d="100"/>
          <a:sy n="65" d="100"/>
        </p:scale>
        <p:origin x="852" y="40"/>
      </p:cViewPr>
      <p:guideLst>
        <p:guide orient="horz" pos="3929"/>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2" d="100"/>
          <a:sy n="82" d="100"/>
        </p:scale>
        <p:origin x="3754" y="6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2.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2.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latin typeface="Open Sans" panose="020B0606030504020204" pitchFamily="34" charset="0"/>
            </a:endParaRPr>
          </a:p>
        </p:txBody>
      </p:sp>
      <p:sp>
        <p:nvSpPr>
          <p:cNvPr id="3" name="Date Placeholder 2"/>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653EEADE-084D-EF46-9E06-49157D51E4F3}" type="datetimeFigureOut">
              <a:rPr lang="en-US" smtClean="0">
                <a:latin typeface="Open Sans" panose="020B0606030504020204" pitchFamily="34" charset="0"/>
              </a:rPr>
              <a:t>12/30/2022</a:t>
            </a:fld>
            <a:endParaRPr lang="en-US">
              <a:latin typeface="Open Sans" panose="020B0606030504020204" pitchFamily="34" charset="0"/>
            </a:endParaRPr>
          </a:p>
        </p:txBody>
      </p:sp>
      <p:sp>
        <p:nvSpPr>
          <p:cNvPr id="4" name="Footer Placeholder 3"/>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latin typeface="Open Sans" panose="020B0606030504020204" pitchFamily="34" charset="0"/>
            </a:endParaRPr>
          </a:p>
        </p:txBody>
      </p:sp>
      <p:sp>
        <p:nvSpPr>
          <p:cNvPr id="5" name="Slide Number Placeholder 4"/>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9425D719-9150-F743-805E-17E4DF1A376C}"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latin typeface="Open Sans" panose="020B0606030504020204" pitchFamily="34" charset="0"/>
            </a:endParaRPr>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A8E03A04-0626-44D4-B6D6-43B9D98023FD}" type="datetimeFigureOut">
              <a:rPr lang="en-US" smtClean="0">
                <a:latin typeface="Open Sans" panose="020B0606030504020204" pitchFamily="34" charset="0"/>
              </a:rPr>
              <a:t>12/30/2022</a:t>
            </a:fld>
            <a:endParaRPr lang="en-US">
              <a:latin typeface="Open Sans" panose="020B0606030504020204" pitchFamily="34" charset="0"/>
            </a:endParaRPr>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latin typeface="Open Sans" panose="020B0606030504020204" pitchFamily="34" charset="0"/>
            </a:endParaRPr>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latin typeface="Open Sans" panose="020B0606030504020204" pitchFamily="34" charset="0"/>
            </a:endParaRPr>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08A34052-12FB-4B01-8A2E-D87AD7371E95}" type="slidenum">
              <a:rPr lang="en-US" smtClean="0">
                <a:latin typeface="Open Sans" panose="020B0606030504020204" pitchFamily="34" charset="0"/>
              </a:rPr>
              <a:t>‹#›</a:t>
            </a:fld>
            <a:endParaRPr lang="en-US">
              <a:latin typeface="Open Sans" panose="020B0606030504020204" pitchFamily="34" charset="0"/>
            </a:endParaRPr>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Open Sans" panose="020B0606030504020204" pitchFamily="34" charset="0"/>
        <a:ea typeface="+mn-ea"/>
        <a:cs typeface="+mn-cs"/>
        <a:sym typeface="Open Sans" panose="020B0606030504020204" pitchFamily="34" charset="0"/>
      </a:defRPr>
    </a:lvl1pPr>
    <a:lvl2pPr marL="457200" algn="l" defTabSz="914400" rtl="0" eaLnBrk="1" latinLnBrk="0" hangingPunct="1">
      <a:defRPr sz="1200" kern="1200">
        <a:solidFill>
          <a:schemeClr val="tx1"/>
        </a:solidFill>
        <a:latin typeface="Open Sans" panose="020B0606030504020204" pitchFamily="34" charset="0"/>
        <a:ea typeface="+mn-ea"/>
        <a:cs typeface="+mn-cs"/>
        <a:sym typeface="Open Sans" panose="020B0606030504020204" pitchFamily="34" charset="0"/>
      </a:defRPr>
    </a:lvl2pPr>
    <a:lvl3pPr marL="914400" algn="l" defTabSz="914400" rtl="0" eaLnBrk="1" latinLnBrk="0" hangingPunct="1">
      <a:defRPr sz="1200" kern="1200">
        <a:solidFill>
          <a:schemeClr val="tx1"/>
        </a:solidFill>
        <a:latin typeface="Open Sans" panose="020B0606030504020204" pitchFamily="34" charset="0"/>
        <a:ea typeface="+mn-ea"/>
        <a:cs typeface="+mn-cs"/>
        <a:sym typeface="Open Sans" panose="020B0606030504020204" pitchFamily="34" charset="0"/>
      </a:defRPr>
    </a:lvl3pPr>
    <a:lvl4pPr marL="1371600" algn="l" defTabSz="914400" rtl="0" eaLnBrk="1" latinLnBrk="0" hangingPunct="1">
      <a:defRPr sz="1200" kern="1200">
        <a:solidFill>
          <a:schemeClr val="tx1"/>
        </a:solidFill>
        <a:latin typeface="Open Sans" panose="020B0606030504020204" pitchFamily="34" charset="0"/>
        <a:ea typeface="+mn-ea"/>
        <a:cs typeface="+mn-cs"/>
        <a:sym typeface="Open Sans" panose="020B0606030504020204" pitchFamily="34" charset="0"/>
      </a:defRPr>
    </a:lvl4pPr>
    <a:lvl5pPr marL="1828800" algn="l" defTabSz="914400" rtl="0" eaLnBrk="1" latinLnBrk="0" hangingPunct="1">
      <a:defRPr sz="1200" kern="1200">
        <a:solidFill>
          <a:schemeClr val="tx1"/>
        </a:solidFill>
        <a:latin typeface="Open Sans" panose="020B0606030504020204" pitchFamily="34" charset="0"/>
        <a:ea typeface="+mn-ea"/>
        <a:cs typeface="+mn-cs"/>
        <a:sym typeface="Open Sans" panose="020B0606030504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Open Sans" panose="020B0606030504020204" pitchFamily="34" charset="0"/>
            </a:endParaRPr>
          </a:p>
        </p:txBody>
      </p:sp>
      <p:sp>
        <p:nvSpPr>
          <p:cNvPr id="4" name="Slide Number Placeholder 3"/>
          <p:cNvSpPr>
            <a:spLocks noGrp="1"/>
          </p:cNvSpPr>
          <p:nvPr>
            <p:ph type="sldNum" sz="quarter" idx="10"/>
          </p:nvPr>
        </p:nvSpPr>
        <p:spPr/>
        <p:txBody>
          <a:bodyPr/>
          <a:lstStyle/>
          <a:p>
            <a:fld id="{08A34052-12FB-4B01-8A2E-D87AD7371E95}" type="slidenum">
              <a:rPr lang="en-US" smtClean="0">
                <a:latin typeface="Open Sans" panose="020B0606030504020204" pitchFamily="34" charset="0"/>
              </a:rPr>
              <a:t>1</a:t>
            </a:fld>
            <a:endParaRPr lang="en-US" dirty="0">
              <a:latin typeface="Open Sans" panose="020B0606030504020204" pitchFamily="34" charset="0"/>
            </a:endParaRPr>
          </a:p>
        </p:txBody>
      </p:sp>
    </p:spTree>
    <p:extLst>
      <p:ext uri="{BB962C8B-B14F-4D97-AF65-F5344CB8AC3E}">
        <p14:creationId xmlns:p14="http://schemas.microsoft.com/office/powerpoint/2010/main" val="2633440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Open Sans" panose="020B0606030504020204" pitchFamily="34" charset="0"/>
            </a:endParaRPr>
          </a:p>
        </p:txBody>
      </p:sp>
      <p:sp>
        <p:nvSpPr>
          <p:cNvPr id="4" name="Slide Number Placeholder 3"/>
          <p:cNvSpPr>
            <a:spLocks noGrp="1"/>
          </p:cNvSpPr>
          <p:nvPr>
            <p:ph type="sldNum" sz="quarter" idx="10"/>
          </p:nvPr>
        </p:nvSpPr>
        <p:spPr/>
        <p:txBody>
          <a:bodyPr/>
          <a:lstStyle/>
          <a:p>
            <a:fld id="{08A34052-12FB-4B01-8A2E-D87AD7371E95}" type="slidenum">
              <a:rPr lang="en-US" smtClean="0">
                <a:latin typeface="Open Sans" panose="020B0606030504020204" pitchFamily="34" charset="0"/>
              </a:rPr>
              <a:t>2</a:t>
            </a:fld>
            <a:endParaRPr lang="en-US">
              <a:latin typeface="Open Sans" panose="020B0606030504020204" pitchFamily="34" charset="0"/>
            </a:endParaRPr>
          </a:p>
        </p:txBody>
      </p:sp>
    </p:spTree>
    <p:extLst>
      <p:ext uri="{BB962C8B-B14F-4D97-AF65-F5344CB8AC3E}">
        <p14:creationId xmlns:p14="http://schemas.microsoft.com/office/powerpoint/2010/main" val="1768739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Open Sans" panose="020B0606030504020204" pitchFamily="34" charset="0"/>
            </a:endParaRPr>
          </a:p>
        </p:txBody>
      </p:sp>
      <p:sp>
        <p:nvSpPr>
          <p:cNvPr id="4" name="Slide Number Placeholder 3"/>
          <p:cNvSpPr>
            <a:spLocks noGrp="1"/>
          </p:cNvSpPr>
          <p:nvPr>
            <p:ph type="sldNum" sz="quarter" idx="10"/>
          </p:nvPr>
        </p:nvSpPr>
        <p:spPr/>
        <p:txBody>
          <a:bodyPr/>
          <a:lstStyle/>
          <a:p>
            <a:fld id="{08A34052-12FB-4B01-8A2E-D87AD7371E95}" type="slidenum">
              <a:rPr lang="en-US" smtClean="0">
                <a:latin typeface="Open Sans" panose="020B0606030504020204" pitchFamily="34" charset="0"/>
              </a:rPr>
              <a:t>3</a:t>
            </a:fld>
            <a:endParaRPr lang="en-US">
              <a:latin typeface="Open Sans" panose="020B0606030504020204" pitchFamily="34" charset="0"/>
            </a:endParaRPr>
          </a:p>
        </p:txBody>
      </p:sp>
    </p:spTree>
    <p:extLst>
      <p:ext uri="{BB962C8B-B14F-4D97-AF65-F5344CB8AC3E}">
        <p14:creationId xmlns:p14="http://schemas.microsoft.com/office/powerpoint/2010/main" val="3786345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Open Sans" panose="020B0606030504020204" pitchFamily="34" charset="0"/>
            </a:endParaRPr>
          </a:p>
        </p:txBody>
      </p:sp>
      <p:sp>
        <p:nvSpPr>
          <p:cNvPr id="4" name="Slide Number Placeholder 3"/>
          <p:cNvSpPr>
            <a:spLocks noGrp="1"/>
          </p:cNvSpPr>
          <p:nvPr>
            <p:ph type="sldNum" sz="quarter" idx="10"/>
          </p:nvPr>
        </p:nvSpPr>
        <p:spPr/>
        <p:txBody>
          <a:bodyPr/>
          <a:lstStyle/>
          <a:p>
            <a:fld id="{08A34052-12FB-4B01-8A2E-D87AD7371E95}" type="slidenum">
              <a:rPr lang="en-US" smtClean="0">
                <a:latin typeface="Open Sans" panose="020B0606030504020204" pitchFamily="34" charset="0"/>
              </a:rPr>
              <a:t>4</a:t>
            </a:fld>
            <a:endParaRPr lang="en-US">
              <a:latin typeface="Open Sans" panose="020B0606030504020204" pitchFamily="34" charset="0"/>
            </a:endParaRPr>
          </a:p>
        </p:txBody>
      </p:sp>
    </p:spTree>
    <p:extLst>
      <p:ext uri="{BB962C8B-B14F-4D97-AF65-F5344CB8AC3E}">
        <p14:creationId xmlns:p14="http://schemas.microsoft.com/office/powerpoint/2010/main" val="2188961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Open Sans" panose="020B0606030504020204" pitchFamily="34" charset="0"/>
            </a:endParaRPr>
          </a:p>
        </p:txBody>
      </p:sp>
      <p:sp>
        <p:nvSpPr>
          <p:cNvPr id="4" name="Slide Number Placeholder 3"/>
          <p:cNvSpPr>
            <a:spLocks noGrp="1"/>
          </p:cNvSpPr>
          <p:nvPr>
            <p:ph type="sldNum" sz="quarter" idx="10"/>
          </p:nvPr>
        </p:nvSpPr>
        <p:spPr/>
        <p:txBody>
          <a:bodyPr/>
          <a:lstStyle/>
          <a:p>
            <a:fld id="{08A34052-12FB-4B01-8A2E-D87AD7371E95}" type="slidenum">
              <a:rPr lang="en-US" smtClean="0">
                <a:latin typeface="Open Sans" panose="020B0606030504020204" pitchFamily="34" charset="0"/>
              </a:rPr>
              <a:t>5</a:t>
            </a:fld>
            <a:endParaRPr lang="en-US">
              <a:latin typeface="Open Sans" panose="020B0606030504020204" pitchFamily="34" charset="0"/>
            </a:endParaRPr>
          </a:p>
        </p:txBody>
      </p:sp>
    </p:spTree>
    <p:extLst>
      <p:ext uri="{BB962C8B-B14F-4D97-AF65-F5344CB8AC3E}">
        <p14:creationId xmlns:p14="http://schemas.microsoft.com/office/powerpoint/2010/main" val="3104420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Open Sans" panose="020B0606030504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Open Sans" panose="020B06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spTree>
    <p:extLst>
      <p:ext uri="{BB962C8B-B14F-4D97-AF65-F5344CB8AC3E}">
        <p14:creationId xmlns:p14="http://schemas.microsoft.com/office/powerpoint/2010/main" val="833176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3" Type="http://schemas.openxmlformats.org/officeDocument/2006/relationships/tags" Target="../tags/tag14.xml"/><Relationship Id="rId21" Type="http://schemas.openxmlformats.org/officeDocument/2006/relationships/slideMaster" Target="../slideMasters/slideMaster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vmlDrawing" Target="../drawings/vmlDrawing12.v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5.jpeg"/><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vmlDrawing" Target="../drawings/vmlDrawing16.vml"/><Relationship Id="rId1" Type="http://schemas.openxmlformats.org/officeDocument/2006/relationships/themeOverride" Target="../theme/themeOverride1.xml"/><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5.v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3" Type="http://schemas.openxmlformats.org/officeDocument/2006/relationships/tags" Target="../tags/tag52.xml"/><Relationship Id="rId21" Type="http://schemas.openxmlformats.org/officeDocument/2006/relationships/slideMaster" Target="../slideMasters/slideMaster4.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1" Type="http://schemas.openxmlformats.org/officeDocument/2006/relationships/vmlDrawing" Target="../drawings/vmlDrawing31.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image" Target="../media/image5.jpeg"/><Relationship Id="rId10" Type="http://schemas.openxmlformats.org/officeDocument/2006/relationships/tags" Target="../tags/tag59.xml"/><Relationship Id="rId19" Type="http://schemas.openxmlformats.org/officeDocument/2006/relationships/tags" Target="../tags/tag68.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oleObject" Target="../embeddings/oleObject3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vmlDrawing" Target="../drawings/vmlDrawing32.vml"/><Relationship Id="rId4" Type="http://schemas.openxmlformats.org/officeDocument/2006/relationships/oleObject" Target="../embeddings/oleObject3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vmlDrawing" Target="../drawings/vmlDrawing34.vml"/><Relationship Id="rId1" Type="http://schemas.openxmlformats.org/officeDocument/2006/relationships/themeOverride" Target="../theme/themeOverride2.xml"/><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5.vml"/><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39.vml"/><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vmlDrawing" Target="../drawings/vmlDrawing40.vml"/><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vmlDrawing" Target="../drawings/vmlDrawing41.v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3.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4.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vmlDrawing" Target="../drawings/vmlDrawing47.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8.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9.xml"/><Relationship Id="rId1" Type="http://schemas.openxmlformats.org/officeDocument/2006/relationships/vmlDrawing" Target="../drawings/vmlDrawing50.vml"/><Relationship Id="rId5" Type="http://schemas.openxmlformats.org/officeDocument/2006/relationships/image" Target="../media/image9.emf"/><Relationship Id="rId4" Type="http://schemas.openxmlformats.org/officeDocument/2006/relationships/oleObject" Target="../embeddings/oleObject5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0.xml"/><Relationship Id="rId1" Type="http://schemas.openxmlformats.org/officeDocument/2006/relationships/vmlDrawing" Target="../drawings/vmlDrawing51.vml"/><Relationship Id="rId5" Type="http://schemas.openxmlformats.org/officeDocument/2006/relationships/image" Target="../media/image9.emf"/><Relationship Id="rId4" Type="http://schemas.openxmlformats.org/officeDocument/2006/relationships/oleObject" Target="../embeddings/oleObject5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1.xml"/><Relationship Id="rId1" Type="http://schemas.openxmlformats.org/officeDocument/2006/relationships/vmlDrawing" Target="../drawings/vmlDrawing52.v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5.xml"/><Relationship Id="rId7" Type="http://schemas.openxmlformats.org/officeDocument/2006/relationships/image" Target="../media/image12.jpeg"/><Relationship Id="rId2" Type="http://schemas.openxmlformats.org/officeDocument/2006/relationships/tags" Target="../tags/tag94.xml"/><Relationship Id="rId1" Type="http://schemas.openxmlformats.org/officeDocument/2006/relationships/vmlDrawing" Target="../drawings/vmlDrawing55.vml"/><Relationship Id="rId6" Type="http://schemas.openxmlformats.org/officeDocument/2006/relationships/image" Target="../media/image11.jpeg"/><Relationship Id="rId5" Type="http://schemas.openxmlformats.org/officeDocument/2006/relationships/image" Target="../media/image7.emf"/><Relationship Id="rId4" Type="http://schemas.openxmlformats.org/officeDocument/2006/relationships/oleObject" Target="../embeddings/oleObject55.bin"/><Relationship Id="rId9" Type="http://schemas.openxmlformats.org/officeDocument/2006/relationships/image" Target="../media/image13.jpg"/></Relationships>
</file>

<file path=ppt/slideLayouts/_rels/slideLayout5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5.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11.jpeg"/><Relationship Id="rId5" Type="http://schemas.openxmlformats.org/officeDocument/2006/relationships/image" Target="../media/image7.emf"/><Relationship Id="rId4" Type="http://schemas.openxmlformats.org/officeDocument/2006/relationships/oleObject" Target="../embeddings/oleObject56.bin"/><Relationship Id="rId9" Type="http://schemas.openxmlformats.org/officeDocument/2006/relationships/image" Target="../media/image13.jp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6.xml"/><Relationship Id="rId1" Type="http://schemas.openxmlformats.org/officeDocument/2006/relationships/vmlDrawing" Target="../drawings/vmlDrawing57.vml"/><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7.xml"/><Relationship Id="rId1" Type="http://schemas.openxmlformats.org/officeDocument/2006/relationships/vmlDrawing" Target="../drawings/vmlDrawing58.v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8.xml"/><Relationship Id="rId1" Type="http://schemas.openxmlformats.org/officeDocument/2006/relationships/vmlDrawing" Target="../drawings/vmlDrawing59.vml"/><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60.vml"/><Relationship Id="rId5" Type="http://schemas.openxmlformats.org/officeDocument/2006/relationships/image" Target="../media/image2.emf"/><Relationship Id="rId4" Type="http://schemas.openxmlformats.org/officeDocument/2006/relationships/oleObject" Target="../embeddings/oleObject6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1.xml"/><Relationship Id="rId1" Type="http://schemas.openxmlformats.org/officeDocument/2006/relationships/vmlDrawing" Target="../drawings/vmlDrawing62.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3.xml"/><Relationship Id="rId1" Type="http://schemas.openxmlformats.org/officeDocument/2006/relationships/vmlDrawing" Target="../drawings/vmlDrawing6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4.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5.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image" Target="../media/image15.pn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image" Target="../media/image16.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image" Target="../media/image17.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image" Target="../media/image18.pn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image" Target="../media/image19.pn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1.png"/><Relationship Id="rId2" Type="http://schemas.openxmlformats.org/officeDocument/2006/relationships/tags" Target="../tags/tag110.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image" Target="../media/image20.pn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3.png"/><Relationship Id="rId2" Type="http://schemas.openxmlformats.org/officeDocument/2006/relationships/tags" Target="../tags/tag111.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image" Target="../media/image22.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112.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image" Target="../media/image24.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7.png"/><Relationship Id="rId2" Type="http://schemas.openxmlformats.org/officeDocument/2006/relationships/tags" Target="../tags/tag113.xml"/><Relationship Id="rId1" Type="http://schemas.openxmlformats.org/officeDocument/2006/relationships/vmlDrawing" Target="../drawings/vmlDrawing74.v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4.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image" Target="../media/image16.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5.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image" Target="../media/image17.png"/></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6.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image" Target="../media/image18.pn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7.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image" Target="../media/image19.pn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8.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image" Target="../media/image15.pn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9.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0.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1.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3.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4.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5.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6.xml"/><Relationship Id="rId1" Type="http://schemas.openxmlformats.org/officeDocument/2006/relationships/vmlDrawing" Target="../drawings/vmlDrawing87.vml"/><Relationship Id="rId5" Type="http://schemas.openxmlformats.org/officeDocument/2006/relationships/image" Target="../media/image4.emf"/><Relationship Id="rId4" Type="http://schemas.openxmlformats.org/officeDocument/2006/relationships/oleObject" Target="../embeddings/oleObject8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7.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06159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extLst>
              <p:ext uri="{D42A27DB-BD31-4B8C-83A1-F6EECF244321}">
                <p14:modId xmlns:p14="http://schemas.microsoft.com/office/powerpoint/2010/main" val="2273787243"/>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2293" name="think-cell Slide" r:id="rId22" imgW="0" imgH="0" progId="TCLayout.ActiveDocument.1">
                  <p:embed/>
                </p:oleObj>
              </mc:Choice>
              <mc:Fallback>
                <p:oleObj name="think-cell Slide" r:id="rId22" imgW="0" imgH="0" progId="TCLayout.ActiveDocument.1">
                  <p:embed/>
                  <p:pic>
                    <p:nvPicPr>
                      <p:cNvPr id="5"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descr="DEL_PRI_RGB"/>
          <p:cNvPicPr>
            <a:picLocks noChangeArrowheads="1"/>
          </p:cNvPicPr>
          <p:nvPr userDrawn="1">
            <p:custDataLst>
              <p:tags r:id="rId3"/>
            </p:custDataLst>
          </p:nvPr>
        </p:nvPicPr>
        <p:blipFill>
          <a:blip r:embed="rId23" cstate="print">
            <a:extLst>
              <a:ext uri="{28A0092B-C50C-407E-A947-70E740481C1C}">
                <a14:useLocalDpi xmlns:a14="http://schemas.microsoft.com/office/drawing/2010/main"/>
              </a:ext>
            </a:extLst>
          </a:blip>
          <a:srcRect/>
          <a:stretch>
            <a:fillRect/>
          </a:stretch>
        </p:blipFill>
        <p:spPr bwMode="auto">
          <a:xfrm>
            <a:off x="421218" y="287338"/>
            <a:ext cx="3128433" cy="533400"/>
          </a:xfrm>
          <a:prstGeom prst="rect">
            <a:avLst/>
          </a:prstGeom>
          <a:noFill/>
          <a:ln w="9525">
            <a:noFill/>
            <a:miter lim="800000"/>
            <a:headEnd/>
            <a:tailEnd/>
          </a:ln>
        </p:spPr>
      </p:pic>
      <p:grpSp>
        <p:nvGrpSpPr>
          <p:cNvPr id="7" name="Group 98"/>
          <p:cNvGrpSpPr>
            <a:grpSpLocks/>
          </p:cNvGrpSpPr>
          <p:nvPr userDrawn="1">
            <p:custDataLst>
              <p:tags r:id="rId4"/>
            </p:custDataLst>
          </p:nvPr>
        </p:nvGrpSpPr>
        <p:grpSpPr bwMode="auto">
          <a:xfrm>
            <a:off x="-1543050" y="1"/>
            <a:ext cx="1274233" cy="3889375"/>
            <a:chOff x="-1253505" y="0"/>
            <a:chExt cx="1035794" cy="3889829"/>
          </a:xfrm>
        </p:grpSpPr>
        <p:sp>
          <p:nvSpPr>
            <p:cNvPr id="8" name="Rectangle 27"/>
            <p:cNvSpPr>
              <a:spLocks noChangeArrowheads="1"/>
            </p:cNvSpPr>
            <p:nvPr userDrawn="1">
              <p:custDataLst>
                <p:tags r:id="rId8"/>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defRPr/>
              </a:pPr>
              <a:r>
                <a:rPr lang="en-GB" sz="1000" b="1">
                  <a:solidFill>
                    <a:srgbClr val="002776"/>
                  </a:solidFill>
                  <a:latin typeface="Open Sans" panose="020B0606030504020204" pitchFamily="34" charset="0"/>
                  <a:sym typeface="Open Sans" panose="020B0606030504020204" pitchFamily="34" charset="0"/>
                </a:rPr>
                <a:t>Primary colors</a:t>
              </a:r>
            </a:p>
          </p:txBody>
        </p:sp>
        <p:grpSp>
          <p:nvGrpSpPr>
            <p:cNvPr id="9" name="Group 50"/>
            <p:cNvGrpSpPr>
              <a:grpSpLocks/>
            </p:cNvGrpSpPr>
            <p:nvPr userDrawn="1"/>
          </p:nvGrpSpPr>
          <p:grpSpPr bwMode="auto">
            <a:xfrm>
              <a:off x="-967887" y="180996"/>
              <a:ext cx="464559" cy="585856"/>
              <a:chOff x="12661026" y="-1313976"/>
              <a:chExt cx="464559" cy="585856"/>
            </a:xfrm>
          </p:grpSpPr>
          <p:sp>
            <p:nvSpPr>
              <p:cNvPr id="25" name="Rectangle 25"/>
              <p:cNvSpPr>
                <a:spLocks noChangeArrowheads="1"/>
              </p:cNvSpPr>
              <p:nvPr userDrawn="1">
                <p:custDataLst>
                  <p:tags r:id="rId19"/>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pPr defTabSz="914724">
                  <a:defRPr/>
                </a:pPr>
                <a:endParaRPr lang="en-GB" sz="1000" dirty="0">
                  <a:solidFill>
                    <a:srgbClr val="002776"/>
                  </a:solidFill>
                  <a:latin typeface="Open Sans" panose="020B0606030504020204" pitchFamily="34" charset="0"/>
                  <a:sym typeface="Open Sans" panose="020B0606030504020204" pitchFamily="34" charset="0"/>
                </a:endParaRPr>
              </a:p>
            </p:txBody>
          </p:sp>
          <p:sp>
            <p:nvSpPr>
              <p:cNvPr id="27" name="Rectangle 14"/>
              <p:cNvSpPr>
                <a:spLocks noChangeArrowheads="1"/>
              </p:cNvSpPr>
              <p:nvPr userDrawn="1">
                <p:custDataLst>
                  <p:tags r:id="rId20"/>
                </p:custDataLst>
              </p:nvPr>
            </p:nvSpPr>
            <p:spPr bwMode="auto">
              <a:xfrm>
                <a:off x="12726408" y="-1252056"/>
                <a:ext cx="274943"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latin typeface="Open Sans" panose="020B0606030504020204" pitchFamily="34" charset="0"/>
                    <a:sym typeface="Open Sans" panose="020B0606030504020204" pitchFamily="34" charset="0"/>
                  </a:rPr>
                  <a:t>R 0</a:t>
                </a:r>
              </a:p>
              <a:p>
                <a:pPr defTabSz="914724">
                  <a:defRPr/>
                </a:pPr>
                <a:r>
                  <a:rPr lang="en-GB" sz="1000" dirty="0">
                    <a:solidFill>
                      <a:srgbClr val="FFFFFF"/>
                    </a:solidFill>
                    <a:latin typeface="Open Sans" panose="020B0606030504020204" pitchFamily="34" charset="0"/>
                    <a:sym typeface="Open Sans" panose="020B0606030504020204" pitchFamily="34" charset="0"/>
                  </a:rPr>
                  <a:t>G 39</a:t>
                </a:r>
              </a:p>
              <a:p>
                <a:pPr defTabSz="914724">
                  <a:defRPr/>
                </a:pPr>
                <a:r>
                  <a:rPr lang="en-GB" sz="1000" dirty="0">
                    <a:solidFill>
                      <a:srgbClr val="FFFFFF"/>
                    </a:solidFill>
                    <a:latin typeface="Open Sans" panose="020B0606030504020204" pitchFamily="34" charset="0"/>
                    <a:sym typeface="Open Sans" panose="020B0606030504020204" pitchFamily="34" charset="0"/>
                  </a:rPr>
                  <a:t>B 118</a:t>
                </a:r>
              </a:p>
            </p:txBody>
          </p:sp>
        </p:grpSp>
        <p:grpSp>
          <p:nvGrpSpPr>
            <p:cNvPr id="10" name="Group 52"/>
            <p:cNvGrpSpPr>
              <a:grpSpLocks/>
            </p:cNvGrpSpPr>
            <p:nvPr userDrawn="1"/>
          </p:nvGrpSpPr>
          <p:grpSpPr bwMode="auto">
            <a:xfrm>
              <a:off x="-967887" y="1414628"/>
              <a:ext cx="464559" cy="584268"/>
              <a:chOff x="12661026" y="59430"/>
              <a:chExt cx="464559" cy="584268"/>
            </a:xfrm>
          </p:grpSpPr>
          <p:sp>
            <p:nvSpPr>
              <p:cNvPr id="23" name="Rectangle 25"/>
              <p:cNvSpPr>
                <a:spLocks noChangeArrowheads="1"/>
              </p:cNvSpPr>
              <p:nvPr userDrawn="1">
                <p:custDataLst>
                  <p:tags r:id="rId17"/>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GB" sz="1000" dirty="0">
                  <a:solidFill>
                    <a:srgbClr val="002776"/>
                  </a:solidFill>
                  <a:latin typeface="Open Sans" panose="020B0606030504020204" pitchFamily="34" charset="0"/>
                  <a:sym typeface="Open Sans" panose="020B0606030504020204" pitchFamily="34" charset="0"/>
                </a:endParaRPr>
              </a:p>
            </p:txBody>
          </p:sp>
          <p:sp>
            <p:nvSpPr>
              <p:cNvPr id="24" name="Rectangle 16"/>
              <p:cNvSpPr>
                <a:spLocks noChangeArrowheads="1"/>
              </p:cNvSpPr>
              <p:nvPr userDrawn="1">
                <p:custDataLst>
                  <p:tags r:id="rId18"/>
                </p:custDataLst>
              </p:nvPr>
            </p:nvSpPr>
            <p:spPr bwMode="auto">
              <a:xfrm>
                <a:off x="12719526" y="110236"/>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latin typeface="Open Sans" panose="020B0606030504020204" pitchFamily="34" charset="0"/>
                    <a:sym typeface="Open Sans" panose="020B0606030504020204" pitchFamily="34" charset="0"/>
                  </a:rPr>
                  <a:t>R 0</a:t>
                </a:r>
              </a:p>
              <a:p>
                <a:pPr defTabSz="914724">
                  <a:defRPr/>
                </a:pPr>
                <a:r>
                  <a:rPr lang="en-GB" sz="1000" dirty="0">
                    <a:solidFill>
                      <a:srgbClr val="FFFFFF"/>
                    </a:solidFill>
                    <a:latin typeface="Open Sans" panose="020B0606030504020204" pitchFamily="34" charset="0"/>
                    <a:sym typeface="Open Sans" panose="020B0606030504020204" pitchFamily="34" charset="0"/>
                  </a:rPr>
                  <a:t>G 161</a:t>
                </a:r>
              </a:p>
              <a:p>
                <a:pPr defTabSz="914724">
                  <a:defRPr/>
                </a:pPr>
                <a:r>
                  <a:rPr lang="en-GB" sz="1000" dirty="0">
                    <a:solidFill>
                      <a:srgbClr val="FFFFFF"/>
                    </a:solidFill>
                    <a:latin typeface="Open Sans" panose="020B0606030504020204" pitchFamily="34" charset="0"/>
                    <a:sym typeface="Open Sans" panose="020B0606030504020204" pitchFamily="34" charset="0"/>
                  </a:rPr>
                  <a:t>B 222</a:t>
                </a:r>
              </a:p>
            </p:txBody>
          </p:sp>
        </p:grpSp>
        <p:grpSp>
          <p:nvGrpSpPr>
            <p:cNvPr id="11" name="Group 53"/>
            <p:cNvGrpSpPr>
              <a:grpSpLocks/>
            </p:cNvGrpSpPr>
            <p:nvPr userDrawn="1"/>
          </p:nvGrpSpPr>
          <p:grpSpPr bwMode="auto">
            <a:xfrm>
              <a:off x="-967887" y="2030650"/>
              <a:ext cx="464559" cy="584268"/>
              <a:chOff x="12661026" y="853322"/>
              <a:chExt cx="464559" cy="584268"/>
            </a:xfrm>
          </p:grpSpPr>
          <p:sp>
            <p:nvSpPr>
              <p:cNvPr id="21" name="Rectangle 25"/>
              <p:cNvSpPr>
                <a:spLocks noChangeArrowheads="1"/>
              </p:cNvSpPr>
              <p:nvPr userDrawn="1">
                <p:custDataLst>
                  <p:tags r:id="rId15"/>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GB" sz="1000" dirty="0">
                  <a:solidFill>
                    <a:srgbClr val="002776"/>
                  </a:solidFill>
                  <a:latin typeface="Open Sans" panose="020B0606030504020204" pitchFamily="34" charset="0"/>
                  <a:sym typeface="Open Sans" panose="020B0606030504020204" pitchFamily="34" charset="0"/>
                </a:endParaRPr>
              </a:p>
            </p:txBody>
          </p:sp>
          <p:sp>
            <p:nvSpPr>
              <p:cNvPr id="22" name="Rectangle 21"/>
              <p:cNvSpPr>
                <a:spLocks noChangeArrowheads="1"/>
              </p:cNvSpPr>
              <p:nvPr userDrawn="1">
                <p:custDataLst>
                  <p:tags r:id="rId16"/>
                </p:custDataLst>
              </p:nvPr>
            </p:nvSpPr>
            <p:spPr bwMode="auto">
              <a:xfrm>
                <a:off x="12719526" y="915241"/>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latin typeface="Open Sans" panose="020B0606030504020204" pitchFamily="34" charset="0"/>
                    <a:sym typeface="Open Sans" panose="020B0606030504020204" pitchFamily="34" charset="0"/>
                  </a:rPr>
                  <a:t>R 60</a:t>
                </a:r>
              </a:p>
              <a:p>
                <a:pPr defTabSz="914724">
                  <a:defRPr/>
                </a:pPr>
                <a:r>
                  <a:rPr lang="en-GB" sz="1000" dirty="0">
                    <a:solidFill>
                      <a:srgbClr val="FFFFFF"/>
                    </a:solidFill>
                    <a:latin typeface="Open Sans" panose="020B0606030504020204" pitchFamily="34" charset="0"/>
                    <a:sym typeface="Open Sans" panose="020B0606030504020204" pitchFamily="34" charset="0"/>
                  </a:rPr>
                  <a:t>G 138</a:t>
                </a:r>
              </a:p>
              <a:p>
                <a:pPr defTabSz="914724">
                  <a:defRPr/>
                </a:pPr>
                <a:r>
                  <a:rPr lang="en-GB" sz="1000" dirty="0">
                    <a:solidFill>
                      <a:srgbClr val="FFFFFF"/>
                    </a:solidFill>
                    <a:latin typeface="Open Sans" panose="020B0606030504020204" pitchFamily="34" charset="0"/>
                    <a:sym typeface="Open Sans" panose="020B0606030504020204" pitchFamily="34" charset="0"/>
                  </a:rPr>
                  <a:t>B 46</a:t>
                </a:r>
              </a:p>
            </p:txBody>
          </p:sp>
        </p:grpSp>
        <p:grpSp>
          <p:nvGrpSpPr>
            <p:cNvPr id="12" name="Group 54"/>
            <p:cNvGrpSpPr>
              <a:grpSpLocks/>
            </p:cNvGrpSpPr>
            <p:nvPr userDrawn="1"/>
          </p:nvGrpSpPr>
          <p:grpSpPr bwMode="auto">
            <a:xfrm>
              <a:off x="-967887" y="2646672"/>
              <a:ext cx="464559" cy="585855"/>
              <a:chOff x="12661026" y="1513377"/>
              <a:chExt cx="464559" cy="585855"/>
            </a:xfrm>
          </p:grpSpPr>
          <p:sp>
            <p:nvSpPr>
              <p:cNvPr id="19" name="Rectangle 25"/>
              <p:cNvSpPr>
                <a:spLocks noChangeArrowheads="1"/>
              </p:cNvSpPr>
              <p:nvPr userDrawn="1">
                <p:custDataLst>
                  <p:tags r:id="rId13"/>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GB" sz="1000" dirty="0">
                  <a:solidFill>
                    <a:srgbClr val="002776"/>
                  </a:solidFill>
                  <a:latin typeface="Open Sans" panose="020B0606030504020204" pitchFamily="34" charset="0"/>
                  <a:sym typeface="Open Sans" panose="020B0606030504020204" pitchFamily="34" charset="0"/>
                </a:endParaRPr>
              </a:p>
            </p:txBody>
          </p:sp>
          <p:sp>
            <p:nvSpPr>
              <p:cNvPr id="20" name="Rectangle 17"/>
              <p:cNvSpPr>
                <a:spLocks noChangeArrowheads="1"/>
              </p:cNvSpPr>
              <p:nvPr userDrawn="1">
                <p:custDataLst>
                  <p:tags r:id="rId14"/>
                </p:custDataLst>
              </p:nvPr>
            </p:nvSpPr>
            <p:spPr bwMode="auto">
              <a:xfrm>
                <a:off x="12719526" y="1575296"/>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latin typeface="Open Sans" panose="020B0606030504020204" pitchFamily="34" charset="0"/>
                    <a:sym typeface="Open Sans" panose="020B0606030504020204" pitchFamily="34" charset="0"/>
                  </a:rPr>
                  <a:t>R 114</a:t>
                </a:r>
              </a:p>
              <a:p>
                <a:pPr defTabSz="914724">
                  <a:defRPr/>
                </a:pPr>
                <a:r>
                  <a:rPr lang="en-GB" sz="1000" dirty="0">
                    <a:solidFill>
                      <a:srgbClr val="002776"/>
                    </a:solidFill>
                    <a:latin typeface="Open Sans" panose="020B0606030504020204" pitchFamily="34" charset="0"/>
                    <a:sym typeface="Open Sans" panose="020B0606030504020204" pitchFamily="34" charset="0"/>
                  </a:rPr>
                  <a:t>G 199</a:t>
                </a:r>
              </a:p>
              <a:p>
                <a:pPr defTabSz="914724">
                  <a:defRPr/>
                </a:pPr>
                <a:r>
                  <a:rPr lang="en-GB" sz="1000" dirty="0">
                    <a:solidFill>
                      <a:srgbClr val="002776"/>
                    </a:solidFill>
                    <a:latin typeface="Open Sans" panose="020B0606030504020204" pitchFamily="34" charset="0"/>
                    <a:sym typeface="Open Sans" panose="020B0606030504020204" pitchFamily="34" charset="0"/>
                  </a:rPr>
                  <a:t>B 231</a:t>
                </a:r>
              </a:p>
            </p:txBody>
          </p:sp>
        </p:grpSp>
        <p:grpSp>
          <p:nvGrpSpPr>
            <p:cNvPr id="13" name="Group 55"/>
            <p:cNvGrpSpPr>
              <a:grpSpLocks/>
            </p:cNvGrpSpPr>
            <p:nvPr userDrawn="1"/>
          </p:nvGrpSpPr>
          <p:grpSpPr bwMode="auto">
            <a:xfrm>
              <a:off x="-967887" y="3262694"/>
              <a:ext cx="464559" cy="585855"/>
              <a:chOff x="12661026" y="2333768"/>
              <a:chExt cx="464559" cy="585855"/>
            </a:xfrm>
          </p:grpSpPr>
          <p:sp>
            <p:nvSpPr>
              <p:cNvPr id="17" name="Rectangle 25"/>
              <p:cNvSpPr>
                <a:spLocks noChangeArrowheads="1"/>
              </p:cNvSpPr>
              <p:nvPr userDrawn="1">
                <p:custDataLst>
                  <p:tags r:id="rId11"/>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GB" sz="1000" dirty="0">
                  <a:solidFill>
                    <a:srgbClr val="002776"/>
                  </a:solidFill>
                  <a:latin typeface="Open Sans" panose="020B0606030504020204" pitchFamily="34" charset="0"/>
                  <a:sym typeface="Open Sans" panose="020B0606030504020204" pitchFamily="34" charset="0"/>
                </a:endParaRPr>
              </a:p>
            </p:txBody>
          </p:sp>
          <p:sp>
            <p:nvSpPr>
              <p:cNvPr id="18" name="Rectangle 19"/>
              <p:cNvSpPr>
                <a:spLocks noChangeArrowheads="1"/>
              </p:cNvSpPr>
              <p:nvPr userDrawn="1">
                <p:custDataLst>
                  <p:tags r:id="rId12"/>
                </p:custDataLst>
              </p:nvPr>
            </p:nvSpPr>
            <p:spPr bwMode="auto">
              <a:xfrm>
                <a:off x="12719526" y="2395687"/>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latin typeface="Open Sans" panose="020B0606030504020204" pitchFamily="34" charset="0"/>
                    <a:sym typeface="Open Sans" panose="020B0606030504020204" pitchFamily="34" charset="0"/>
                  </a:rPr>
                  <a:t>R 201</a:t>
                </a:r>
              </a:p>
              <a:p>
                <a:pPr defTabSz="914724">
                  <a:defRPr/>
                </a:pPr>
                <a:r>
                  <a:rPr lang="en-GB" sz="1000" dirty="0">
                    <a:solidFill>
                      <a:srgbClr val="002776"/>
                    </a:solidFill>
                    <a:latin typeface="Open Sans" panose="020B0606030504020204" pitchFamily="34" charset="0"/>
                    <a:sym typeface="Open Sans" panose="020B0606030504020204" pitchFamily="34" charset="0"/>
                  </a:rPr>
                  <a:t>G 221</a:t>
                </a:r>
              </a:p>
              <a:p>
                <a:pPr defTabSz="914724">
                  <a:defRPr/>
                </a:pPr>
                <a:r>
                  <a:rPr lang="en-GB" sz="1000" dirty="0">
                    <a:solidFill>
                      <a:srgbClr val="002776"/>
                    </a:solidFill>
                    <a:latin typeface="Open Sans" panose="020B0606030504020204" pitchFamily="34" charset="0"/>
                    <a:sym typeface="Open Sans" panose="020B0606030504020204" pitchFamily="34" charset="0"/>
                  </a:rPr>
                  <a:t>B 3</a:t>
                </a:r>
              </a:p>
            </p:txBody>
          </p:sp>
        </p:grpSp>
        <p:grpSp>
          <p:nvGrpSpPr>
            <p:cNvPr id="14" name="Group 51"/>
            <p:cNvGrpSpPr>
              <a:grpSpLocks/>
            </p:cNvGrpSpPr>
            <p:nvPr userDrawn="1"/>
          </p:nvGrpSpPr>
          <p:grpSpPr bwMode="auto">
            <a:xfrm>
              <a:off x="-967887" y="798606"/>
              <a:ext cx="464559" cy="584268"/>
              <a:chOff x="12661026" y="-640070"/>
              <a:chExt cx="464559" cy="584268"/>
            </a:xfrm>
          </p:grpSpPr>
          <p:sp>
            <p:nvSpPr>
              <p:cNvPr id="15" name="Rectangle 25"/>
              <p:cNvSpPr>
                <a:spLocks noChangeArrowheads="1"/>
              </p:cNvSpPr>
              <p:nvPr userDrawn="1">
                <p:custDataLst>
                  <p:tags r:id="rId9"/>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GB" sz="1000" dirty="0">
                  <a:solidFill>
                    <a:srgbClr val="002776"/>
                  </a:solidFill>
                  <a:latin typeface="Open Sans" panose="020B0606030504020204" pitchFamily="34" charset="0"/>
                  <a:sym typeface="Open Sans" panose="020B0606030504020204" pitchFamily="34" charset="0"/>
                </a:endParaRPr>
              </a:p>
            </p:txBody>
          </p:sp>
          <p:sp>
            <p:nvSpPr>
              <p:cNvPr id="16" name="Rectangle 15"/>
              <p:cNvSpPr>
                <a:spLocks noChangeArrowheads="1"/>
              </p:cNvSpPr>
              <p:nvPr userDrawn="1">
                <p:custDataLst>
                  <p:tags r:id="rId10"/>
                </p:custDataLst>
              </p:nvPr>
            </p:nvSpPr>
            <p:spPr bwMode="auto">
              <a:xfrm>
                <a:off x="12719526" y="-578151"/>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latin typeface="Open Sans" panose="020B0606030504020204" pitchFamily="34" charset="0"/>
                    <a:sym typeface="Open Sans" panose="020B0606030504020204" pitchFamily="34" charset="0"/>
                  </a:rPr>
                  <a:t>R 146</a:t>
                </a:r>
              </a:p>
              <a:p>
                <a:pPr defTabSz="914724">
                  <a:defRPr/>
                </a:pPr>
                <a:r>
                  <a:rPr lang="en-GB" sz="1000" dirty="0">
                    <a:solidFill>
                      <a:srgbClr val="FFFFFF"/>
                    </a:solidFill>
                    <a:latin typeface="Open Sans" panose="020B0606030504020204" pitchFamily="34" charset="0"/>
                    <a:sym typeface="Open Sans" panose="020B0606030504020204" pitchFamily="34" charset="0"/>
                  </a:rPr>
                  <a:t>G 212</a:t>
                </a:r>
              </a:p>
              <a:p>
                <a:pPr defTabSz="914724">
                  <a:defRPr/>
                </a:pPr>
                <a:r>
                  <a:rPr lang="en-GB" sz="1000" dirty="0">
                    <a:solidFill>
                      <a:srgbClr val="FFFFFF"/>
                    </a:solidFill>
                    <a:latin typeface="Open Sans" panose="020B0606030504020204" pitchFamily="34" charset="0"/>
                    <a:sym typeface="Open Sans" panose="020B0606030504020204" pitchFamily="34" charset="0"/>
                  </a:rPr>
                  <a:t>B 0</a:t>
                </a:r>
              </a:p>
            </p:txBody>
          </p:sp>
        </p:grpSp>
      </p:grpSp>
      <p:cxnSp>
        <p:nvCxnSpPr>
          <p:cNvPr id="28" name="Straight Arrow Connector 27"/>
          <p:cNvCxnSpPr/>
          <p:nvPr userDrawn="1">
            <p:custDataLst>
              <p:tags r:id="rId5"/>
            </p:custDataLst>
          </p:nvPr>
        </p:nvCxnSpPr>
        <p:spPr>
          <a:xfrm rot="10800000">
            <a:off x="12192001" y="1123950"/>
            <a:ext cx="480484" cy="0"/>
          </a:xfrm>
          <a:prstGeom prst="straightConnector1">
            <a:avLst/>
          </a:prstGeom>
          <a:ln w="1270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userDrawn="1">
            <p:custDataLst>
              <p:tags r:id="rId6"/>
            </p:custDataLst>
          </p:nvPr>
        </p:nvCxnSpPr>
        <p:spPr>
          <a:xfrm rot="10800000">
            <a:off x="12192001" y="6310313"/>
            <a:ext cx="480484" cy="0"/>
          </a:xfrm>
          <a:prstGeom prst="straightConnector1">
            <a:avLst/>
          </a:prstGeom>
          <a:ln w="1270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userDrawn="1"/>
        </p:nvCxnSpPr>
        <p:spPr>
          <a:xfrm rot="5400000">
            <a:off x="11482652" y="7038182"/>
            <a:ext cx="360363" cy="0"/>
          </a:xfrm>
          <a:prstGeom prst="straightConnector1">
            <a:avLst/>
          </a:prstGeom>
          <a:ln w="12700">
            <a:solidFill>
              <a:schemeClr val="tx2"/>
            </a:solidFill>
            <a:prstDash val="dash"/>
            <a:headEnd type="arrow"/>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userDrawn="1">
            <p:custDataLst>
              <p:tags r:id="rId7"/>
            </p:custDataLst>
          </p:nvPr>
        </p:nvCxnSpPr>
        <p:spPr>
          <a:xfrm rot="5400000">
            <a:off x="348985" y="7038182"/>
            <a:ext cx="360363" cy="0"/>
          </a:xfrm>
          <a:prstGeom prst="straightConnector1">
            <a:avLst/>
          </a:prstGeom>
          <a:ln w="12700">
            <a:solidFill>
              <a:schemeClr val="tx2"/>
            </a:solidFill>
            <a:prstDash val="dash"/>
            <a:headEnd type="arrow"/>
            <a:tailEnd type="none"/>
          </a:ln>
        </p:spPr>
        <p:style>
          <a:lnRef idx="1">
            <a:schemeClr val="accent1"/>
          </a:lnRef>
          <a:fillRef idx="0">
            <a:schemeClr val="accent1"/>
          </a:fillRef>
          <a:effectRef idx="0">
            <a:schemeClr val="accent1"/>
          </a:effectRef>
          <a:fontRef idx="minor">
            <a:schemeClr val="tx1"/>
          </a:fontRef>
        </p:style>
      </p:cxnSp>
      <p:sp>
        <p:nvSpPr>
          <p:cNvPr id="110" name="Title Placeholder 1"/>
          <p:cNvSpPr>
            <a:spLocks noGrp="1"/>
          </p:cNvSpPr>
          <p:nvPr>
            <p:ph type="ctrTitle"/>
          </p:nvPr>
        </p:nvSpPr>
        <p:spPr>
          <a:xfrm>
            <a:off x="1523760" y="2886328"/>
            <a:ext cx="4268797" cy="359073"/>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US" noProof="0"/>
              <a:t>Click to edit Master title style</a:t>
            </a:r>
            <a:endParaRPr lang="en-US" noProof="0" dirty="0"/>
          </a:p>
        </p:txBody>
      </p:sp>
      <p:sp>
        <p:nvSpPr>
          <p:cNvPr id="26" name="Text Placeholder 2"/>
          <p:cNvSpPr>
            <a:spLocks noGrp="1"/>
          </p:cNvSpPr>
          <p:nvPr>
            <p:ph type="subTitle" idx="1"/>
          </p:nvPr>
        </p:nvSpPr>
        <p:spPr>
          <a:xfrm>
            <a:off x="529167" y="6081917"/>
            <a:ext cx="2960747" cy="22839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atin typeface="Open Sans" panose="020B0606030504020204" pitchFamily="34" charset="0"/>
                <a:sym typeface="Open Sans" panose="020B0606030504020204" pitchFamily="34" charset="0"/>
              </a:defRPr>
            </a:lvl1pPr>
          </a:lstStyle>
          <a:p>
            <a:r>
              <a:rPr lang="en-US"/>
              <a:t>Click to edit Master subtitle style</a:t>
            </a:r>
            <a:endParaRPr lang="en-GB" dirty="0"/>
          </a:p>
        </p:txBody>
      </p:sp>
      <p:sp>
        <p:nvSpPr>
          <p:cNvPr id="29" name="Text Placeholder 28"/>
          <p:cNvSpPr>
            <a:spLocks noGrp="1"/>
          </p:cNvSpPr>
          <p:nvPr>
            <p:ph type="body" sz="quarter" idx="10"/>
          </p:nvPr>
        </p:nvSpPr>
        <p:spPr>
          <a:xfrm>
            <a:off x="1523761" y="3268721"/>
            <a:ext cx="4389022" cy="359073"/>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US" noProof="0"/>
              <a:t>Click to edit Master text styles</a:t>
            </a:r>
          </a:p>
        </p:txBody>
      </p:sp>
    </p:spTree>
    <p:extLst>
      <p:ext uri="{BB962C8B-B14F-4D97-AF65-F5344CB8AC3E}">
        <p14:creationId xmlns:p14="http://schemas.microsoft.com/office/powerpoint/2010/main" val="4108199166"/>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1355893438"/>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3317" name="think-cell Slide" r:id="rId4" imgW="0" imgH="0" progId="TCLayout.ActiveDocument.1">
                  <p:embed/>
                </p:oleObj>
              </mc:Choice>
              <mc:Fallback>
                <p:oleObj name="think-cell Slide" r:id="rId4" imgW="0" imgH="0" progId="TCLayout.ActiveDocument.1">
                  <p:embed/>
                  <p:pic>
                    <p:nvPicPr>
                      <p:cNvPr id="4"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p:cNvSpPr>
            <a:spLocks noChangeArrowheads="1"/>
          </p:cNvSpPr>
          <p:nvPr/>
        </p:nvSpPr>
        <p:spPr bwMode="auto">
          <a:xfrm>
            <a:off x="8530167" y="6554789"/>
            <a:ext cx="3083984" cy="142875"/>
          </a:xfrm>
          <a:prstGeom prst="rect">
            <a:avLst/>
          </a:prstGeom>
          <a:noFill/>
          <a:ln w="25400" algn="ctr">
            <a:noFill/>
            <a:miter lim="800000"/>
            <a:headEnd/>
            <a:tailEnd/>
          </a:ln>
        </p:spPr>
        <p:txBody>
          <a:bodyPr lIns="0" tIns="0" rIns="0" bIns="0"/>
          <a:lstStyle/>
          <a:p>
            <a:pPr algn="r" defTabSz="957998">
              <a:lnSpc>
                <a:spcPts val="1128"/>
              </a:lnSpc>
              <a:defRPr/>
            </a:pPr>
            <a:r>
              <a:rPr lang="en-US" sz="800">
                <a:solidFill>
                  <a:srgbClr val="002776"/>
                </a:solidFill>
                <a:latin typeface="Open Sans" panose="020B0606030504020204" pitchFamily="34" charset="0"/>
                <a:sym typeface="Open Sans" panose="020B0606030504020204" pitchFamily="34" charset="0"/>
              </a:rPr>
              <a:t>© 201</a:t>
            </a:r>
            <a:r>
              <a:rPr lang="sl-SI" sz="800">
                <a:solidFill>
                  <a:srgbClr val="002776"/>
                </a:solidFill>
                <a:latin typeface="Open Sans" panose="020B0606030504020204" pitchFamily="34" charset="0"/>
                <a:sym typeface="Open Sans" panose="020B0606030504020204" pitchFamily="34" charset="0"/>
              </a:rPr>
              <a:t>4</a:t>
            </a:r>
            <a:r>
              <a:rPr lang="en-US" sz="800">
                <a:solidFill>
                  <a:srgbClr val="002776"/>
                </a:solidFill>
                <a:latin typeface="Open Sans" panose="020B0606030504020204" pitchFamily="34" charset="0"/>
                <a:sym typeface="Open Sans" panose="020B0606030504020204" pitchFamily="34" charset="0"/>
              </a:rPr>
              <a:t> Deloitte</a:t>
            </a:r>
            <a:endParaRPr lang="en-US" sz="800" dirty="0">
              <a:solidFill>
                <a:srgbClr val="002776"/>
              </a:solidFill>
              <a:latin typeface="Open Sans" panose="020B0606030504020204" pitchFamily="34" charset="0"/>
              <a:sym typeface="Open Sans" panose="020B0606030504020204" pitchFamily="34" charset="0"/>
            </a:endParaRPr>
          </a:p>
        </p:txBody>
      </p:sp>
      <p:sp>
        <p:nvSpPr>
          <p:cNvPr id="6" name="Title Placeholder 1"/>
          <p:cNvSpPr>
            <a:spLocks noGrp="1"/>
          </p:cNvSpPr>
          <p:nvPr>
            <p:ph type="title"/>
          </p:nvPr>
        </p:nvSpPr>
        <p:spPr bwMode="auto">
          <a:xfrm>
            <a:off x="529167" y="300039"/>
            <a:ext cx="11133667" cy="595311"/>
          </a:xfrm>
          <a:prstGeom prst="rect">
            <a:avLst/>
          </a:prstGeom>
          <a:noFill/>
          <a:ln w="9525">
            <a:noFill/>
            <a:miter lim="800000"/>
            <a:headEnd/>
            <a:tailEnd/>
          </a:ln>
        </p:spPr>
        <p:txBody>
          <a:bodyPr/>
          <a:lstStyle/>
          <a:p>
            <a:pPr lvl="0"/>
            <a:r>
              <a:rPr lang="en-US" noProof="0"/>
              <a:t>Click to edit Master title style</a:t>
            </a:r>
            <a:endParaRPr lang="en-US" noProof="0" dirty="0"/>
          </a:p>
        </p:txBody>
      </p:sp>
      <p:sp>
        <p:nvSpPr>
          <p:cNvPr id="11" name="Text Placeholder 7"/>
          <p:cNvSpPr>
            <a:spLocks noGrp="1"/>
          </p:cNvSpPr>
          <p:nvPr>
            <p:ph type="body" sz="quarter" idx="12"/>
          </p:nvPr>
        </p:nvSpPr>
        <p:spPr>
          <a:xfrm>
            <a:off x="529166" y="1123950"/>
            <a:ext cx="11133668" cy="5186363"/>
          </a:xfrm>
          <a:prstGeom prst="rect">
            <a:avLst/>
          </a:prstGeom>
        </p:spPr>
        <p:txBody>
          <a:bodyPr wrap="square" lIns="0" tIns="0" rIns="0" bIns="0"/>
          <a:lstStyle>
            <a:lvl1pPr>
              <a:lnSpc>
                <a:spcPct val="106000"/>
              </a:lnSpc>
              <a:spcBef>
                <a:spcPts val="1344"/>
              </a:spcBef>
              <a:spcAft>
                <a:spcPts val="0"/>
              </a:spcAft>
              <a:defRPr>
                <a:latin typeface="Open Sans" panose="020B0606030504020204" pitchFamily="34" charset="0"/>
                <a:sym typeface="Open Sans" panose="020B0606030504020204" pitchFamily="34" charset="0"/>
              </a:defRPr>
            </a:lvl1pPr>
            <a:lvl2pPr>
              <a:defRPr>
                <a:latin typeface="Open Sans" panose="020B0606030504020204" pitchFamily="34" charset="0"/>
                <a:sym typeface="Open Sans" panose="020B0606030504020204" pitchFamily="34" charset="0"/>
              </a:defRPr>
            </a:lvl2pPr>
            <a:lvl3pPr>
              <a:lnSpc>
                <a:spcPct val="106000"/>
              </a:lnSpc>
              <a:spcBef>
                <a:spcPts val="576"/>
              </a:spcBef>
              <a:spcAft>
                <a:spcPts val="0"/>
              </a:spcAft>
              <a:defRPr>
                <a:latin typeface="Open Sans" panose="020B0606030504020204" pitchFamily="34" charset="0"/>
                <a:sym typeface="Open Sans" panose="020B0606030504020204" pitchFamily="34" charset="0"/>
              </a:defRPr>
            </a:lvl3pPr>
            <a:lvl4pPr>
              <a:lnSpc>
                <a:spcPct val="106000"/>
              </a:lnSpc>
              <a:spcBef>
                <a:spcPts val="576"/>
              </a:spcBef>
              <a:spcAft>
                <a:spcPts val="0"/>
              </a:spcAft>
              <a:defRPr>
                <a:latin typeface="Open Sans" panose="020B0606030504020204" pitchFamily="34" charset="0"/>
                <a:sym typeface="Open Sans" panose="020B0606030504020204" pitchFamily="34" charset="0"/>
              </a:defRPr>
            </a:lvl4pPr>
            <a:lvl5pPr>
              <a:lnSpc>
                <a:spcPct val="106000"/>
              </a:lnSpc>
              <a:spcBef>
                <a:spcPts val="576"/>
              </a:spcBef>
              <a:spcAft>
                <a:spcPts val="0"/>
              </a:spcAft>
              <a:defRPr>
                <a:latin typeface="Open Sans" panose="020B0606030504020204" pitchFamily="34" charset="0"/>
                <a:sym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Slide Number Placeholder 3"/>
          <p:cNvSpPr>
            <a:spLocks noGrp="1"/>
          </p:cNvSpPr>
          <p:nvPr>
            <p:ph type="sldNum" sz="quarter" idx="13"/>
          </p:nvPr>
        </p:nvSpPr>
        <p:spPr/>
        <p:txBody>
          <a:bodyPr/>
          <a:lstStyle>
            <a:lvl1pPr>
              <a:defRPr/>
            </a:lvl1pPr>
          </a:lstStyle>
          <a:p>
            <a:pPr>
              <a:defRPr/>
            </a:pPr>
            <a:fld id="{418FA400-DE4F-4E27-A107-6EFEA2899D62}" type="slidenum">
              <a:rPr lang="en-US">
                <a:solidFill>
                  <a:srgbClr val="002776"/>
                </a:solidFill>
              </a:rPr>
              <a:pPr>
                <a:defRPr/>
              </a:pPr>
              <a:t>‹#›</a:t>
            </a:fld>
            <a:endParaRPr lang="en-US">
              <a:solidFill>
                <a:srgbClr val="002776"/>
              </a:solidFill>
            </a:endParaRPr>
          </a:p>
        </p:txBody>
      </p:sp>
      <p:sp>
        <p:nvSpPr>
          <p:cNvPr id="8" name="Footer Placeholder 4"/>
          <p:cNvSpPr>
            <a:spLocks noGrp="1"/>
          </p:cNvSpPr>
          <p:nvPr>
            <p:ph type="ftr" sz="quarter" idx="14"/>
          </p:nvPr>
        </p:nvSpPr>
        <p:spPr/>
        <p:txBody>
          <a:bodyPr/>
          <a:lstStyle>
            <a:lvl1pPr>
              <a:defRPr/>
            </a:lvl1pPr>
          </a:lstStyle>
          <a:p>
            <a:pPr>
              <a:defRPr/>
            </a:pPr>
            <a:endParaRPr lang="en-US">
              <a:solidFill>
                <a:srgbClr val="002776"/>
              </a:solidFill>
            </a:endParaRPr>
          </a:p>
        </p:txBody>
      </p:sp>
    </p:spTree>
    <p:extLst>
      <p:ext uri="{BB962C8B-B14F-4D97-AF65-F5344CB8AC3E}">
        <p14:creationId xmlns:p14="http://schemas.microsoft.com/office/powerpoint/2010/main" val="2275160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extLst>
              <p:ext uri="{D42A27DB-BD31-4B8C-83A1-F6EECF244321}">
                <p14:modId xmlns:p14="http://schemas.microsoft.com/office/powerpoint/2010/main" val="3830833945"/>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4341" name="think-cell Slide" r:id="rId4" imgW="0" imgH="0" progId="TCLayout.ActiveDocument.1">
                  <p:embed/>
                </p:oleObj>
              </mc:Choice>
              <mc:Fallback>
                <p:oleObj name="think-cell Slide" r:id="rId4" imgW="0" imgH="0" progId="TCLayout.ActiveDocument.1">
                  <p:embed/>
                  <p:pic>
                    <p:nvPicPr>
                      <p:cNvPr id="5"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p:nvSpPr>
        <p:spPr bwMode="auto">
          <a:xfrm>
            <a:off x="8530167" y="6554789"/>
            <a:ext cx="3083984" cy="142875"/>
          </a:xfrm>
          <a:prstGeom prst="rect">
            <a:avLst/>
          </a:prstGeom>
          <a:noFill/>
          <a:ln w="25400" algn="ctr">
            <a:noFill/>
            <a:miter lim="800000"/>
            <a:headEnd/>
            <a:tailEnd/>
          </a:ln>
        </p:spPr>
        <p:txBody>
          <a:bodyPr lIns="0" tIns="0" rIns="0" bIns="0"/>
          <a:lstStyle/>
          <a:p>
            <a:pPr algn="r" defTabSz="957998">
              <a:lnSpc>
                <a:spcPts val="1128"/>
              </a:lnSpc>
              <a:defRPr/>
            </a:pPr>
            <a:r>
              <a:rPr lang="en-US" sz="800">
                <a:solidFill>
                  <a:srgbClr val="002776"/>
                </a:solidFill>
                <a:latin typeface="Open Sans" panose="020B0606030504020204" pitchFamily="34" charset="0"/>
                <a:sym typeface="Open Sans" panose="020B0606030504020204" pitchFamily="34" charset="0"/>
              </a:rPr>
              <a:t>© 201</a:t>
            </a:r>
            <a:r>
              <a:rPr lang="sl-SI" sz="800">
                <a:solidFill>
                  <a:srgbClr val="002776"/>
                </a:solidFill>
                <a:latin typeface="Open Sans" panose="020B0606030504020204" pitchFamily="34" charset="0"/>
                <a:sym typeface="Open Sans" panose="020B0606030504020204" pitchFamily="34" charset="0"/>
              </a:rPr>
              <a:t>4</a:t>
            </a:r>
            <a:r>
              <a:rPr lang="en-US" sz="800">
                <a:solidFill>
                  <a:srgbClr val="002776"/>
                </a:solidFill>
                <a:latin typeface="Open Sans" panose="020B0606030504020204" pitchFamily="34" charset="0"/>
                <a:sym typeface="Open Sans" panose="020B0606030504020204" pitchFamily="34" charset="0"/>
              </a:rPr>
              <a:t> Deloitte</a:t>
            </a:r>
            <a:endParaRPr lang="en-US" sz="800" dirty="0">
              <a:solidFill>
                <a:srgbClr val="002776"/>
              </a:solidFill>
              <a:latin typeface="Open Sans" panose="020B0606030504020204" pitchFamily="34" charset="0"/>
              <a:sym typeface="Open Sans" panose="020B0606030504020204" pitchFamily="34" charset="0"/>
            </a:endParaRPr>
          </a:p>
        </p:txBody>
      </p:sp>
      <p:sp>
        <p:nvSpPr>
          <p:cNvPr id="8" name="Title Placeholder 1"/>
          <p:cNvSpPr>
            <a:spLocks noGrp="1"/>
          </p:cNvSpPr>
          <p:nvPr>
            <p:ph type="title"/>
          </p:nvPr>
        </p:nvSpPr>
        <p:spPr bwMode="auto">
          <a:xfrm>
            <a:off x="529167" y="300039"/>
            <a:ext cx="11133667" cy="595311"/>
          </a:xfrm>
          <a:prstGeom prst="rect">
            <a:avLst/>
          </a:prstGeom>
          <a:noFill/>
          <a:ln w="9525">
            <a:noFill/>
            <a:miter lim="800000"/>
            <a:headEnd/>
            <a:tailEnd/>
          </a:ln>
        </p:spPr>
        <p:txBody>
          <a:bodyPr/>
          <a:lstStyle/>
          <a:p>
            <a:pPr lvl="0"/>
            <a:r>
              <a:rPr lang="en-US" noProof="0"/>
              <a:t>Click to edit Master title style</a:t>
            </a:r>
          </a:p>
        </p:txBody>
      </p:sp>
      <p:sp>
        <p:nvSpPr>
          <p:cNvPr id="10" name="Text Placeholder 9"/>
          <p:cNvSpPr>
            <a:spLocks noGrp="1"/>
          </p:cNvSpPr>
          <p:nvPr>
            <p:ph type="body" sz="quarter" idx="12"/>
          </p:nvPr>
        </p:nvSpPr>
        <p:spPr>
          <a:xfrm>
            <a:off x="529167" y="1123950"/>
            <a:ext cx="5390989" cy="5186363"/>
          </a:xfrm>
          <a:prstGeom prst="rect">
            <a:avLst/>
          </a:prstGeom>
        </p:spPr>
        <p:txBody>
          <a:bodyPr lIns="0" tIns="0" rIns="0" bIns="0"/>
          <a:lstStyle>
            <a:lvl1pPr>
              <a:defRPr>
                <a:latin typeface="Open Sans" panose="020B0606030504020204" pitchFamily="34" charset="0"/>
                <a:sym typeface="Open Sans" panose="020B0606030504020204" pitchFamily="34" charset="0"/>
              </a:defRPr>
            </a:lvl1pPr>
            <a:lvl2pPr>
              <a:defRPr>
                <a:latin typeface="Open Sans" panose="020B0606030504020204" pitchFamily="34" charset="0"/>
                <a:sym typeface="Open Sans" panose="020B0606030504020204" pitchFamily="34" charset="0"/>
              </a:defRPr>
            </a:lvl2pPr>
            <a:lvl3pPr>
              <a:defRPr>
                <a:latin typeface="Open Sans" panose="020B0606030504020204" pitchFamily="34" charset="0"/>
                <a:sym typeface="Open Sans" panose="020B0606030504020204" pitchFamily="34" charset="0"/>
              </a:defRPr>
            </a:lvl3pPr>
            <a:lvl4pPr>
              <a:defRPr>
                <a:latin typeface="Open Sans" panose="020B0606030504020204" pitchFamily="34" charset="0"/>
                <a:sym typeface="Open Sans" panose="020B0606030504020204" pitchFamily="34" charset="0"/>
              </a:defRPr>
            </a:lvl4pPr>
            <a:lvl5pPr>
              <a:defRPr>
                <a:latin typeface="Open Sans" panose="020B0606030504020204" pitchFamily="34" charset="0"/>
                <a:sym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11"/>
          <p:cNvSpPr>
            <a:spLocks noGrp="1"/>
          </p:cNvSpPr>
          <p:nvPr>
            <p:ph type="body" sz="quarter" idx="13"/>
          </p:nvPr>
        </p:nvSpPr>
        <p:spPr>
          <a:xfrm>
            <a:off x="6272433" y="1123950"/>
            <a:ext cx="5390400" cy="5186363"/>
          </a:xfrm>
          <a:prstGeom prst="rect">
            <a:avLst/>
          </a:prstGeom>
        </p:spPr>
        <p:txBody>
          <a:bodyPr lIns="0" tIns="0" rIns="0" bIns="0"/>
          <a:lstStyle>
            <a:lvl1pPr>
              <a:defRPr>
                <a:latin typeface="Open Sans" panose="020B0606030504020204" pitchFamily="34" charset="0"/>
                <a:sym typeface="Open Sans" panose="020B0606030504020204" pitchFamily="34" charset="0"/>
              </a:defRPr>
            </a:lvl1pPr>
            <a:lvl2pPr>
              <a:defRPr>
                <a:latin typeface="Open Sans" panose="020B0606030504020204" pitchFamily="34" charset="0"/>
                <a:sym typeface="Open Sans" panose="020B0606030504020204" pitchFamily="34" charset="0"/>
              </a:defRPr>
            </a:lvl2pPr>
            <a:lvl3pPr>
              <a:defRPr>
                <a:latin typeface="Open Sans" panose="020B0606030504020204" pitchFamily="34" charset="0"/>
                <a:sym typeface="Open Sans" panose="020B0606030504020204" pitchFamily="34" charset="0"/>
              </a:defRPr>
            </a:lvl3pPr>
            <a:lvl4pPr>
              <a:defRPr>
                <a:latin typeface="Open Sans" panose="020B0606030504020204" pitchFamily="34" charset="0"/>
                <a:sym typeface="Open Sans" panose="020B0606030504020204" pitchFamily="34" charset="0"/>
              </a:defRPr>
            </a:lvl4pPr>
            <a:lvl5pPr>
              <a:defRPr>
                <a:latin typeface="Open Sans" panose="020B0606030504020204" pitchFamily="34" charset="0"/>
                <a:sym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Slide Number Placeholder 9"/>
          <p:cNvSpPr>
            <a:spLocks noGrp="1"/>
          </p:cNvSpPr>
          <p:nvPr>
            <p:ph type="sldNum" sz="quarter" idx="14"/>
          </p:nvPr>
        </p:nvSpPr>
        <p:spPr/>
        <p:txBody>
          <a:bodyPr/>
          <a:lstStyle>
            <a:lvl1pPr>
              <a:defRPr/>
            </a:lvl1pPr>
          </a:lstStyle>
          <a:p>
            <a:pPr>
              <a:defRPr/>
            </a:pPr>
            <a:fld id="{05871DC2-A2AE-46D6-AD77-7CCBF0EAA666}" type="slidenum">
              <a:rPr lang="en-US">
                <a:solidFill>
                  <a:srgbClr val="002776"/>
                </a:solidFill>
              </a:rPr>
              <a:pPr>
                <a:defRPr/>
              </a:pPr>
              <a:t>‹#›</a:t>
            </a:fld>
            <a:endParaRPr lang="en-US">
              <a:solidFill>
                <a:srgbClr val="002776"/>
              </a:solidFill>
            </a:endParaRPr>
          </a:p>
        </p:txBody>
      </p:sp>
      <p:sp>
        <p:nvSpPr>
          <p:cNvPr id="9" name="Footer Placeholder 10"/>
          <p:cNvSpPr>
            <a:spLocks noGrp="1"/>
          </p:cNvSpPr>
          <p:nvPr>
            <p:ph type="ftr" sz="quarter" idx="15"/>
          </p:nvPr>
        </p:nvSpPr>
        <p:spPr/>
        <p:txBody>
          <a:bodyPr/>
          <a:lstStyle>
            <a:lvl1pPr>
              <a:defRPr/>
            </a:lvl1pPr>
          </a:lstStyle>
          <a:p>
            <a:pPr>
              <a:defRPr/>
            </a:pPr>
            <a:endParaRPr lang="en-US">
              <a:solidFill>
                <a:srgbClr val="002776"/>
              </a:solidFill>
            </a:endParaRPr>
          </a:p>
        </p:txBody>
      </p:sp>
    </p:spTree>
    <p:extLst>
      <p:ext uri="{BB962C8B-B14F-4D97-AF65-F5344CB8AC3E}">
        <p14:creationId xmlns:p14="http://schemas.microsoft.com/office/powerpoint/2010/main" val="32306990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extLst>
              <p:ext uri="{D42A27DB-BD31-4B8C-83A1-F6EECF244321}">
                <p14:modId xmlns:p14="http://schemas.microsoft.com/office/powerpoint/2010/main" val="1673990995"/>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5365" name="think-cell Slide" r:id="rId4" imgW="0" imgH="0" progId="TCLayout.ActiveDocument.1">
                  <p:embed/>
                </p:oleObj>
              </mc:Choice>
              <mc:Fallback>
                <p:oleObj name="think-cell Slide" r:id="rId4" imgW="0" imgH="0" progId="TCLayout.ActiveDocument.1">
                  <p:embed/>
                  <p:pic>
                    <p:nvPicPr>
                      <p:cNvPr id="3"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p:cNvSpPr>
            <a:spLocks noChangeArrowheads="1"/>
          </p:cNvSpPr>
          <p:nvPr/>
        </p:nvSpPr>
        <p:spPr bwMode="auto">
          <a:xfrm>
            <a:off x="8530167" y="6554789"/>
            <a:ext cx="3083984" cy="142875"/>
          </a:xfrm>
          <a:prstGeom prst="rect">
            <a:avLst/>
          </a:prstGeom>
          <a:noFill/>
          <a:ln w="25400" algn="ctr">
            <a:noFill/>
            <a:miter lim="800000"/>
            <a:headEnd/>
            <a:tailEnd/>
          </a:ln>
        </p:spPr>
        <p:txBody>
          <a:bodyPr lIns="0" tIns="0" rIns="0" bIns="0"/>
          <a:lstStyle/>
          <a:p>
            <a:pPr algn="r" defTabSz="957998">
              <a:lnSpc>
                <a:spcPts val="1128"/>
              </a:lnSpc>
              <a:defRPr/>
            </a:pPr>
            <a:r>
              <a:rPr lang="en-US" sz="800">
                <a:solidFill>
                  <a:srgbClr val="002776"/>
                </a:solidFill>
                <a:latin typeface="Open Sans" panose="020B0606030504020204" pitchFamily="34" charset="0"/>
                <a:sym typeface="Open Sans" panose="020B0606030504020204" pitchFamily="34" charset="0"/>
              </a:rPr>
              <a:t>© 201</a:t>
            </a:r>
            <a:r>
              <a:rPr lang="sl-SI" sz="800">
                <a:solidFill>
                  <a:srgbClr val="002776"/>
                </a:solidFill>
                <a:latin typeface="Open Sans" panose="020B0606030504020204" pitchFamily="34" charset="0"/>
                <a:sym typeface="Open Sans" panose="020B0606030504020204" pitchFamily="34" charset="0"/>
              </a:rPr>
              <a:t>4 Deloitte</a:t>
            </a:r>
            <a:endParaRPr lang="en-US" sz="800" dirty="0">
              <a:solidFill>
                <a:srgbClr val="002776"/>
              </a:solidFill>
              <a:latin typeface="Open Sans" panose="020B0606030504020204" pitchFamily="34" charset="0"/>
              <a:sym typeface="Open Sans" panose="020B0606030504020204" pitchFamily="34" charset="0"/>
            </a:endParaRPr>
          </a:p>
        </p:txBody>
      </p:sp>
      <p:sp>
        <p:nvSpPr>
          <p:cNvPr id="2" name="Title 1"/>
          <p:cNvSpPr>
            <a:spLocks noGrp="1"/>
          </p:cNvSpPr>
          <p:nvPr>
            <p:ph type="title"/>
          </p:nvPr>
        </p:nvSpPr>
        <p:spPr/>
        <p:txBody>
          <a:bodyPr/>
          <a:lstStyle/>
          <a:p>
            <a:r>
              <a:rPr lang="en-US" noProof="0"/>
              <a:t>Click to edit Master title style</a:t>
            </a:r>
            <a:endParaRPr lang="en-US" noProof="0" dirty="0"/>
          </a:p>
        </p:txBody>
      </p:sp>
      <p:sp>
        <p:nvSpPr>
          <p:cNvPr id="5" name="Slide Number Placeholder 2"/>
          <p:cNvSpPr>
            <a:spLocks noGrp="1"/>
          </p:cNvSpPr>
          <p:nvPr>
            <p:ph type="sldNum" sz="quarter" idx="10"/>
          </p:nvPr>
        </p:nvSpPr>
        <p:spPr/>
        <p:txBody>
          <a:bodyPr/>
          <a:lstStyle>
            <a:lvl1pPr>
              <a:defRPr/>
            </a:lvl1pPr>
          </a:lstStyle>
          <a:p>
            <a:pPr>
              <a:defRPr/>
            </a:pPr>
            <a:fld id="{07886D24-F4EA-4EBD-B013-7FCCEAFE1562}" type="slidenum">
              <a:rPr lang="en-US">
                <a:solidFill>
                  <a:srgbClr val="002776"/>
                </a:solidFill>
              </a:rPr>
              <a:pPr>
                <a:defRPr/>
              </a:pPr>
              <a:t>‹#›</a:t>
            </a:fld>
            <a:endParaRPr lang="en-US">
              <a:solidFill>
                <a:srgbClr val="002776"/>
              </a:solidFill>
            </a:endParaRPr>
          </a:p>
        </p:txBody>
      </p:sp>
      <p:sp>
        <p:nvSpPr>
          <p:cNvPr id="6" name="Footer Placeholder 3"/>
          <p:cNvSpPr>
            <a:spLocks noGrp="1"/>
          </p:cNvSpPr>
          <p:nvPr>
            <p:ph type="ftr" sz="quarter" idx="11"/>
          </p:nvPr>
        </p:nvSpPr>
        <p:spPr/>
        <p:txBody>
          <a:bodyPr/>
          <a:lstStyle>
            <a:lvl1pPr>
              <a:defRPr/>
            </a:lvl1pPr>
          </a:lstStyle>
          <a:p>
            <a:pPr>
              <a:defRPr/>
            </a:pPr>
            <a:endParaRPr lang="en-US">
              <a:solidFill>
                <a:srgbClr val="002776"/>
              </a:solidFill>
            </a:endParaRPr>
          </a:p>
        </p:txBody>
      </p:sp>
    </p:spTree>
    <p:extLst>
      <p:ext uri="{BB962C8B-B14F-4D97-AF65-F5344CB8AC3E}">
        <p14:creationId xmlns:p14="http://schemas.microsoft.com/office/powerpoint/2010/main" val="2141347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3"/>
            </p:custDataLst>
            <p:extLst>
              <p:ext uri="{D42A27DB-BD31-4B8C-83A1-F6EECF244321}">
                <p14:modId xmlns:p14="http://schemas.microsoft.com/office/powerpoint/2010/main" val="2131481461"/>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6389" name="think-cell Slide" r:id="rId5" imgW="0" imgH="0" progId="TCLayout.ActiveDocument.1">
                  <p:embed/>
                </p:oleObj>
              </mc:Choice>
              <mc:Fallback>
                <p:oleObj name="think-cell Slide" r:id="rId5" imgW="0" imgH="0" progId="TCLayout.ActiveDocument.1">
                  <p:embed/>
                  <p:pic>
                    <p:nvPicPr>
                      <p:cNvPr id="3"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523760" y="2618107"/>
            <a:ext cx="8276677" cy="1278000"/>
          </a:xfrm>
        </p:spPr>
        <p:txBody>
          <a:bodyPr/>
          <a:lstStyle>
            <a:lvl1pPr>
              <a:lnSpc>
                <a:spcPts val="4888"/>
              </a:lnSpc>
              <a:defRPr sz="5200" b="0">
                <a:solidFill>
                  <a:schemeClr val="tx2"/>
                </a:solidFill>
                <a:latin typeface="Times New Roman" pitchFamily="18" charset="0"/>
              </a:defRPr>
            </a:lvl1pPr>
          </a:lstStyle>
          <a:p>
            <a:r>
              <a:rPr lang="en-US" noProof="0"/>
              <a:t>Click to edit Master title style</a:t>
            </a:r>
          </a:p>
        </p:txBody>
      </p:sp>
    </p:spTree>
    <p:extLst>
      <p:ext uri="{BB962C8B-B14F-4D97-AF65-F5344CB8AC3E}">
        <p14:creationId xmlns:p14="http://schemas.microsoft.com/office/powerpoint/2010/main" val="1132810228"/>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Rectangle 1" hidden="1"/>
          <p:cNvGraphicFramePr>
            <a:graphicFrameLocks/>
          </p:cNvGraphicFramePr>
          <p:nvPr>
            <p:custDataLst>
              <p:tags r:id="rId2"/>
            </p:custDataLst>
            <p:extLst>
              <p:ext uri="{D42A27DB-BD31-4B8C-83A1-F6EECF244321}">
                <p14:modId xmlns:p14="http://schemas.microsoft.com/office/powerpoint/2010/main" val="1833199633"/>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7413" name="think-cell Slide" r:id="rId5" imgW="0" imgH="0" progId="TCLayout.ActiveDocument.1">
                  <p:embed/>
                </p:oleObj>
              </mc:Choice>
              <mc:Fallback>
                <p:oleObj name="think-cell Slide" r:id="rId5" imgW="0" imgH="0" progId="TCLayout.ActiveDocument.1">
                  <p:embed/>
                  <p:pic>
                    <p:nvPicPr>
                      <p:cNvPr id="2"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p:cNvSpPr>
            <a:spLocks noChangeArrowheads="1"/>
          </p:cNvSpPr>
          <p:nvPr>
            <p:custDataLst>
              <p:tags r:id="rId3"/>
            </p:custDataLst>
          </p:nvPr>
        </p:nvSpPr>
        <p:spPr bwMode="auto">
          <a:xfrm>
            <a:off x="8530167" y="6554789"/>
            <a:ext cx="3083984"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latin typeface="Open Sans" panose="020B0606030504020204" pitchFamily="34" charset="0"/>
                <a:sym typeface="Open Sans" panose="020B0606030504020204" pitchFamily="34" charset="0"/>
              </a:rPr>
              <a:t>© 2013 Deloitte Central Europe</a:t>
            </a:r>
          </a:p>
        </p:txBody>
      </p:sp>
    </p:spTree>
    <p:extLst>
      <p:ext uri="{BB962C8B-B14F-4D97-AF65-F5344CB8AC3E}">
        <p14:creationId xmlns:p14="http://schemas.microsoft.com/office/powerpoint/2010/main" val="12593989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95705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480001" y="1391478"/>
            <a:ext cx="5520000" cy="4585252"/>
          </a:xfrm>
          <a:prstGeom prst="rect">
            <a:avLst/>
          </a:prstGeom>
        </p:spPr>
        <p:txBody>
          <a:bodyPr lIns="82040" tIns="41020" rIns="82040" bIns="41020" rtlCol="0">
            <a:noAutofit/>
          </a:bodyPr>
          <a:lstStyle>
            <a:lvl1pPr algn="l" defTabSz="872741" rtl="0" eaLnBrk="1" latinLnBrk="0" hangingPunct="1">
              <a:spcBef>
                <a:spcPts val="0"/>
              </a:spcBef>
              <a:spcAft>
                <a:spcPts val="286"/>
              </a:spcAft>
              <a:buFont typeface="Arial" pitchFamily="34" charset="0"/>
              <a:defRPr lang="en-US" sz="1200" b="1" dirty="0" smtClean="0">
                <a:solidFill>
                  <a:schemeClr val="accent3"/>
                </a:solidFill>
                <a:latin typeface="Open Sans" panose="020B0606030504020204" pitchFamily="34" charset="0"/>
                <a:ea typeface="+mn-ea"/>
                <a:cs typeface="Open Sans" panose="020B0606030504020204" pitchFamily="34" charset="0"/>
                <a:sym typeface="Open Sans" panose="020B0606030504020204" pitchFamily="34" charset="0"/>
              </a:defRPr>
            </a:lvl1pPr>
            <a:lvl2pPr algn="l" defTabSz="872741" rtl="0" eaLnBrk="1" latinLnBrk="0" hangingPunct="1">
              <a:spcBef>
                <a:spcPts val="0"/>
              </a:spcBef>
              <a:spcAft>
                <a:spcPts val="286"/>
              </a:spcAft>
              <a:buFont typeface="Arial" pitchFamily="34" charset="0"/>
              <a:defRPr lang="en-US" sz="1100" kern="1200" dirty="0" smtClean="0">
                <a:solidFill>
                  <a:schemeClr val="accent2"/>
                </a:solidFill>
                <a:latin typeface="Open Sans" panose="020B0606030504020204" pitchFamily="34" charset="0"/>
                <a:ea typeface="+mj-ea"/>
                <a:cs typeface="Open Sans" panose="020B0606030504020204" pitchFamily="34" charset="0"/>
                <a:sym typeface="Open Sans" panose="020B0606030504020204" pitchFamily="34" charset="0"/>
              </a:defRPr>
            </a:lvl2pPr>
            <a:lvl3pPr algn="l" defTabSz="872741" rtl="0" eaLnBrk="1" latinLnBrk="0" hangingPunct="1">
              <a:spcBef>
                <a:spcPts val="0"/>
              </a:spcBef>
              <a:spcAft>
                <a:spcPts val="286"/>
              </a:spcAft>
              <a:buFont typeface="Arial" pitchFamily="34" charset="0"/>
              <a:defRPr lang="en-US" sz="1200" kern="1200" dirty="0" smtClean="0">
                <a:solidFill>
                  <a:schemeClr val="tx1"/>
                </a:solidFill>
                <a:latin typeface="Open Sans" panose="020B0606030504020204" pitchFamily="34" charset="0"/>
                <a:ea typeface="+mj-ea"/>
                <a:cs typeface="Open Sans" panose="020B0606030504020204" pitchFamily="34" charset="0"/>
                <a:sym typeface="Open Sans" panose="020B0606030504020204" pitchFamily="34" charset="0"/>
              </a:defRPr>
            </a:lvl3pPr>
            <a:lvl4pPr algn="l" defTabSz="872741" rtl="0" eaLnBrk="1" latinLnBrk="0" hangingPunct="1">
              <a:spcBef>
                <a:spcPts val="0"/>
              </a:spcBef>
              <a:spcAft>
                <a:spcPts val="286"/>
              </a:spcAft>
              <a:buFont typeface="Arial" pitchFamily="34" charset="0"/>
              <a:defRPr lang="en-US" sz="1100" kern="1200" dirty="0" smtClean="0">
                <a:solidFill>
                  <a:schemeClr val="tx1"/>
                </a:solidFill>
                <a:latin typeface="Open Sans" panose="020B0606030504020204" pitchFamily="34" charset="0"/>
                <a:ea typeface="+mj-ea"/>
                <a:cs typeface="Open Sans" panose="020B0606030504020204" pitchFamily="34" charset="0"/>
                <a:sym typeface="Open Sans" panose="020B0606030504020204" pitchFamily="34" charset="0"/>
              </a:defRPr>
            </a:lvl4pPr>
            <a:lvl5pPr algn="l" defTabSz="872741" rtl="0" eaLnBrk="1" latinLnBrk="0" hangingPunct="1">
              <a:spcBef>
                <a:spcPts val="0"/>
              </a:spcBef>
              <a:spcAft>
                <a:spcPts val="286"/>
              </a:spcAft>
              <a:buFont typeface="Arial" pitchFamily="34" charset="0"/>
              <a:defRPr lang="en-GB" sz="1100" kern="1200" dirty="0" smtClean="0">
                <a:solidFill>
                  <a:schemeClr val="tx1"/>
                </a:solidFill>
                <a:latin typeface="Open Sans" panose="020B0606030504020204" pitchFamily="34" charset="0"/>
                <a:ea typeface="+mj-ea"/>
                <a:cs typeface="Open Sans" panose="020B0606030504020204" pitchFamily="34" charset="0"/>
                <a:sym typeface="Open Sans" panose="020B0606030504020204" pitchFamily="34" charset="0"/>
              </a:defRPr>
            </a:lvl5pPr>
            <a:lvl6pPr>
              <a:defRPr sz="15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2000" y="1391478"/>
            <a:ext cx="5520000" cy="4585252"/>
          </a:xfrm>
          <a:prstGeom prst="rect">
            <a:avLst/>
          </a:prstGeom>
        </p:spPr>
        <p:txBody>
          <a:bodyPr lIns="82040" tIns="41020" rIns="82040" bIns="41020" rtlCol="0">
            <a:noAutofit/>
          </a:bodyPr>
          <a:lstStyle>
            <a:lvl1pPr algn="l" defTabSz="872741" rtl="0" eaLnBrk="1" latinLnBrk="0" hangingPunct="1">
              <a:spcBef>
                <a:spcPts val="0"/>
              </a:spcBef>
              <a:spcAft>
                <a:spcPts val="286"/>
              </a:spcAft>
              <a:buFont typeface="Arial" pitchFamily="34" charset="0"/>
              <a:defRPr lang="en-US" sz="1200" b="1" dirty="0" smtClean="0">
                <a:solidFill>
                  <a:schemeClr val="accent3"/>
                </a:solidFill>
                <a:latin typeface="Open Sans" panose="020B0606030504020204" pitchFamily="34" charset="0"/>
                <a:ea typeface="+mn-ea"/>
                <a:cs typeface="Open Sans" panose="020B0606030504020204" pitchFamily="34" charset="0"/>
                <a:sym typeface="Open Sans" panose="020B0606030504020204" pitchFamily="34" charset="0"/>
              </a:defRPr>
            </a:lvl1pPr>
            <a:lvl2pPr algn="l" defTabSz="872741" rtl="0" eaLnBrk="1" latinLnBrk="0" hangingPunct="1">
              <a:spcBef>
                <a:spcPts val="0"/>
              </a:spcBef>
              <a:spcAft>
                <a:spcPts val="286"/>
              </a:spcAft>
              <a:buFont typeface="Arial" pitchFamily="34" charset="0"/>
              <a:defRPr lang="en-US" sz="1100" kern="1200" smtClean="0">
                <a:solidFill>
                  <a:schemeClr val="accent2"/>
                </a:solidFill>
                <a:latin typeface="Open Sans" panose="020B0606030504020204" pitchFamily="34" charset="0"/>
                <a:ea typeface="+mj-ea"/>
                <a:cs typeface="Open Sans" panose="020B0606030504020204" pitchFamily="34" charset="0"/>
                <a:sym typeface="Open Sans" panose="020B0606030504020204" pitchFamily="34" charset="0"/>
              </a:defRPr>
            </a:lvl2pPr>
            <a:lvl3pPr algn="l" defTabSz="872741" rtl="0" eaLnBrk="1" latinLnBrk="0" hangingPunct="1">
              <a:spcBef>
                <a:spcPts val="0"/>
              </a:spcBef>
              <a:spcAft>
                <a:spcPts val="286"/>
              </a:spcAft>
              <a:buFont typeface="Arial" pitchFamily="34" charset="0"/>
              <a:defRPr lang="en-US" sz="1200" kern="1200" smtClean="0">
                <a:solidFill>
                  <a:schemeClr val="tx1"/>
                </a:solidFill>
                <a:latin typeface="Open Sans" panose="020B0606030504020204" pitchFamily="34" charset="0"/>
                <a:ea typeface="+mj-ea"/>
                <a:cs typeface="Open Sans" panose="020B0606030504020204" pitchFamily="34" charset="0"/>
                <a:sym typeface="Open Sans" panose="020B0606030504020204" pitchFamily="34" charset="0"/>
              </a:defRPr>
            </a:lvl3pPr>
            <a:lvl4pPr algn="l" defTabSz="872741" rtl="0" eaLnBrk="1" latinLnBrk="0" hangingPunct="1">
              <a:spcBef>
                <a:spcPts val="0"/>
              </a:spcBef>
              <a:spcAft>
                <a:spcPts val="286"/>
              </a:spcAft>
              <a:buFont typeface="Arial" pitchFamily="34" charset="0"/>
              <a:defRPr lang="en-US" sz="1100" kern="1200" smtClean="0">
                <a:solidFill>
                  <a:schemeClr val="tx1"/>
                </a:solidFill>
                <a:latin typeface="Open Sans" panose="020B0606030504020204" pitchFamily="34" charset="0"/>
                <a:ea typeface="+mj-ea"/>
                <a:cs typeface="Open Sans" panose="020B0606030504020204" pitchFamily="34" charset="0"/>
                <a:sym typeface="Open Sans" panose="020B0606030504020204" pitchFamily="34" charset="0"/>
              </a:defRPr>
            </a:lvl4pPr>
            <a:lvl5pPr algn="l" defTabSz="872741" rtl="0" eaLnBrk="1" latinLnBrk="0" hangingPunct="1">
              <a:spcBef>
                <a:spcPts val="0"/>
              </a:spcBef>
              <a:spcAft>
                <a:spcPts val="286"/>
              </a:spcAft>
              <a:buFont typeface="Arial" pitchFamily="34" charset="0"/>
              <a:defRPr lang="en-GB" sz="1100" kern="1200" dirty="0" smtClean="0">
                <a:solidFill>
                  <a:schemeClr val="tx1"/>
                </a:solidFill>
                <a:latin typeface="Open Sans" panose="020B0606030504020204" pitchFamily="34" charset="0"/>
                <a:ea typeface="+mj-ea"/>
                <a:cs typeface="Open Sans" panose="020B0606030504020204" pitchFamily="34" charset="0"/>
                <a:sym typeface="Open Sans" panose="020B0606030504020204" pitchFamily="34" charset="0"/>
              </a:defRPr>
            </a:lvl5pPr>
            <a:lvl6pPr>
              <a:defRPr sz="1500"/>
            </a:lvl6pPr>
            <a:lvl7pPr>
              <a:defRPr sz="1300"/>
            </a:lvl7pPr>
            <a:lvl8pPr>
              <a:defRPr sz="1300"/>
            </a:lvl8pPr>
            <a:lvl9pPr>
              <a:defRPr sz="1300"/>
            </a:lvl9pPr>
          </a:lstStyle>
          <a:p>
            <a:pPr marL="0" lvl="0" indent="0" algn="l" defTabSz="872741" rtl="0" eaLnBrk="1" fontAlgn="base" latinLnBrk="0" hangingPunct="1">
              <a:lnSpc>
                <a:spcPts val="1432"/>
              </a:lnSpc>
              <a:spcBef>
                <a:spcPts val="0"/>
              </a:spcBef>
              <a:spcAft>
                <a:spcPts val="286"/>
              </a:spcAft>
              <a:buFont typeface="Arial" pitchFamily="34" charset="0"/>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3"/>
          <p:cNvSpPr>
            <a:spLocks noGrp="1"/>
          </p:cNvSpPr>
          <p:nvPr>
            <p:ph type="body" sz="quarter" idx="14"/>
          </p:nvPr>
        </p:nvSpPr>
        <p:spPr>
          <a:xfrm>
            <a:off x="463828" y="294073"/>
            <a:ext cx="11066965" cy="902224"/>
          </a:xfrm>
          <a:prstGeom prst="rect">
            <a:avLst/>
          </a:prstGeom>
        </p:spPr>
        <p:txBody>
          <a:bodyPr lIns="82040" tIns="41020" rIns="82040" bIns="41020"/>
          <a:lstStyle>
            <a:lvl1pPr>
              <a:lnSpc>
                <a:spcPts val="3054"/>
              </a:lnSpc>
              <a:spcAft>
                <a:spcPts val="0"/>
              </a:spcAft>
              <a:defRPr sz="2900" b="0">
                <a:solidFill>
                  <a:schemeClr val="accent1"/>
                </a:solidFill>
                <a:latin typeface="Open Sans" panose="020B0606030504020204" pitchFamily="34" charset="0"/>
                <a:sym typeface="Open Sans" panose="020B0606030504020204" pitchFamily="34" charset="0"/>
              </a:defRPr>
            </a:lvl1pPr>
            <a:lvl2pPr>
              <a:lnSpc>
                <a:spcPts val="3054"/>
              </a:lnSpc>
              <a:spcAft>
                <a:spcPts val="0"/>
              </a:spcAft>
              <a:defRPr lang="en-US" sz="2300" b="0" dirty="0" smtClean="0">
                <a:solidFill>
                  <a:schemeClr val="accent3"/>
                </a:solidFill>
                <a:latin typeface="Open Sans" panose="020B0606030504020204" pitchFamily="34" charset="0"/>
                <a:cs typeface="Open Sans" panose="020B0606030504020204" pitchFamily="34" charset="0"/>
                <a:sym typeface="Open Sans" panose="020B0606030504020204" pitchFamily="34" charset="0"/>
              </a:defRPr>
            </a:lvl2pPr>
            <a:lvl3pPr>
              <a:lnSpc>
                <a:spcPts val="3054"/>
              </a:lnSpc>
              <a:spcAft>
                <a:spcPts val="0"/>
              </a:spcAft>
              <a:defRPr sz="2900" b="0">
                <a:latin typeface="+mj-lt"/>
              </a:defRPr>
            </a:lvl3pPr>
            <a:lvl4pPr>
              <a:lnSpc>
                <a:spcPts val="3054"/>
              </a:lnSpc>
              <a:spcAft>
                <a:spcPts val="0"/>
              </a:spcAft>
              <a:defRPr sz="2900" b="0">
                <a:latin typeface="+mj-lt"/>
              </a:defRPr>
            </a:lvl4pPr>
            <a:lvl5pPr>
              <a:lnSpc>
                <a:spcPts val="3054"/>
              </a:lnSpc>
              <a:spcAft>
                <a:spcPts val="0"/>
              </a:spcAft>
              <a:defRPr sz="2900" b="0">
                <a:latin typeface="+mj-lt"/>
              </a:defRPr>
            </a:lvl5pPr>
          </a:lstStyle>
          <a:p>
            <a:pPr lvl="0"/>
            <a:r>
              <a:rPr lang="en-US" dirty="0"/>
              <a:t>Click to edit Master text styles</a:t>
            </a:r>
          </a:p>
          <a:p>
            <a:pPr marL="0" lvl="1" indent="0" algn="l" defTabSz="913651" rtl="0" eaLnBrk="1" fontAlgn="base" hangingPunct="1">
              <a:lnSpc>
                <a:spcPts val="3054"/>
              </a:lnSpc>
              <a:spcBef>
                <a:spcPts val="0"/>
              </a:spcBef>
              <a:spcAft>
                <a:spcPts val="0"/>
              </a:spcAft>
              <a:tabLst/>
            </a:pPr>
            <a:r>
              <a:rPr lang="en-US" dirty="0"/>
              <a:t>Second level</a:t>
            </a:r>
          </a:p>
        </p:txBody>
      </p:sp>
      <p:sp>
        <p:nvSpPr>
          <p:cNvPr id="10" name="Footer Placeholder 1"/>
          <p:cNvSpPr>
            <a:spLocks noGrp="1"/>
          </p:cNvSpPr>
          <p:nvPr>
            <p:ph type="ftr" sz="quarter" idx="3"/>
          </p:nvPr>
        </p:nvSpPr>
        <p:spPr>
          <a:xfrm>
            <a:off x="691496" y="6400464"/>
            <a:ext cx="3860800" cy="365125"/>
          </a:xfrm>
          <a:prstGeom prst="rect">
            <a:avLst/>
          </a:prstGeom>
        </p:spPr>
        <p:txBody>
          <a:bodyPr vert="horz" lIns="87274" tIns="43637" rIns="87274" bIns="43637" rtlCol="0" anchor="ctr"/>
          <a:lstStyle>
            <a:lvl1pPr algn="l">
              <a:defRPr sz="900">
                <a:solidFill>
                  <a:schemeClr val="tx1"/>
                </a:solidFill>
              </a:defRPr>
            </a:lvl1pPr>
          </a:lstStyle>
          <a:p>
            <a:r>
              <a:rPr lang="en-US" dirty="0">
                <a:solidFill>
                  <a:srgbClr val="000000"/>
                </a:solidFill>
              </a:rPr>
              <a:t>Private and confidential</a:t>
            </a:r>
          </a:p>
        </p:txBody>
      </p:sp>
    </p:spTree>
    <p:extLst>
      <p:ext uri="{BB962C8B-B14F-4D97-AF65-F5344CB8AC3E}">
        <p14:creationId xmlns:p14="http://schemas.microsoft.com/office/powerpoint/2010/main" val="31145713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1779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5pPr>
              <a:defRPr>
                <a:latin typeface="Open Sans" panose="020B0606030504020204" pitchFamily="34" charset="0"/>
                <a:cs typeface="Open Sans" panose="020B0606030504020204" pitchFamily="34" charset="0"/>
                <a:sym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02369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37472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139437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5802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1" y="1154113"/>
            <a:ext cx="5456767" cy="5135562"/>
          </a:xfrm>
        </p:spPr>
        <p:txBody>
          <a:bodyPr/>
          <a:lstStyle>
            <a:lvl1pPr>
              <a:defRPr sz="2800"/>
            </a:lvl1pPr>
            <a:lvl2pPr>
              <a:defRPr sz="2400"/>
            </a:lvl2pPr>
            <a:lvl3pPr>
              <a:defRPr sz="2000"/>
            </a:lvl3pPr>
            <a:lvl4pPr>
              <a:defRPr sz="1800"/>
            </a:lvl4pPr>
            <a:lvl5pPr>
              <a:defRPr sz="1800">
                <a:latin typeface="Open Sans" panose="020B0606030504020204" pitchFamily="34" charset="0"/>
                <a:cs typeface="Open Sans" panose="020B0606030504020204" pitchFamily="34" charset="0"/>
                <a:sym typeface="Open Sans" panose="020B06060305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67" y="1154113"/>
            <a:ext cx="5456767" cy="5135562"/>
          </a:xfrm>
        </p:spPr>
        <p:txBody>
          <a:bodyPr/>
          <a:lstStyle>
            <a:lvl1pPr>
              <a:defRPr sz="2800"/>
            </a:lvl1pPr>
            <a:lvl2pPr>
              <a:defRPr sz="2400"/>
            </a:lvl2pPr>
            <a:lvl3pPr>
              <a:defRPr sz="2000"/>
            </a:lvl3pPr>
            <a:lvl4pPr>
              <a:defRPr sz="1800"/>
            </a:lvl4pPr>
            <a:lvl5pPr>
              <a:defRPr sz="1800">
                <a:latin typeface="Open Sans" panose="020B0606030504020204" pitchFamily="34" charset="0"/>
                <a:cs typeface="Open Sans" panose="020B0606030504020204" pitchFamily="34" charset="0"/>
                <a:sym typeface="Open Sans" panose="020B0606030504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4307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5531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dirty="0"/>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40924286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6774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atin typeface="Open Sans" panose="020B0606030504020204" pitchFamily="34" charset="0"/>
                <a:cs typeface="Open Sans" panose="020B0606030504020204" pitchFamily="34" charset="0"/>
                <a:sym typeface="Open Sans" panose="020B060603050402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atin typeface="Open Sans" panose="020B0606030504020204" pitchFamily="34" charset="0"/>
                <a:cs typeface="Open Sans" panose="020B0606030504020204" pitchFamily="34" charset="0"/>
                <a:sym typeface="Open Sans" panose="020B060603050402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3146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3298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59933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61267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782680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5335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atin typeface="Open Sans" panose="020B0606030504020204" pitchFamily="34" charset="0"/>
                <a:cs typeface="Open Sans" panose="020B0606030504020204" pitchFamily="34" charset="0"/>
                <a:sym typeface="Open Sans" panose="020B0606030504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860294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6621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277962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08133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5pPr>
              <a:defRPr>
                <a:latin typeface="Open Sans" panose="020B0606030504020204" pitchFamily="34" charset="0"/>
                <a:cs typeface="Open Sans" panose="020B0606030504020204" pitchFamily="34" charset="0"/>
                <a:sym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35520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03295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8870951" y="407989"/>
            <a:ext cx="2779183" cy="58816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33401" y="407989"/>
            <a:ext cx="8134351" cy="5881687"/>
          </a:xfrm>
        </p:spPr>
        <p:txBody>
          <a:bodyPr vert="eaVert"/>
          <a:lstStyle>
            <a:lvl5pPr>
              <a:defRPr>
                <a:latin typeface="Open Sans" panose="020B0606030504020204" pitchFamily="34" charset="0"/>
                <a:cs typeface="Open Sans" panose="020B0606030504020204" pitchFamily="34" charset="0"/>
                <a:sym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32392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extLst>
              <p:ext uri="{D42A27DB-BD31-4B8C-83A1-F6EECF244321}">
                <p14:modId xmlns:p14="http://schemas.microsoft.com/office/powerpoint/2010/main" val="666052140"/>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31749" name="think-cell Slide" r:id="rId22" imgW="0" imgH="0" progId="TCLayout.ActiveDocument.1">
                  <p:embed/>
                </p:oleObj>
              </mc:Choice>
              <mc:Fallback>
                <p:oleObj name="think-cell Slide" r:id="rId22" imgW="0" imgH="0" progId="TCLayout.ActiveDocument.1">
                  <p:embed/>
                  <p:pic>
                    <p:nvPicPr>
                      <p:cNvPr id="5"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8" descr="DEL_PRI_RGB"/>
          <p:cNvPicPr>
            <a:picLocks noChangeArrowheads="1"/>
          </p:cNvPicPr>
          <p:nvPr userDrawn="1">
            <p:custDataLst>
              <p:tags r:id="rId3"/>
            </p:custDataLst>
          </p:nvPr>
        </p:nvPicPr>
        <p:blipFill>
          <a:blip r:embed="rId23" cstate="print">
            <a:extLst>
              <a:ext uri="{28A0092B-C50C-407E-A947-70E740481C1C}">
                <a14:useLocalDpi xmlns:a14="http://schemas.microsoft.com/office/drawing/2010/main"/>
              </a:ext>
            </a:extLst>
          </a:blip>
          <a:srcRect/>
          <a:stretch>
            <a:fillRect/>
          </a:stretch>
        </p:blipFill>
        <p:spPr bwMode="auto">
          <a:xfrm>
            <a:off x="421218" y="287338"/>
            <a:ext cx="3128433" cy="533400"/>
          </a:xfrm>
          <a:prstGeom prst="rect">
            <a:avLst/>
          </a:prstGeom>
          <a:noFill/>
          <a:ln w="9525">
            <a:noFill/>
            <a:miter lim="800000"/>
            <a:headEnd/>
            <a:tailEnd/>
          </a:ln>
        </p:spPr>
      </p:pic>
      <p:grpSp>
        <p:nvGrpSpPr>
          <p:cNvPr id="7" name="Group 98"/>
          <p:cNvGrpSpPr>
            <a:grpSpLocks/>
          </p:cNvGrpSpPr>
          <p:nvPr userDrawn="1">
            <p:custDataLst>
              <p:tags r:id="rId4"/>
            </p:custDataLst>
          </p:nvPr>
        </p:nvGrpSpPr>
        <p:grpSpPr bwMode="auto">
          <a:xfrm>
            <a:off x="-1543050" y="1"/>
            <a:ext cx="1274233" cy="3889375"/>
            <a:chOff x="-1253505" y="0"/>
            <a:chExt cx="1035794" cy="3889829"/>
          </a:xfrm>
        </p:grpSpPr>
        <p:sp>
          <p:nvSpPr>
            <p:cNvPr id="8" name="Rectangle 27"/>
            <p:cNvSpPr>
              <a:spLocks noChangeArrowheads="1"/>
            </p:cNvSpPr>
            <p:nvPr userDrawn="1">
              <p:custDataLst>
                <p:tags r:id="rId8"/>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defRPr/>
              </a:pPr>
              <a:r>
                <a:rPr lang="en-GB" sz="1000" b="1">
                  <a:solidFill>
                    <a:schemeClr val="tx2"/>
                  </a:solidFill>
                  <a:latin typeface="Open Sans" panose="020B0606030504020204" pitchFamily="34" charset="0"/>
                  <a:sym typeface="Open Sans" panose="020B0606030504020204" pitchFamily="34" charset="0"/>
                </a:rPr>
                <a:t>Primary colors</a:t>
              </a:r>
            </a:p>
          </p:txBody>
        </p:sp>
        <p:grpSp>
          <p:nvGrpSpPr>
            <p:cNvPr id="9" name="Group 50"/>
            <p:cNvGrpSpPr>
              <a:grpSpLocks/>
            </p:cNvGrpSpPr>
            <p:nvPr userDrawn="1"/>
          </p:nvGrpSpPr>
          <p:grpSpPr bwMode="auto">
            <a:xfrm>
              <a:off x="-967887" y="180996"/>
              <a:ext cx="464559" cy="585856"/>
              <a:chOff x="12661026" y="-1313976"/>
              <a:chExt cx="464559" cy="585856"/>
            </a:xfrm>
          </p:grpSpPr>
          <p:sp>
            <p:nvSpPr>
              <p:cNvPr id="25" name="Rectangle 25"/>
              <p:cNvSpPr>
                <a:spLocks noChangeArrowheads="1"/>
              </p:cNvSpPr>
              <p:nvPr userDrawn="1">
                <p:custDataLst>
                  <p:tags r:id="rId19"/>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pPr defTabSz="914724">
                  <a:defRPr/>
                </a:pPr>
                <a:endParaRPr lang="en-GB" sz="1000" dirty="0">
                  <a:solidFill>
                    <a:schemeClr val="tx2"/>
                  </a:solidFill>
                  <a:latin typeface="Open Sans" panose="020B0606030504020204" pitchFamily="34" charset="0"/>
                  <a:sym typeface="Open Sans" panose="020B0606030504020204" pitchFamily="34" charset="0"/>
                </a:endParaRPr>
              </a:p>
            </p:txBody>
          </p:sp>
          <p:sp>
            <p:nvSpPr>
              <p:cNvPr id="27" name="Rectangle 14"/>
              <p:cNvSpPr>
                <a:spLocks noChangeArrowheads="1"/>
              </p:cNvSpPr>
              <p:nvPr userDrawn="1">
                <p:custDataLst>
                  <p:tags r:id="rId20"/>
                </p:custDataLst>
              </p:nvPr>
            </p:nvSpPr>
            <p:spPr bwMode="auto">
              <a:xfrm>
                <a:off x="12726408" y="-1252056"/>
                <a:ext cx="274943"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bg2"/>
                    </a:solidFill>
                    <a:latin typeface="Open Sans" panose="020B0606030504020204" pitchFamily="34" charset="0"/>
                    <a:sym typeface="Open Sans" panose="020B0606030504020204" pitchFamily="34" charset="0"/>
                  </a:rPr>
                  <a:t>R 0</a:t>
                </a:r>
              </a:p>
              <a:p>
                <a:pPr defTabSz="914724">
                  <a:defRPr/>
                </a:pPr>
                <a:r>
                  <a:rPr lang="en-GB" sz="1000" dirty="0">
                    <a:solidFill>
                      <a:schemeClr val="bg2"/>
                    </a:solidFill>
                    <a:latin typeface="Open Sans" panose="020B0606030504020204" pitchFamily="34" charset="0"/>
                    <a:sym typeface="Open Sans" panose="020B0606030504020204" pitchFamily="34" charset="0"/>
                  </a:rPr>
                  <a:t>G 39</a:t>
                </a:r>
              </a:p>
              <a:p>
                <a:pPr defTabSz="914724">
                  <a:defRPr/>
                </a:pPr>
                <a:r>
                  <a:rPr lang="en-GB" sz="1000" dirty="0">
                    <a:solidFill>
                      <a:schemeClr val="bg2"/>
                    </a:solidFill>
                    <a:latin typeface="Open Sans" panose="020B0606030504020204" pitchFamily="34" charset="0"/>
                    <a:sym typeface="Open Sans" panose="020B0606030504020204" pitchFamily="34" charset="0"/>
                  </a:rPr>
                  <a:t>B 118</a:t>
                </a:r>
              </a:p>
            </p:txBody>
          </p:sp>
        </p:grpSp>
        <p:grpSp>
          <p:nvGrpSpPr>
            <p:cNvPr id="10" name="Group 52"/>
            <p:cNvGrpSpPr>
              <a:grpSpLocks/>
            </p:cNvGrpSpPr>
            <p:nvPr userDrawn="1"/>
          </p:nvGrpSpPr>
          <p:grpSpPr bwMode="auto">
            <a:xfrm>
              <a:off x="-967887" y="1414628"/>
              <a:ext cx="464559" cy="584268"/>
              <a:chOff x="12661026" y="59430"/>
              <a:chExt cx="464559" cy="584268"/>
            </a:xfrm>
          </p:grpSpPr>
          <p:sp>
            <p:nvSpPr>
              <p:cNvPr id="23" name="Rectangle 25"/>
              <p:cNvSpPr>
                <a:spLocks noChangeArrowheads="1"/>
              </p:cNvSpPr>
              <p:nvPr userDrawn="1">
                <p:custDataLst>
                  <p:tags r:id="rId17"/>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GB" sz="1000" dirty="0">
                  <a:solidFill>
                    <a:schemeClr val="tx2"/>
                  </a:solidFill>
                  <a:latin typeface="Open Sans" panose="020B0606030504020204" pitchFamily="34" charset="0"/>
                  <a:sym typeface="Open Sans" panose="020B0606030504020204" pitchFamily="34" charset="0"/>
                </a:endParaRPr>
              </a:p>
            </p:txBody>
          </p:sp>
          <p:sp>
            <p:nvSpPr>
              <p:cNvPr id="24" name="Rectangle 16"/>
              <p:cNvSpPr>
                <a:spLocks noChangeArrowheads="1"/>
              </p:cNvSpPr>
              <p:nvPr userDrawn="1">
                <p:custDataLst>
                  <p:tags r:id="rId18"/>
                </p:custDataLst>
              </p:nvPr>
            </p:nvSpPr>
            <p:spPr bwMode="auto">
              <a:xfrm>
                <a:off x="12719526" y="110236"/>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bg2"/>
                    </a:solidFill>
                    <a:latin typeface="Open Sans" panose="020B0606030504020204" pitchFamily="34" charset="0"/>
                    <a:sym typeface="Open Sans" panose="020B0606030504020204" pitchFamily="34" charset="0"/>
                  </a:rPr>
                  <a:t>R 0</a:t>
                </a:r>
              </a:p>
              <a:p>
                <a:pPr defTabSz="914724">
                  <a:defRPr/>
                </a:pPr>
                <a:r>
                  <a:rPr lang="en-GB" sz="1000" dirty="0">
                    <a:solidFill>
                      <a:schemeClr val="bg2"/>
                    </a:solidFill>
                    <a:latin typeface="Open Sans" panose="020B0606030504020204" pitchFamily="34" charset="0"/>
                    <a:sym typeface="Open Sans" panose="020B0606030504020204" pitchFamily="34" charset="0"/>
                  </a:rPr>
                  <a:t>G 161</a:t>
                </a:r>
              </a:p>
              <a:p>
                <a:pPr defTabSz="914724">
                  <a:defRPr/>
                </a:pPr>
                <a:r>
                  <a:rPr lang="en-GB" sz="1000" dirty="0">
                    <a:solidFill>
                      <a:schemeClr val="bg2"/>
                    </a:solidFill>
                    <a:latin typeface="Open Sans" panose="020B0606030504020204" pitchFamily="34" charset="0"/>
                    <a:sym typeface="Open Sans" panose="020B0606030504020204" pitchFamily="34" charset="0"/>
                  </a:rPr>
                  <a:t>B 222</a:t>
                </a:r>
              </a:p>
            </p:txBody>
          </p:sp>
        </p:grpSp>
        <p:grpSp>
          <p:nvGrpSpPr>
            <p:cNvPr id="11" name="Group 53"/>
            <p:cNvGrpSpPr>
              <a:grpSpLocks/>
            </p:cNvGrpSpPr>
            <p:nvPr userDrawn="1"/>
          </p:nvGrpSpPr>
          <p:grpSpPr bwMode="auto">
            <a:xfrm>
              <a:off x="-967887" y="2030650"/>
              <a:ext cx="464559" cy="584268"/>
              <a:chOff x="12661026" y="853322"/>
              <a:chExt cx="464559" cy="584268"/>
            </a:xfrm>
          </p:grpSpPr>
          <p:sp>
            <p:nvSpPr>
              <p:cNvPr id="21" name="Rectangle 25"/>
              <p:cNvSpPr>
                <a:spLocks noChangeArrowheads="1"/>
              </p:cNvSpPr>
              <p:nvPr userDrawn="1">
                <p:custDataLst>
                  <p:tags r:id="rId15"/>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GB" sz="1000" dirty="0">
                  <a:solidFill>
                    <a:schemeClr val="tx2"/>
                  </a:solidFill>
                  <a:latin typeface="Open Sans" panose="020B0606030504020204" pitchFamily="34" charset="0"/>
                  <a:sym typeface="Open Sans" panose="020B0606030504020204" pitchFamily="34" charset="0"/>
                </a:endParaRPr>
              </a:p>
            </p:txBody>
          </p:sp>
          <p:sp>
            <p:nvSpPr>
              <p:cNvPr id="22" name="Rectangle 21"/>
              <p:cNvSpPr>
                <a:spLocks noChangeArrowheads="1"/>
              </p:cNvSpPr>
              <p:nvPr userDrawn="1">
                <p:custDataLst>
                  <p:tags r:id="rId16"/>
                </p:custDataLst>
              </p:nvPr>
            </p:nvSpPr>
            <p:spPr bwMode="auto">
              <a:xfrm>
                <a:off x="12719526" y="915241"/>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bg2"/>
                    </a:solidFill>
                    <a:latin typeface="Open Sans" panose="020B0606030504020204" pitchFamily="34" charset="0"/>
                    <a:sym typeface="Open Sans" panose="020B0606030504020204" pitchFamily="34" charset="0"/>
                  </a:rPr>
                  <a:t>R 60</a:t>
                </a:r>
              </a:p>
              <a:p>
                <a:pPr defTabSz="914724">
                  <a:defRPr/>
                </a:pPr>
                <a:r>
                  <a:rPr lang="en-GB" sz="1000" dirty="0">
                    <a:solidFill>
                      <a:schemeClr val="bg2"/>
                    </a:solidFill>
                    <a:latin typeface="Open Sans" panose="020B0606030504020204" pitchFamily="34" charset="0"/>
                    <a:sym typeface="Open Sans" panose="020B0606030504020204" pitchFamily="34" charset="0"/>
                  </a:rPr>
                  <a:t>G 138</a:t>
                </a:r>
              </a:p>
              <a:p>
                <a:pPr defTabSz="914724">
                  <a:defRPr/>
                </a:pPr>
                <a:r>
                  <a:rPr lang="en-GB" sz="1000" dirty="0">
                    <a:solidFill>
                      <a:schemeClr val="bg2"/>
                    </a:solidFill>
                    <a:latin typeface="Open Sans" panose="020B0606030504020204" pitchFamily="34" charset="0"/>
                    <a:sym typeface="Open Sans" panose="020B0606030504020204" pitchFamily="34" charset="0"/>
                  </a:rPr>
                  <a:t>B 46</a:t>
                </a:r>
              </a:p>
            </p:txBody>
          </p:sp>
        </p:grpSp>
        <p:grpSp>
          <p:nvGrpSpPr>
            <p:cNvPr id="12" name="Group 54"/>
            <p:cNvGrpSpPr>
              <a:grpSpLocks/>
            </p:cNvGrpSpPr>
            <p:nvPr userDrawn="1"/>
          </p:nvGrpSpPr>
          <p:grpSpPr bwMode="auto">
            <a:xfrm>
              <a:off x="-967887" y="2646672"/>
              <a:ext cx="464559" cy="585855"/>
              <a:chOff x="12661026" y="1513377"/>
              <a:chExt cx="464559" cy="585855"/>
            </a:xfrm>
          </p:grpSpPr>
          <p:sp>
            <p:nvSpPr>
              <p:cNvPr id="19" name="Rectangle 25"/>
              <p:cNvSpPr>
                <a:spLocks noChangeArrowheads="1"/>
              </p:cNvSpPr>
              <p:nvPr userDrawn="1">
                <p:custDataLst>
                  <p:tags r:id="rId13"/>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GB" sz="1000" dirty="0">
                  <a:solidFill>
                    <a:schemeClr val="tx2"/>
                  </a:solidFill>
                  <a:latin typeface="Open Sans" panose="020B0606030504020204" pitchFamily="34" charset="0"/>
                  <a:sym typeface="Open Sans" panose="020B0606030504020204" pitchFamily="34" charset="0"/>
                </a:endParaRPr>
              </a:p>
            </p:txBody>
          </p:sp>
          <p:sp>
            <p:nvSpPr>
              <p:cNvPr id="20" name="Rectangle 17"/>
              <p:cNvSpPr>
                <a:spLocks noChangeArrowheads="1"/>
              </p:cNvSpPr>
              <p:nvPr userDrawn="1">
                <p:custDataLst>
                  <p:tags r:id="rId14"/>
                </p:custDataLst>
              </p:nvPr>
            </p:nvSpPr>
            <p:spPr bwMode="auto">
              <a:xfrm>
                <a:off x="12719526" y="1575296"/>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tx2"/>
                    </a:solidFill>
                    <a:latin typeface="Open Sans" panose="020B0606030504020204" pitchFamily="34" charset="0"/>
                    <a:sym typeface="Open Sans" panose="020B0606030504020204" pitchFamily="34" charset="0"/>
                  </a:rPr>
                  <a:t>R 114</a:t>
                </a:r>
              </a:p>
              <a:p>
                <a:pPr defTabSz="914724">
                  <a:defRPr/>
                </a:pPr>
                <a:r>
                  <a:rPr lang="en-GB" sz="1000" dirty="0">
                    <a:solidFill>
                      <a:schemeClr val="tx2"/>
                    </a:solidFill>
                    <a:latin typeface="Open Sans" panose="020B0606030504020204" pitchFamily="34" charset="0"/>
                    <a:sym typeface="Open Sans" panose="020B0606030504020204" pitchFamily="34" charset="0"/>
                  </a:rPr>
                  <a:t>G 199</a:t>
                </a:r>
              </a:p>
              <a:p>
                <a:pPr defTabSz="914724">
                  <a:defRPr/>
                </a:pPr>
                <a:r>
                  <a:rPr lang="en-GB" sz="1000" dirty="0">
                    <a:solidFill>
                      <a:schemeClr val="tx2"/>
                    </a:solidFill>
                    <a:latin typeface="Open Sans" panose="020B0606030504020204" pitchFamily="34" charset="0"/>
                    <a:sym typeface="Open Sans" panose="020B0606030504020204" pitchFamily="34" charset="0"/>
                  </a:rPr>
                  <a:t>B 231</a:t>
                </a:r>
              </a:p>
            </p:txBody>
          </p:sp>
        </p:grpSp>
        <p:grpSp>
          <p:nvGrpSpPr>
            <p:cNvPr id="13" name="Group 55"/>
            <p:cNvGrpSpPr>
              <a:grpSpLocks/>
            </p:cNvGrpSpPr>
            <p:nvPr userDrawn="1"/>
          </p:nvGrpSpPr>
          <p:grpSpPr bwMode="auto">
            <a:xfrm>
              <a:off x="-967887" y="3262694"/>
              <a:ext cx="464559" cy="585855"/>
              <a:chOff x="12661026" y="2333768"/>
              <a:chExt cx="464559" cy="585855"/>
            </a:xfrm>
          </p:grpSpPr>
          <p:sp>
            <p:nvSpPr>
              <p:cNvPr id="17" name="Rectangle 25"/>
              <p:cNvSpPr>
                <a:spLocks noChangeArrowheads="1"/>
              </p:cNvSpPr>
              <p:nvPr userDrawn="1">
                <p:custDataLst>
                  <p:tags r:id="rId11"/>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GB" sz="1000" dirty="0">
                  <a:solidFill>
                    <a:schemeClr val="tx2"/>
                  </a:solidFill>
                  <a:latin typeface="Open Sans" panose="020B0606030504020204" pitchFamily="34" charset="0"/>
                  <a:sym typeface="Open Sans" panose="020B0606030504020204" pitchFamily="34" charset="0"/>
                </a:endParaRPr>
              </a:p>
            </p:txBody>
          </p:sp>
          <p:sp>
            <p:nvSpPr>
              <p:cNvPr id="18" name="Rectangle 19"/>
              <p:cNvSpPr>
                <a:spLocks noChangeArrowheads="1"/>
              </p:cNvSpPr>
              <p:nvPr userDrawn="1">
                <p:custDataLst>
                  <p:tags r:id="rId12"/>
                </p:custDataLst>
              </p:nvPr>
            </p:nvSpPr>
            <p:spPr bwMode="auto">
              <a:xfrm>
                <a:off x="12719526" y="2395687"/>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tx2"/>
                    </a:solidFill>
                    <a:latin typeface="Open Sans" panose="020B0606030504020204" pitchFamily="34" charset="0"/>
                    <a:sym typeface="Open Sans" panose="020B0606030504020204" pitchFamily="34" charset="0"/>
                  </a:rPr>
                  <a:t>R 201</a:t>
                </a:r>
              </a:p>
              <a:p>
                <a:pPr defTabSz="914724">
                  <a:defRPr/>
                </a:pPr>
                <a:r>
                  <a:rPr lang="en-GB" sz="1000" dirty="0">
                    <a:solidFill>
                      <a:schemeClr val="tx2"/>
                    </a:solidFill>
                    <a:latin typeface="Open Sans" panose="020B0606030504020204" pitchFamily="34" charset="0"/>
                    <a:sym typeface="Open Sans" panose="020B0606030504020204" pitchFamily="34" charset="0"/>
                  </a:rPr>
                  <a:t>G 221</a:t>
                </a:r>
              </a:p>
              <a:p>
                <a:pPr defTabSz="914724">
                  <a:defRPr/>
                </a:pPr>
                <a:r>
                  <a:rPr lang="en-GB" sz="1000" dirty="0">
                    <a:solidFill>
                      <a:schemeClr val="tx2"/>
                    </a:solidFill>
                    <a:latin typeface="Open Sans" panose="020B0606030504020204" pitchFamily="34" charset="0"/>
                    <a:sym typeface="Open Sans" panose="020B0606030504020204" pitchFamily="34" charset="0"/>
                  </a:rPr>
                  <a:t>B 3</a:t>
                </a:r>
              </a:p>
            </p:txBody>
          </p:sp>
        </p:grpSp>
        <p:grpSp>
          <p:nvGrpSpPr>
            <p:cNvPr id="14" name="Group 51"/>
            <p:cNvGrpSpPr>
              <a:grpSpLocks/>
            </p:cNvGrpSpPr>
            <p:nvPr userDrawn="1"/>
          </p:nvGrpSpPr>
          <p:grpSpPr bwMode="auto">
            <a:xfrm>
              <a:off x="-967887" y="798606"/>
              <a:ext cx="464559" cy="584268"/>
              <a:chOff x="12661026" y="-640070"/>
              <a:chExt cx="464559" cy="584268"/>
            </a:xfrm>
          </p:grpSpPr>
          <p:sp>
            <p:nvSpPr>
              <p:cNvPr id="15" name="Rectangle 25"/>
              <p:cNvSpPr>
                <a:spLocks noChangeArrowheads="1"/>
              </p:cNvSpPr>
              <p:nvPr userDrawn="1">
                <p:custDataLst>
                  <p:tags r:id="rId9"/>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GB" sz="1000" dirty="0">
                  <a:solidFill>
                    <a:schemeClr val="tx2"/>
                  </a:solidFill>
                  <a:latin typeface="Open Sans" panose="020B0606030504020204" pitchFamily="34" charset="0"/>
                  <a:sym typeface="Open Sans" panose="020B0606030504020204" pitchFamily="34" charset="0"/>
                </a:endParaRPr>
              </a:p>
            </p:txBody>
          </p:sp>
          <p:sp>
            <p:nvSpPr>
              <p:cNvPr id="16" name="Rectangle 15"/>
              <p:cNvSpPr>
                <a:spLocks noChangeArrowheads="1"/>
              </p:cNvSpPr>
              <p:nvPr userDrawn="1">
                <p:custDataLst>
                  <p:tags r:id="rId10"/>
                </p:custDataLst>
              </p:nvPr>
            </p:nvSpPr>
            <p:spPr bwMode="auto">
              <a:xfrm>
                <a:off x="12719526" y="-578151"/>
                <a:ext cx="281458" cy="46171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chemeClr val="bg2"/>
                    </a:solidFill>
                    <a:latin typeface="Open Sans" panose="020B0606030504020204" pitchFamily="34" charset="0"/>
                    <a:sym typeface="Open Sans" panose="020B0606030504020204" pitchFamily="34" charset="0"/>
                  </a:rPr>
                  <a:t>R 146</a:t>
                </a:r>
              </a:p>
              <a:p>
                <a:pPr defTabSz="914724">
                  <a:defRPr/>
                </a:pPr>
                <a:r>
                  <a:rPr lang="en-GB" sz="1000" dirty="0">
                    <a:solidFill>
                      <a:schemeClr val="bg2"/>
                    </a:solidFill>
                    <a:latin typeface="Open Sans" panose="020B0606030504020204" pitchFamily="34" charset="0"/>
                    <a:sym typeface="Open Sans" panose="020B0606030504020204" pitchFamily="34" charset="0"/>
                  </a:rPr>
                  <a:t>G 212</a:t>
                </a:r>
              </a:p>
              <a:p>
                <a:pPr defTabSz="914724">
                  <a:defRPr/>
                </a:pPr>
                <a:r>
                  <a:rPr lang="en-GB" sz="1000" dirty="0">
                    <a:solidFill>
                      <a:schemeClr val="bg2"/>
                    </a:solidFill>
                    <a:latin typeface="Open Sans" panose="020B0606030504020204" pitchFamily="34" charset="0"/>
                    <a:sym typeface="Open Sans" panose="020B0606030504020204" pitchFamily="34" charset="0"/>
                  </a:rPr>
                  <a:t>B 0</a:t>
                </a:r>
              </a:p>
            </p:txBody>
          </p:sp>
        </p:grpSp>
      </p:grpSp>
      <p:cxnSp>
        <p:nvCxnSpPr>
          <p:cNvPr id="28" name="Straight Arrow Connector 27"/>
          <p:cNvCxnSpPr/>
          <p:nvPr userDrawn="1">
            <p:custDataLst>
              <p:tags r:id="rId5"/>
            </p:custDataLst>
          </p:nvPr>
        </p:nvCxnSpPr>
        <p:spPr>
          <a:xfrm rot="10800000">
            <a:off x="12192001" y="1123950"/>
            <a:ext cx="480484" cy="0"/>
          </a:xfrm>
          <a:prstGeom prst="straightConnector1">
            <a:avLst/>
          </a:prstGeom>
          <a:ln w="1270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userDrawn="1">
            <p:custDataLst>
              <p:tags r:id="rId6"/>
            </p:custDataLst>
          </p:nvPr>
        </p:nvCxnSpPr>
        <p:spPr>
          <a:xfrm rot="10800000">
            <a:off x="12192001" y="6310313"/>
            <a:ext cx="480484" cy="0"/>
          </a:xfrm>
          <a:prstGeom prst="straightConnector1">
            <a:avLst/>
          </a:prstGeom>
          <a:ln w="1270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userDrawn="1"/>
        </p:nvCxnSpPr>
        <p:spPr>
          <a:xfrm rot="5400000">
            <a:off x="11482652" y="7038182"/>
            <a:ext cx="360363" cy="0"/>
          </a:xfrm>
          <a:prstGeom prst="straightConnector1">
            <a:avLst/>
          </a:prstGeom>
          <a:ln w="12700">
            <a:solidFill>
              <a:schemeClr val="tx2"/>
            </a:solidFill>
            <a:prstDash val="dash"/>
            <a:headEnd type="arrow"/>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userDrawn="1">
            <p:custDataLst>
              <p:tags r:id="rId7"/>
            </p:custDataLst>
          </p:nvPr>
        </p:nvCxnSpPr>
        <p:spPr>
          <a:xfrm rot="5400000">
            <a:off x="348985" y="7038182"/>
            <a:ext cx="360363" cy="0"/>
          </a:xfrm>
          <a:prstGeom prst="straightConnector1">
            <a:avLst/>
          </a:prstGeom>
          <a:ln w="12700">
            <a:solidFill>
              <a:schemeClr val="tx2"/>
            </a:solidFill>
            <a:prstDash val="dash"/>
            <a:headEnd type="arrow"/>
            <a:tailEnd type="none"/>
          </a:ln>
        </p:spPr>
        <p:style>
          <a:lnRef idx="1">
            <a:schemeClr val="accent1"/>
          </a:lnRef>
          <a:fillRef idx="0">
            <a:schemeClr val="accent1"/>
          </a:fillRef>
          <a:effectRef idx="0">
            <a:schemeClr val="accent1"/>
          </a:effectRef>
          <a:fontRef idx="minor">
            <a:schemeClr val="tx1"/>
          </a:fontRef>
        </p:style>
      </p:cxnSp>
      <p:sp>
        <p:nvSpPr>
          <p:cNvPr id="110" name="Title Placeholder 1"/>
          <p:cNvSpPr>
            <a:spLocks noGrp="1"/>
          </p:cNvSpPr>
          <p:nvPr>
            <p:ph type="ctrTitle"/>
          </p:nvPr>
        </p:nvSpPr>
        <p:spPr>
          <a:xfrm>
            <a:off x="1523760" y="2886328"/>
            <a:ext cx="4268797" cy="359073"/>
          </a:xfrm>
          <a:prstGeom prst="rect">
            <a:avLst/>
          </a:prstGeom>
        </p:spPr>
        <p:txBody>
          <a:bodyPr wrap="none">
            <a:spAutoFit/>
          </a:bodyPr>
          <a:lstStyle>
            <a:lvl1pPr marL="0" marR="0" indent="0" defTabSz="957998" rtl="0" eaLnBrk="0" fontAlgn="base" latinLnBrk="0" hangingPunct="0">
              <a:lnSpc>
                <a:spcPts val="2800"/>
              </a:lnSpc>
              <a:spcBef>
                <a:spcPct val="0"/>
              </a:spcBef>
              <a:spcAft>
                <a:spcPct val="0"/>
              </a:spcAft>
              <a:tabLst/>
              <a:defRPr sz="2800" b="0" baseline="0">
                <a:solidFill>
                  <a:schemeClr val="tx2"/>
                </a:solidFill>
                <a:latin typeface="Times New Roman" pitchFamily="18" charset="0"/>
              </a:defRPr>
            </a:lvl1pPr>
          </a:lstStyle>
          <a:p>
            <a:pPr lvl="0"/>
            <a:r>
              <a:rPr lang="en-US" noProof="0"/>
              <a:t>Click to edit Master title style</a:t>
            </a:r>
            <a:endParaRPr lang="en-US" noProof="0" dirty="0"/>
          </a:p>
        </p:txBody>
      </p:sp>
      <p:sp>
        <p:nvSpPr>
          <p:cNvPr id="26" name="Text Placeholder 2"/>
          <p:cNvSpPr>
            <a:spLocks noGrp="1"/>
          </p:cNvSpPr>
          <p:nvPr>
            <p:ph type="subTitle" idx="1"/>
          </p:nvPr>
        </p:nvSpPr>
        <p:spPr>
          <a:xfrm>
            <a:off x="529167" y="6081917"/>
            <a:ext cx="2960747" cy="228396"/>
          </a:xfrm>
          <a:prstGeom prst="rect">
            <a:avLst/>
          </a:prstGeom>
        </p:spPr>
        <p:txBody>
          <a:bodyPr wrap="none" lIns="0" tIns="0" rIns="0" bIns="0" anchor="b" anchorCtr="0">
            <a:spAutoFit/>
          </a:bodyPr>
          <a:lstStyle>
            <a:lvl1pPr marL="0" indent="0" eaLnBrk="1" hangingPunct="1">
              <a:lnSpc>
                <a:spcPct val="106000"/>
              </a:lnSpc>
              <a:spcBef>
                <a:spcPct val="15000"/>
              </a:spcBef>
              <a:buFont typeface="Wingdings 2" pitchFamily="18" charset="2"/>
              <a:buNone/>
              <a:defRPr b="1" smtClean="0">
                <a:latin typeface="Open Sans" panose="020B0606030504020204" pitchFamily="34" charset="0"/>
                <a:sym typeface="Open Sans" panose="020B0606030504020204" pitchFamily="34" charset="0"/>
              </a:defRPr>
            </a:lvl1pPr>
          </a:lstStyle>
          <a:p>
            <a:r>
              <a:rPr lang="en-US"/>
              <a:t>Click to edit Master subtitle style</a:t>
            </a:r>
            <a:endParaRPr lang="en-GB" dirty="0"/>
          </a:p>
        </p:txBody>
      </p:sp>
      <p:sp>
        <p:nvSpPr>
          <p:cNvPr id="29" name="Text Placeholder 28"/>
          <p:cNvSpPr>
            <a:spLocks noGrp="1"/>
          </p:cNvSpPr>
          <p:nvPr>
            <p:ph type="body" sz="quarter" idx="10"/>
          </p:nvPr>
        </p:nvSpPr>
        <p:spPr>
          <a:xfrm>
            <a:off x="1523761" y="3268721"/>
            <a:ext cx="4389022" cy="359073"/>
          </a:xfrm>
          <a:prstGeom prst="rect">
            <a:avLst/>
          </a:prstGeom>
        </p:spPr>
        <p:txBody>
          <a:bodyPr wrap="none" lIns="0" tIns="0" rIns="0" bIns="0">
            <a:spAutoFit/>
          </a:bodyPr>
          <a:lstStyle>
            <a:lvl1pPr marL="0" indent="0">
              <a:lnSpc>
                <a:spcPts val="2800"/>
              </a:lnSpc>
              <a:spcBef>
                <a:spcPts val="0"/>
              </a:spcBef>
              <a:defRPr sz="2800">
                <a:solidFill>
                  <a:schemeClr val="accent2"/>
                </a:solidFill>
                <a:latin typeface="Times New Roman" pitchFamily="18" charset="0"/>
                <a:cs typeface="Times New Roman" pitchFamily="18" charset="0"/>
              </a:defRPr>
            </a:lvl1pPr>
          </a:lstStyle>
          <a:p>
            <a:pPr lvl="0"/>
            <a:r>
              <a:rPr lang="en-US" noProof="0"/>
              <a:t>Click to edit Master text styles</a:t>
            </a:r>
          </a:p>
        </p:txBody>
      </p:sp>
    </p:spTree>
    <p:extLst>
      <p:ext uri="{BB962C8B-B14F-4D97-AF65-F5344CB8AC3E}">
        <p14:creationId xmlns:p14="http://schemas.microsoft.com/office/powerpoint/2010/main" val="2638621918"/>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1578558569"/>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32773" name="think-cell Slide" r:id="rId4" imgW="0" imgH="0" progId="TCLayout.ActiveDocument.1">
                  <p:embed/>
                </p:oleObj>
              </mc:Choice>
              <mc:Fallback>
                <p:oleObj name="think-cell Slide" r:id="rId4" imgW="0" imgH="0" progId="TCLayout.ActiveDocument.1">
                  <p:embed/>
                  <p:pic>
                    <p:nvPicPr>
                      <p:cNvPr id="4"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p:cNvSpPr>
            <a:spLocks noChangeArrowheads="1"/>
          </p:cNvSpPr>
          <p:nvPr/>
        </p:nvSpPr>
        <p:spPr bwMode="auto">
          <a:xfrm>
            <a:off x="8530167" y="6554789"/>
            <a:ext cx="3083984" cy="142875"/>
          </a:xfrm>
          <a:prstGeom prst="rect">
            <a:avLst/>
          </a:prstGeom>
          <a:noFill/>
          <a:ln w="25400" algn="ctr">
            <a:noFill/>
            <a:miter lim="800000"/>
            <a:headEnd/>
            <a:tailEnd/>
          </a:ln>
        </p:spPr>
        <p:txBody>
          <a:bodyPr lIns="0" tIns="0" rIns="0" bIns="0"/>
          <a:lstStyle/>
          <a:p>
            <a:pPr algn="r" defTabSz="957998">
              <a:lnSpc>
                <a:spcPts val="1128"/>
              </a:lnSpc>
              <a:defRPr/>
            </a:pPr>
            <a:r>
              <a:rPr lang="en-US" sz="800">
                <a:solidFill>
                  <a:schemeClr val="tx2"/>
                </a:solidFill>
                <a:latin typeface="Open Sans" panose="020B0606030504020204" pitchFamily="34" charset="0"/>
                <a:sym typeface="Open Sans" panose="020B0606030504020204" pitchFamily="34" charset="0"/>
              </a:rPr>
              <a:t>© 201</a:t>
            </a:r>
            <a:r>
              <a:rPr lang="sl-SI" sz="800">
                <a:solidFill>
                  <a:schemeClr val="tx2"/>
                </a:solidFill>
                <a:latin typeface="Open Sans" panose="020B0606030504020204" pitchFamily="34" charset="0"/>
                <a:sym typeface="Open Sans" panose="020B0606030504020204" pitchFamily="34" charset="0"/>
              </a:rPr>
              <a:t>4</a:t>
            </a:r>
            <a:r>
              <a:rPr lang="en-US" sz="800">
                <a:solidFill>
                  <a:schemeClr val="tx2"/>
                </a:solidFill>
                <a:latin typeface="Open Sans" panose="020B0606030504020204" pitchFamily="34" charset="0"/>
                <a:sym typeface="Open Sans" panose="020B0606030504020204" pitchFamily="34" charset="0"/>
              </a:rPr>
              <a:t> Deloitte</a:t>
            </a:r>
            <a:endParaRPr lang="en-US" sz="800" dirty="0">
              <a:solidFill>
                <a:schemeClr val="tx2"/>
              </a:solidFill>
              <a:latin typeface="Open Sans" panose="020B0606030504020204" pitchFamily="34" charset="0"/>
              <a:sym typeface="Open Sans" panose="020B0606030504020204" pitchFamily="34" charset="0"/>
            </a:endParaRPr>
          </a:p>
        </p:txBody>
      </p:sp>
      <p:sp>
        <p:nvSpPr>
          <p:cNvPr id="6" name="Title Placeholder 1"/>
          <p:cNvSpPr>
            <a:spLocks noGrp="1"/>
          </p:cNvSpPr>
          <p:nvPr>
            <p:ph type="title"/>
          </p:nvPr>
        </p:nvSpPr>
        <p:spPr bwMode="auto">
          <a:xfrm>
            <a:off x="529167" y="300039"/>
            <a:ext cx="11133667" cy="595311"/>
          </a:xfrm>
          <a:prstGeom prst="rect">
            <a:avLst/>
          </a:prstGeom>
          <a:noFill/>
          <a:ln w="9525">
            <a:noFill/>
            <a:miter lim="800000"/>
            <a:headEnd/>
            <a:tailEnd/>
          </a:ln>
        </p:spPr>
        <p:txBody>
          <a:bodyPr/>
          <a:lstStyle/>
          <a:p>
            <a:pPr lvl="0"/>
            <a:r>
              <a:rPr lang="en-US" noProof="0"/>
              <a:t>Click to edit Master title style</a:t>
            </a:r>
            <a:endParaRPr lang="en-US" noProof="0" dirty="0"/>
          </a:p>
        </p:txBody>
      </p:sp>
      <p:sp>
        <p:nvSpPr>
          <p:cNvPr id="11" name="Text Placeholder 7"/>
          <p:cNvSpPr>
            <a:spLocks noGrp="1"/>
          </p:cNvSpPr>
          <p:nvPr>
            <p:ph type="body" sz="quarter" idx="12"/>
          </p:nvPr>
        </p:nvSpPr>
        <p:spPr>
          <a:xfrm>
            <a:off x="529166" y="1123950"/>
            <a:ext cx="11133668" cy="5186363"/>
          </a:xfrm>
          <a:prstGeom prst="rect">
            <a:avLst/>
          </a:prstGeom>
        </p:spPr>
        <p:txBody>
          <a:bodyPr wrap="square" lIns="0" tIns="0" rIns="0" bIns="0"/>
          <a:lstStyle>
            <a:lvl1pPr>
              <a:lnSpc>
                <a:spcPct val="106000"/>
              </a:lnSpc>
              <a:spcBef>
                <a:spcPts val="1344"/>
              </a:spcBef>
              <a:spcAft>
                <a:spcPts val="0"/>
              </a:spcAft>
              <a:defRPr>
                <a:latin typeface="Open Sans" panose="020B0606030504020204" pitchFamily="34" charset="0"/>
                <a:sym typeface="Open Sans" panose="020B0606030504020204" pitchFamily="34" charset="0"/>
              </a:defRPr>
            </a:lvl1pPr>
            <a:lvl2pPr>
              <a:defRPr>
                <a:latin typeface="Open Sans" panose="020B0606030504020204" pitchFamily="34" charset="0"/>
                <a:sym typeface="Open Sans" panose="020B0606030504020204" pitchFamily="34" charset="0"/>
              </a:defRPr>
            </a:lvl2pPr>
            <a:lvl3pPr>
              <a:lnSpc>
                <a:spcPct val="106000"/>
              </a:lnSpc>
              <a:spcBef>
                <a:spcPts val="576"/>
              </a:spcBef>
              <a:spcAft>
                <a:spcPts val="0"/>
              </a:spcAft>
              <a:defRPr>
                <a:latin typeface="Open Sans" panose="020B0606030504020204" pitchFamily="34" charset="0"/>
                <a:sym typeface="Open Sans" panose="020B0606030504020204" pitchFamily="34" charset="0"/>
              </a:defRPr>
            </a:lvl3pPr>
            <a:lvl4pPr>
              <a:lnSpc>
                <a:spcPct val="106000"/>
              </a:lnSpc>
              <a:spcBef>
                <a:spcPts val="576"/>
              </a:spcBef>
              <a:spcAft>
                <a:spcPts val="0"/>
              </a:spcAft>
              <a:defRPr>
                <a:latin typeface="Open Sans" panose="020B0606030504020204" pitchFamily="34" charset="0"/>
                <a:sym typeface="Open Sans" panose="020B0606030504020204" pitchFamily="34" charset="0"/>
              </a:defRPr>
            </a:lvl4pPr>
            <a:lvl5pPr>
              <a:lnSpc>
                <a:spcPct val="106000"/>
              </a:lnSpc>
              <a:spcBef>
                <a:spcPts val="576"/>
              </a:spcBef>
              <a:spcAft>
                <a:spcPts val="0"/>
              </a:spcAft>
              <a:defRPr>
                <a:latin typeface="Open Sans" panose="020B0606030504020204" pitchFamily="34" charset="0"/>
                <a:sym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Slide Number Placeholder 3"/>
          <p:cNvSpPr>
            <a:spLocks noGrp="1"/>
          </p:cNvSpPr>
          <p:nvPr>
            <p:ph type="sldNum" sz="quarter" idx="13"/>
          </p:nvPr>
        </p:nvSpPr>
        <p:spPr/>
        <p:txBody>
          <a:bodyPr/>
          <a:lstStyle>
            <a:lvl1pPr>
              <a:defRPr/>
            </a:lvl1pPr>
          </a:lstStyle>
          <a:p>
            <a:pPr>
              <a:defRPr/>
            </a:pPr>
            <a:fld id="{418FA400-DE4F-4E27-A107-6EFEA2899D62}" type="slidenum">
              <a:rPr lang="en-US"/>
              <a:pPr>
                <a:defRPr/>
              </a:pPr>
              <a:t>‹#›</a:t>
            </a:fld>
            <a:endParaRPr lang="en-US"/>
          </a:p>
        </p:txBody>
      </p:sp>
      <p:sp>
        <p:nvSpPr>
          <p:cNvPr id="8" name="Footer Placeholder 4"/>
          <p:cNvSpPr>
            <a:spLocks noGrp="1"/>
          </p:cNvSpPr>
          <p:nvPr>
            <p:ph type="ftr" sz="quarter" idx="14"/>
          </p:nvPr>
        </p:nvSpPr>
        <p:spPr/>
        <p:txBody>
          <a:bodyPr/>
          <a:lstStyle>
            <a:lvl1pPr>
              <a:defRPr/>
            </a:lvl1pPr>
          </a:lstStyle>
          <a:p>
            <a:pPr>
              <a:defRPr/>
            </a:pPr>
            <a:endParaRPr lang="en-US"/>
          </a:p>
        </p:txBody>
      </p:sp>
    </p:spTree>
    <p:extLst>
      <p:ext uri="{BB962C8B-B14F-4D97-AF65-F5344CB8AC3E}">
        <p14:creationId xmlns:p14="http://schemas.microsoft.com/office/powerpoint/2010/main" val="29271012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extLst>
              <p:ext uri="{D42A27DB-BD31-4B8C-83A1-F6EECF244321}">
                <p14:modId xmlns:p14="http://schemas.microsoft.com/office/powerpoint/2010/main" val="3684237640"/>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33797" name="think-cell Slide" r:id="rId4" imgW="0" imgH="0" progId="TCLayout.ActiveDocument.1">
                  <p:embed/>
                </p:oleObj>
              </mc:Choice>
              <mc:Fallback>
                <p:oleObj name="think-cell Slide" r:id="rId4" imgW="0" imgH="0" progId="TCLayout.ActiveDocument.1">
                  <p:embed/>
                  <p:pic>
                    <p:nvPicPr>
                      <p:cNvPr id="5"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p:nvSpPr>
        <p:spPr bwMode="auto">
          <a:xfrm>
            <a:off x="8530167" y="6554789"/>
            <a:ext cx="3083984" cy="142875"/>
          </a:xfrm>
          <a:prstGeom prst="rect">
            <a:avLst/>
          </a:prstGeom>
          <a:noFill/>
          <a:ln w="25400" algn="ctr">
            <a:noFill/>
            <a:miter lim="800000"/>
            <a:headEnd/>
            <a:tailEnd/>
          </a:ln>
        </p:spPr>
        <p:txBody>
          <a:bodyPr lIns="0" tIns="0" rIns="0" bIns="0"/>
          <a:lstStyle/>
          <a:p>
            <a:pPr algn="r" defTabSz="957998">
              <a:lnSpc>
                <a:spcPts val="1128"/>
              </a:lnSpc>
              <a:defRPr/>
            </a:pPr>
            <a:r>
              <a:rPr lang="en-US" sz="800">
                <a:solidFill>
                  <a:schemeClr val="tx2"/>
                </a:solidFill>
                <a:latin typeface="Open Sans" panose="020B0606030504020204" pitchFamily="34" charset="0"/>
                <a:sym typeface="Open Sans" panose="020B0606030504020204" pitchFamily="34" charset="0"/>
              </a:rPr>
              <a:t>© 201</a:t>
            </a:r>
            <a:r>
              <a:rPr lang="sl-SI" sz="800">
                <a:solidFill>
                  <a:schemeClr val="tx2"/>
                </a:solidFill>
                <a:latin typeface="Open Sans" panose="020B0606030504020204" pitchFamily="34" charset="0"/>
                <a:sym typeface="Open Sans" panose="020B0606030504020204" pitchFamily="34" charset="0"/>
              </a:rPr>
              <a:t>4</a:t>
            </a:r>
            <a:r>
              <a:rPr lang="en-US" sz="800">
                <a:solidFill>
                  <a:schemeClr val="tx2"/>
                </a:solidFill>
                <a:latin typeface="Open Sans" panose="020B0606030504020204" pitchFamily="34" charset="0"/>
                <a:sym typeface="Open Sans" panose="020B0606030504020204" pitchFamily="34" charset="0"/>
              </a:rPr>
              <a:t> Deloitte</a:t>
            </a:r>
            <a:endParaRPr lang="en-US" sz="800" dirty="0">
              <a:solidFill>
                <a:schemeClr val="tx2"/>
              </a:solidFill>
              <a:latin typeface="Open Sans" panose="020B0606030504020204" pitchFamily="34" charset="0"/>
              <a:sym typeface="Open Sans" panose="020B0606030504020204" pitchFamily="34" charset="0"/>
            </a:endParaRPr>
          </a:p>
        </p:txBody>
      </p:sp>
      <p:sp>
        <p:nvSpPr>
          <p:cNvPr id="8" name="Title Placeholder 1"/>
          <p:cNvSpPr>
            <a:spLocks noGrp="1"/>
          </p:cNvSpPr>
          <p:nvPr>
            <p:ph type="title"/>
          </p:nvPr>
        </p:nvSpPr>
        <p:spPr bwMode="auto">
          <a:xfrm>
            <a:off x="529167" y="300039"/>
            <a:ext cx="11133667" cy="595311"/>
          </a:xfrm>
          <a:prstGeom prst="rect">
            <a:avLst/>
          </a:prstGeom>
          <a:noFill/>
          <a:ln w="9525">
            <a:noFill/>
            <a:miter lim="800000"/>
            <a:headEnd/>
            <a:tailEnd/>
          </a:ln>
        </p:spPr>
        <p:txBody>
          <a:bodyPr/>
          <a:lstStyle/>
          <a:p>
            <a:pPr lvl="0"/>
            <a:r>
              <a:rPr lang="en-US" noProof="0"/>
              <a:t>Click to edit Master title style</a:t>
            </a:r>
          </a:p>
        </p:txBody>
      </p:sp>
      <p:sp>
        <p:nvSpPr>
          <p:cNvPr id="10" name="Text Placeholder 9"/>
          <p:cNvSpPr>
            <a:spLocks noGrp="1"/>
          </p:cNvSpPr>
          <p:nvPr>
            <p:ph type="body" sz="quarter" idx="12"/>
          </p:nvPr>
        </p:nvSpPr>
        <p:spPr>
          <a:xfrm>
            <a:off x="529167" y="1123950"/>
            <a:ext cx="5390989" cy="5186363"/>
          </a:xfrm>
          <a:prstGeom prst="rect">
            <a:avLst/>
          </a:prstGeom>
        </p:spPr>
        <p:txBody>
          <a:bodyPr lIns="0" tIns="0" rIns="0" bIns="0"/>
          <a:lstStyle>
            <a:lvl1pPr>
              <a:defRPr>
                <a:latin typeface="Open Sans" panose="020B0606030504020204" pitchFamily="34" charset="0"/>
                <a:sym typeface="Open Sans" panose="020B0606030504020204" pitchFamily="34" charset="0"/>
              </a:defRPr>
            </a:lvl1pPr>
            <a:lvl2pPr>
              <a:defRPr>
                <a:latin typeface="Open Sans" panose="020B0606030504020204" pitchFamily="34" charset="0"/>
                <a:sym typeface="Open Sans" panose="020B0606030504020204" pitchFamily="34" charset="0"/>
              </a:defRPr>
            </a:lvl2pPr>
            <a:lvl3pPr>
              <a:defRPr>
                <a:latin typeface="Open Sans" panose="020B0606030504020204" pitchFamily="34" charset="0"/>
                <a:sym typeface="Open Sans" panose="020B0606030504020204" pitchFamily="34" charset="0"/>
              </a:defRPr>
            </a:lvl3pPr>
            <a:lvl4pPr>
              <a:defRPr>
                <a:latin typeface="Open Sans" panose="020B0606030504020204" pitchFamily="34" charset="0"/>
                <a:sym typeface="Open Sans" panose="020B0606030504020204" pitchFamily="34" charset="0"/>
              </a:defRPr>
            </a:lvl4pPr>
            <a:lvl5pPr>
              <a:defRPr>
                <a:latin typeface="Open Sans" panose="020B0606030504020204" pitchFamily="34" charset="0"/>
                <a:sym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11"/>
          <p:cNvSpPr>
            <a:spLocks noGrp="1"/>
          </p:cNvSpPr>
          <p:nvPr>
            <p:ph type="body" sz="quarter" idx="13"/>
          </p:nvPr>
        </p:nvSpPr>
        <p:spPr>
          <a:xfrm>
            <a:off x="6272433" y="1123950"/>
            <a:ext cx="5390400" cy="5186363"/>
          </a:xfrm>
          <a:prstGeom prst="rect">
            <a:avLst/>
          </a:prstGeom>
        </p:spPr>
        <p:txBody>
          <a:bodyPr lIns="0" tIns="0" rIns="0" bIns="0"/>
          <a:lstStyle>
            <a:lvl1pPr>
              <a:defRPr>
                <a:latin typeface="Open Sans" panose="020B0606030504020204" pitchFamily="34" charset="0"/>
                <a:sym typeface="Open Sans" panose="020B0606030504020204" pitchFamily="34" charset="0"/>
              </a:defRPr>
            </a:lvl1pPr>
            <a:lvl2pPr>
              <a:defRPr>
                <a:latin typeface="Open Sans" panose="020B0606030504020204" pitchFamily="34" charset="0"/>
                <a:sym typeface="Open Sans" panose="020B0606030504020204" pitchFamily="34" charset="0"/>
              </a:defRPr>
            </a:lvl2pPr>
            <a:lvl3pPr>
              <a:defRPr>
                <a:latin typeface="Open Sans" panose="020B0606030504020204" pitchFamily="34" charset="0"/>
                <a:sym typeface="Open Sans" panose="020B0606030504020204" pitchFamily="34" charset="0"/>
              </a:defRPr>
            </a:lvl3pPr>
            <a:lvl4pPr>
              <a:defRPr>
                <a:latin typeface="Open Sans" panose="020B0606030504020204" pitchFamily="34" charset="0"/>
                <a:sym typeface="Open Sans" panose="020B0606030504020204" pitchFamily="34" charset="0"/>
              </a:defRPr>
            </a:lvl4pPr>
            <a:lvl5pPr>
              <a:defRPr>
                <a:latin typeface="Open Sans" panose="020B0606030504020204" pitchFamily="34" charset="0"/>
                <a:sym typeface="Open Sans" panose="020B0606030504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Slide Number Placeholder 9"/>
          <p:cNvSpPr>
            <a:spLocks noGrp="1"/>
          </p:cNvSpPr>
          <p:nvPr>
            <p:ph type="sldNum" sz="quarter" idx="14"/>
          </p:nvPr>
        </p:nvSpPr>
        <p:spPr/>
        <p:txBody>
          <a:bodyPr/>
          <a:lstStyle>
            <a:lvl1pPr>
              <a:defRPr/>
            </a:lvl1pPr>
          </a:lstStyle>
          <a:p>
            <a:pPr>
              <a:defRPr/>
            </a:pPr>
            <a:fld id="{05871DC2-A2AE-46D6-AD77-7CCBF0EAA666}" type="slidenum">
              <a:rPr lang="en-US"/>
              <a:pPr>
                <a:defRPr/>
              </a:pPr>
              <a:t>‹#›</a:t>
            </a:fld>
            <a:endParaRPr lang="en-US"/>
          </a:p>
        </p:txBody>
      </p:sp>
      <p:sp>
        <p:nvSpPr>
          <p:cNvPr id="9" name="Footer Placeholder 10"/>
          <p:cNvSpPr>
            <a:spLocks noGrp="1"/>
          </p:cNvSpPr>
          <p:nvPr>
            <p:ph type="ftr" sz="quarter" idx="15"/>
          </p:nvPr>
        </p:nvSpPr>
        <p:spPr/>
        <p:txBody>
          <a:bodyPr/>
          <a:lstStyle>
            <a:lvl1pPr>
              <a:defRPr/>
            </a:lvl1pPr>
          </a:lstStyle>
          <a:p>
            <a:pPr>
              <a:defRPr/>
            </a:pPr>
            <a:endParaRPr lang="en-US"/>
          </a:p>
        </p:txBody>
      </p:sp>
    </p:spTree>
    <p:extLst>
      <p:ext uri="{BB962C8B-B14F-4D97-AF65-F5344CB8AC3E}">
        <p14:creationId xmlns:p14="http://schemas.microsoft.com/office/powerpoint/2010/main" val="1026079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14752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dirty="0"/>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951846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3"/>
            </p:custDataLst>
            <p:extLst>
              <p:ext uri="{D42A27DB-BD31-4B8C-83A1-F6EECF244321}">
                <p14:modId xmlns:p14="http://schemas.microsoft.com/office/powerpoint/2010/main" val="2077196304"/>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34821" name="think-cell Slide" r:id="rId5" imgW="0" imgH="0" progId="TCLayout.ActiveDocument.1">
                  <p:embed/>
                </p:oleObj>
              </mc:Choice>
              <mc:Fallback>
                <p:oleObj name="think-cell Slide" r:id="rId5" imgW="0" imgH="0" progId="TCLayout.ActiveDocument.1">
                  <p:embed/>
                  <p:pic>
                    <p:nvPicPr>
                      <p:cNvPr id="3"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523760" y="2618107"/>
            <a:ext cx="8276677" cy="1278000"/>
          </a:xfrm>
        </p:spPr>
        <p:txBody>
          <a:bodyPr/>
          <a:lstStyle>
            <a:lvl1pPr>
              <a:lnSpc>
                <a:spcPts val="4888"/>
              </a:lnSpc>
              <a:defRPr sz="5200" b="0">
                <a:solidFill>
                  <a:schemeClr val="tx2"/>
                </a:solidFill>
                <a:latin typeface="Times New Roman" pitchFamily="18" charset="0"/>
              </a:defRPr>
            </a:lvl1pPr>
          </a:lstStyle>
          <a:p>
            <a:r>
              <a:rPr lang="en-US" noProof="0"/>
              <a:t>Click to edit Master title style</a:t>
            </a:r>
          </a:p>
        </p:txBody>
      </p:sp>
    </p:spTree>
    <p:extLst>
      <p:ext uri="{BB962C8B-B14F-4D97-AF65-F5344CB8AC3E}">
        <p14:creationId xmlns:p14="http://schemas.microsoft.com/office/powerpoint/2010/main" val="4001288497"/>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Rectangle 1" hidden="1"/>
          <p:cNvGraphicFramePr>
            <a:graphicFrameLocks/>
          </p:cNvGraphicFramePr>
          <p:nvPr>
            <p:custDataLst>
              <p:tags r:id="rId2"/>
            </p:custDataLst>
            <p:extLst>
              <p:ext uri="{D42A27DB-BD31-4B8C-83A1-F6EECF244321}">
                <p14:modId xmlns:p14="http://schemas.microsoft.com/office/powerpoint/2010/main" val="3151832784"/>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35845" name="think-cell Slide" r:id="rId5" imgW="0" imgH="0" progId="TCLayout.ActiveDocument.1">
                  <p:embed/>
                </p:oleObj>
              </mc:Choice>
              <mc:Fallback>
                <p:oleObj name="think-cell Slide" r:id="rId5" imgW="0" imgH="0" progId="TCLayout.ActiveDocument.1">
                  <p:embed/>
                  <p:pic>
                    <p:nvPicPr>
                      <p:cNvPr id="2"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p:cNvSpPr>
            <a:spLocks noChangeArrowheads="1"/>
          </p:cNvSpPr>
          <p:nvPr>
            <p:custDataLst>
              <p:tags r:id="rId3"/>
            </p:custDataLst>
          </p:nvPr>
        </p:nvSpPr>
        <p:spPr bwMode="auto">
          <a:xfrm>
            <a:off x="8530167" y="6554789"/>
            <a:ext cx="3083984"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chemeClr val="tx2"/>
                </a:solidFill>
                <a:latin typeface="Open Sans" panose="020B0606030504020204" pitchFamily="34" charset="0"/>
                <a:sym typeface="Open Sans" panose="020B0606030504020204" pitchFamily="34" charset="0"/>
              </a:rPr>
              <a:t>© 2013 Deloitte Central Europe</a:t>
            </a:r>
          </a:p>
        </p:txBody>
      </p:sp>
    </p:spTree>
    <p:extLst>
      <p:ext uri="{BB962C8B-B14F-4D97-AF65-F5344CB8AC3E}">
        <p14:creationId xmlns:p14="http://schemas.microsoft.com/office/powerpoint/2010/main" val="4861902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w/ Logo">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5866275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7893"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Text Placeholder 2"/>
          <p:cNvSpPr>
            <a:spLocks noGrp="1"/>
          </p:cNvSpPr>
          <p:nvPr>
            <p:ph type="body" sz="quarter" idx="12" hasCustomPrompt="1"/>
          </p:nvPr>
        </p:nvSpPr>
        <p:spPr>
          <a:xfrm>
            <a:off x="553846" y="2448001"/>
            <a:ext cx="11078306" cy="998537"/>
          </a:xfrm>
        </p:spPr>
        <p:txBody>
          <a:bodyPr>
            <a:noAutofit/>
          </a:bodyPr>
          <a:lstStyle>
            <a:lvl1pPr marL="0" indent="0">
              <a:buFontTx/>
              <a:buNone/>
              <a:defRPr sz="5800">
                <a:solidFill>
                  <a:schemeClr val="bg1"/>
                </a:solidFill>
                <a:latin typeface="Frutiger Next Pro Light" pitchFamily="34" charset="0"/>
                <a:cs typeface="Open Sans" panose="020B0606030504020204" pitchFamily="34" charset="0"/>
              </a:defRPr>
            </a:lvl1pPr>
            <a:lvl2pPr marL="457200" indent="0">
              <a:buFontTx/>
              <a:buNone/>
              <a:defRPr sz="5800">
                <a:solidFill>
                  <a:schemeClr val="bg1"/>
                </a:solidFill>
              </a:defRPr>
            </a:lvl2pPr>
            <a:lvl3pPr marL="914400" indent="0">
              <a:buFontTx/>
              <a:buNone/>
              <a:defRPr sz="5800">
                <a:solidFill>
                  <a:schemeClr val="bg1"/>
                </a:solidFill>
              </a:defRPr>
            </a:lvl3pPr>
            <a:lvl4pPr marL="1371600" indent="0">
              <a:buFontTx/>
              <a:buNone/>
              <a:defRPr sz="5800">
                <a:solidFill>
                  <a:schemeClr val="bg1"/>
                </a:solidFill>
              </a:defRPr>
            </a:lvl4pPr>
            <a:lvl5pPr marL="1828800" indent="0">
              <a:buFontTx/>
              <a:buNone/>
              <a:defRPr sz="5800">
                <a:solidFill>
                  <a:schemeClr val="bg1"/>
                </a:solidFill>
              </a:defRPr>
            </a:lvl5pPr>
          </a:lstStyle>
          <a:p>
            <a:pPr lvl="0"/>
            <a:r>
              <a:rPr lang="en-US" sz="5800" dirty="0">
                <a:solidFill>
                  <a:schemeClr val="bg1">
                    <a:lumMod val="95000"/>
                  </a:schemeClr>
                </a:solidFill>
                <a:latin typeface="+mn-lt"/>
                <a:cs typeface="Arial"/>
              </a:rPr>
              <a:t>Presentation Title.</a:t>
            </a:r>
            <a:endParaRPr lang="en-US" dirty="0"/>
          </a:p>
        </p:txBody>
      </p:sp>
      <p:sp>
        <p:nvSpPr>
          <p:cNvPr id="5" name="Text Placeholder 4"/>
          <p:cNvSpPr>
            <a:spLocks noGrp="1"/>
          </p:cNvSpPr>
          <p:nvPr>
            <p:ph type="body" sz="quarter" idx="13" hasCustomPrompt="1"/>
          </p:nvPr>
        </p:nvSpPr>
        <p:spPr>
          <a:xfrm>
            <a:off x="553846" y="3456000"/>
            <a:ext cx="11076923" cy="306387"/>
          </a:xfrm>
        </p:spPr>
        <p:txBody>
          <a:bodyPr>
            <a:noAutofit/>
          </a:bodyPr>
          <a:lstStyle>
            <a:lvl1pPr marL="0" marR="0" indent="0" algn="l" defTabSz="914400" rtl="0" eaLnBrk="1" fontAlgn="auto" latinLnBrk="0" hangingPunct="1">
              <a:lnSpc>
                <a:spcPct val="100000"/>
              </a:lnSpc>
              <a:spcBef>
                <a:spcPct val="20000"/>
              </a:spcBef>
              <a:spcAft>
                <a:spcPts val="0"/>
              </a:spcAft>
              <a:buClrTx/>
              <a:buSzTx/>
              <a:buFontTx/>
              <a:buNone/>
              <a:tabLst/>
              <a:defRPr sz="1800">
                <a:solidFill>
                  <a:schemeClr val="bg1">
                    <a:lumMod val="65000"/>
                  </a:schemeClr>
                </a:solidFill>
                <a:latin typeface="Frutiger Next Pro Light" pitchFamily="34" charset="0"/>
                <a:cs typeface="Open Sans" panose="020B0606030504020204" pitchFamily="34" charset="0"/>
              </a:defRPr>
            </a:lvl1pPr>
          </a:lstStyle>
          <a:p>
            <a:pPr algn="l"/>
            <a:r>
              <a:rPr lang="en-US" sz="1800" dirty="0">
                <a:solidFill>
                  <a:schemeClr val="bg1">
                    <a:lumMod val="65000"/>
                  </a:schemeClr>
                </a:solidFill>
                <a:latin typeface="+mn-lt"/>
                <a:cs typeface="Arial"/>
              </a:rPr>
              <a:t>Byline</a:t>
            </a:r>
          </a:p>
        </p:txBody>
      </p:sp>
      <p:sp>
        <p:nvSpPr>
          <p:cNvPr id="10" name="Text Placeholder 9"/>
          <p:cNvSpPr>
            <a:spLocks noGrp="1"/>
          </p:cNvSpPr>
          <p:nvPr>
            <p:ph type="body" sz="quarter" idx="14" hasCustomPrompt="1"/>
          </p:nvPr>
        </p:nvSpPr>
        <p:spPr>
          <a:xfrm>
            <a:off x="553846" y="4145931"/>
            <a:ext cx="11079306" cy="657225"/>
          </a:xfrm>
        </p:spPr>
        <p:txBody>
          <a:bodyPr>
            <a:noAutofit/>
          </a:bodyPr>
          <a:lstStyle>
            <a:lvl1pPr marL="0" indent="0" algn="l">
              <a:buFontTx/>
              <a:buNone/>
              <a:defRPr sz="1400">
                <a:solidFill>
                  <a:srgbClr val="92D400"/>
                </a:solidFill>
                <a:latin typeface="Frutiger Next Pro Light" pitchFamily="34" charset="0"/>
              </a:defRPr>
            </a:lvl1pPr>
            <a:lvl2pPr marL="457200" indent="0">
              <a:buFontTx/>
              <a:buNone/>
              <a:defRPr sz="1400">
                <a:solidFill>
                  <a:schemeClr val="accent5"/>
                </a:solidFill>
              </a:defRPr>
            </a:lvl2pPr>
            <a:lvl3pPr marL="914400" indent="0">
              <a:buFontTx/>
              <a:buNone/>
              <a:defRPr sz="1400">
                <a:solidFill>
                  <a:schemeClr val="accent5"/>
                </a:solidFill>
              </a:defRPr>
            </a:lvl3pPr>
            <a:lvl4pPr marL="1371600" indent="0">
              <a:buFontTx/>
              <a:buNone/>
              <a:defRPr sz="1400">
                <a:solidFill>
                  <a:schemeClr val="accent5"/>
                </a:solidFill>
              </a:defRPr>
            </a:lvl4pPr>
            <a:lvl5pPr marL="1828800" indent="0">
              <a:buFontTx/>
              <a:buNone/>
              <a:defRPr sz="1400">
                <a:solidFill>
                  <a:schemeClr val="accent5"/>
                </a:solidFill>
              </a:defRPr>
            </a:lvl5pPr>
          </a:lstStyle>
          <a:p>
            <a:pPr lvl="0"/>
            <a:r>
              <a:rPr lang="en-US" dirty="0"/>
              <a:t>Month, Year</a:t>
            </a:r>
          </a:p>
        </p:txBody>
      </p:sp>
      <p:grpSp>
        <p:nvGrpSpPr>
          <p:cNvPr id="28" name="Group 27"/>
          <p:cNvGrpSpPr/>
          <p:nvPr userDrawn="1"/>
        </p:nvGrpSpPr>
        <p:grpSpPr>
          <a:xfrm>
            <a:off x="10251573" y="6015963"/>
            <a:ext cx="1361578" cy="526018"/>
            <a:chOff x="1006476" y="0"/>
            <a:chExt cx="15166973" cy="7211638"/>
          </a:xfrm>
          <a:solidFill>
            <a:schemeClr val="bg1"/>
          </a:solidFill>
        </p:grpSpPr>
        <p:grpSp>
          <p:nvGrpSpPr>
            <p:cNvPr id="29" name="Group 28"/>
            <p:cNvGrpSpPr/>
            <p:nvPr/>
          </p:nvGrpSpPr>
          <p:grpSpPr>
            <a:xfrm>
              <a:off x="1050026" y="0"/>
              <a:ext cx="15123423" cy="2811241"/>
              <a:chOff x="292101" y="403484"/>
              <a:chExt cx="14551023" cy="2704840"/>
            </a:xfrm>
            <a:grpFill/>
          </p:grpSpPr>
          <p:sp>
            <p:nvSpPr>
              <p:cNvPr id="38"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9"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0"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1" name="Rectangle 40"/>
              <p:cNvSpPr/>
              <p:nvPr/>
            </p:nvSpPr>
            <p:spPr>
              <a:xfrm>
                <a:off x="4933950" y="447675"/>
                <a:ext cx="644525" cy="2628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2"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4"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5"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6" name="Oval 45"/>
              <p:cNvSpPr/>
              <p:nvPr/>
            </p:nvSpPr>
            <p:spPr>
              <a:xfrm>
                <a:off x="14128749" y="2393949"/>
                <a:ext cx="714375" cy="7143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30" name="Group 29"/>
            <p:cNvGrpSpPr/>
            <p:nvPr/>
          </p:nvGrpSpPr>
          <p:grpSpPr>
            <a:xfrm>
              <a:off x="1006476" y="3535646"/>
              <a:ext cx="11165226" cy="3675992"/>
              <a:chOff x="-1506982" y="2838278"/>
              <a:chExt cx="11165226" cy="3675992"/>
            </a:xfrm>
            <a:grpFill/>
          </p:grpSpPr>
          <p:sp>
            <p:nvSpPr>
              <p:cNvPr id="31" name="Flowchart: Delay 6"/>
              <p:cNvSpPr/>
              <p:nvPr/>
            </p:nvSpPr>
            <p:spPr>
              <a:xfrm>
                <a:off x="-1506982" y="2838278"/>
                <a:ext cx="2373223" cy="2734977"/>
              </a:xfrm>
              <a:custGeom>
                <a:avLst/>
                <a:gdLst/>
                <a:ahLst/>
                <a:cxnLst/>
                <a:rect l="l" t="t" r="r" b="b"/>
                <a:pathLst>
                  <a:path w="2373223" h="2734977">
                    <a:moveTo>
                      <a:pt x="801462" y="542228"/>
                    </a:moveTo>
                    <a:cubicBezTo>
                      <a:pt x="768131" y="541817"/>
                      <a:pt x="760104" y="543372"/>
                      <a:pt x="655025" y="554586"/>
                    </a:cubicBezTo>
                    <a:lnTo>
                      <a:pt x="655025" y="2203302"/>
                    </a:lnTo>
                    <a:cubicBezTo>
                      <a:pt x="784080" y="2203302"/>
                      <a:pt x="817500" y="2209282"/>
                      <a:pt x="944423" y="2203302"/>
                    </a:cubicBezTo>
                    <a:cubicBezTo>
                      <a:pt x="1383490" y="2170407"/>
                      <a:pt x="1679558" y="1856007"/>
                      <a:pt x="1689355" y="1378944"/>
                    </a:cubicBezTo>
                    <a:cubicBezTo>
                      <a:pt x="1699152" y="901881"/>
                      <a:pt x="1339362" y="522496"/>
                      <a:pt x="915214" y="543428"/>
                    </a:cubicBezTo>
                    <a:cubicBezTo>
                      <a:pt x="850568" y="543428"/>
                      <a:pt x="821461" y="542474"/>
                      <a:pt x="801462" y="542228"/>
                    </a:cubicBezTo>
                    <a:close/>
                    <a:moveTo>
                      <a:pt x="809819" y="1363"/>
                    </a:moveTo>
                    <a:cubicBezTo>
                      <a:pt x="1782681" y="-32854"/>
                      <a:pt x="2398497" y="581163"/>
                      <a:pt x="2372427" y="1383107"/>
                    </a:cubicBezTo>
                    <a:cubicBezTo>
                      <a:pt x="2346356" y="2185050"/>
                      <a:pt x="1895110" y="2676861"/>
                      <a:pt x="888030" y="2730632"/>
                    </a:cubicBezTo>
                    <a:cubicBezTo>
                      <a:pt x="596908" y="2740409"/>
                      <a:pt x="296010" y="2730631"/>
                      <a:pt x="0" y="2730631"/>
                    </a:cubicBezTo>
                    <a:lnTo>
                      <a:pt x="0" y="35581"/>
                    </a:lnTo>
                    <a:cubicBezTo>
                      <a:pt x="385628" y="6252"/>
                      <a:pt x="414415" y="1363"/>
                      <a:pt x="809819" y="13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2" name="Rectangle 31"/>
              <p:cNvSpPr/>
              <p:nvPr/>
            </p:nvSpPr>
            <p:spPr>
              <a:xfrm>
                <a:off x="8998170" y="2880935"/>
                <a:ext cx="660074" cy="26923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Rectangle 37"/>
              <p:cNvSpPr/>
              <p:nvPr/>
            </p:nvSpPr>
            <p:spPr>
              <a:xfrm>
                <a:off x="1129670" y="2880934"/>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Rectangle 39"/>
              <p:cNvSpPr/>
              <p:nvPr/>
            </p:nvSpPr>
            <p:spPr>
              <a:xfrm>
                <a:off x="5312408" y="2975994"/>
                <a:ext cx="1405937" cy="2648882"/>
              </a:xfrm>
              <a:custGeom>
                <a:avLst/>
                <a:gdLst/>
                <a:ahLst/>
                <a:cxnLst/>
                <a:rect l="l" t="t" r="r" b="b"/>
                <a:pathLst>
                  <a:path w="1405937" h="2648882">
                    <a:moveTo>
                      <a:pt x="910735" y="0"/>
                    </a:moveTo>
                    <a:lnTo>
                      <a:pt x="910735" y="615204"/>
                    </a:lnTo>
                    <a:lnTo>
                      <a:pt x="1342826" y="615204"/>
                    </a:lnTo>
                    <a:lnTo>
                      <a:pt x="1342826" y="1113749"/>
                    </a:lnTo>
                    <a:lnTo>
                      <a:pt x="910735" y="1113749"/>
                    </a:lnTo>
                    <a:lnTo>
                      <a:pt x="910735" y="1398929"/>
                    </a:lnTo>
                    <a:lnTo>
                      <a:pt x="909291" y="1398770"/>
                    </a:lnTo>
                    <a:lnTo>
                      <a:pt x="909291" y="1852069"/>
                    </a:lnTo>
                    <a:cubicBezTo>
                      <a:pt x="913627" y="1946443"/>
                      <a:pt x="951741" y="2035139"/>
                      <a:pt x="1043315" y="2082050"/>
                    </a:cubicBezTo>
                    <a:cubicBezTo>
                      <a:pt x="1213294" y="2123725"/>
                      <a:pt x="1275245" y="2096758"/>
                      <a:pt x="1405937" y="2067341"/>
                    </a:cubicBezTo>
                    <a:lnTo>
                      <a:pt x="1405937" y="2587949"/>
                    </a:lnTo>
                    <a:cubicBezTo>
                      <a:pt x="1247419" y="2627685"/>
                      <a:pt x="816383" y="2704190"/>
                      <a:pt x="586666" y="2584585"/>
                    </a:cubicBezTo>
                    <a:cubicBezTo>
                      <a:pt x="365715" y="2484384"/>
                      <a:pt x="274877" y="2239548"/>
                      <a:pt x="255234" y="1989810"/>
                    </a:cubicBezTo>
                    <a:lnTo>
                      <a:pt x="256050" y="1989628"/>
                    </a:lnTo>
                    <a:lnTo>
                      <a:pt x="256050" y="1326914"/>
                    </a:lnTo>
                    <a:lnTo>
                      <a:pt x="256049" y="1326914"/>
                    </a:lnTo>
                    <a:lnTo>
                      <a:pt x="256049" y="1113749"/>
                    </a:lnTo>
                    <a:lnTo>
                      <a:pt x="0" y="1113749"/>
                    </a:lnTo>
                    <a:lnTo>
                      <a:pt x="0" y="615204"/>
                    </a:lnTo>
                    <a:lnTo>
                      <a:pt x="256049" y="615204"/>
                    </a:lnTo>
                    <a:lnTo>
                      <a:pt x="256049" y="720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5" name="Rectangle 43"/>
              <p:cNvSpPr/>
              <p:nvPr/>
            </p:nvSpPr>
            <p:spPr>
              <a:xfrm>
                <a:off x="4370090" y="2880935"/>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6" name="Oval 15"/>
              <p:cNvSpPr/>
              <p:nvPr/>
            </p:nvSpPr>
            <p:spPr>
              <a:xfrm>
                <a:off x="2021351" y="3531392"/>
                <a:ext cx="2050586" cy="2982878"/>
              </a:xfrm>
              <a:custGeom>
                <a:avLst/>
                <a:gdLst/>
                <a:ahLst/>
                <a:cxnLst/>
                <a:rect l="l" t="t" r="r" b="b"/>
                <a:pathLst>
                  <a:path w="2050586" h="2982878">
                    <a:moveTo>
                      <a:pt x="1051854" y="510196"/>
                    </a:moveTo>
                    <a:cubicBezTo>
                      <a:pt x="818915" y="514146"/>
                      <a:pt x="642809" y="709495"/>
                      <a:pt x="638909" y="1067081"/>
                    </a:cubicBezTo>
                    <a:cubicBezTo>
                      <a:pt x="635009" y="1424667"/>
                      <a:pt x="823791" y="1623966"/>
                      <a:pt x="1051854" y="1623966"/>
                    </a:cubicBezTo>
                    <a:cubicBezTo>
                      <a:pt x="1237304" y="1623966"/>
                      <a:pt x="1389689" y="1483481"/>
                      <a:pt x="1441801" y="1245336"/>
                    </a:cubicBezTo>
                    <a:lnTo>
                      <a:pt x="1441801" y="871896"/>
                    </a:lnTo>
                    <a:cubicBezTo>
                      <a:pt x="1390037" y="636468"/>
                      <a:pt x="1238194" y="507037"/>
                      <a:pt x="1051854" y="510196"/>
                    </a:cubicBezTo>
                    <a:close/>
                    <a:moveTo>
                      <a:pt x="922906" y="62"/>
                    </a:moveTo>
                    <a:cubicBezTo>
                      <a:pt x="1094124" y="2254"/>
                      <a:pt x="1286677" y="67187"/>
                      <a:pt x="1441801" y="211676"/>
                    </a:cubicBezTo>
                    <a:lnTo>
                      <a:pt x="1441801" y="59283"/>
                    </a:lnTo>
                    <a:lnTo>
                      <a:pt x="2050586" y="59283"/>
                    </a:lnTo>
                    <a:lnTo>
                      <a:pt x="2050586" y="2050529"/>
                    </a:lnTo>
                    <a:lnTo>
                      <a:pt x="2049824" y="2050529"/>
                    </a:lnTo>
                    <a:cubicBezTo>
                      <a:pt x="2042228" y="2324966"/>
                      <a:pt x="1914078" y="2586024"/>
                      <a:pt x="1741025" y="2740770"/>
                    </a:cubicBezTo>
                    <a:cubicBezTo>
                      <a:pt x="1565806" y="2897454"/>
                      <a:pt x="1260483" y="2963176"/>
                      <a:pt x="989743" y="2980332"/>
                    </a:cubicBezTo>
                    <a:cubicBezTo>
                      <a:pt x="696029" y="2998261"/>
                      <a:pt x="376391" y="2918595"/>
                      <a:pt x="186431" y="2833390"/>
                    </a:cubicBezTo>
                    <a:lnTo>
                      <a:pt x="315452" y="2340665"/>
                    </a:lnTo>
                    <a:cubicBezTo>
                      <a:pt x="472820" y="2417366"/>
                      <a:pt x="608780" y="2473080"/>
                      <a:pt x="769523" y="2498896"/>
                    </a:cubicBezTo>
                    <a:cubicBezTo>
                      <a:pt x="881706" y="2502874"/>
                      <a:pt x="1108687" y="2496171"/>
                      <a:pt x="1224291" y="2424065"/>
                    </a:cubicBezTo>
                    <a:cubicBezTo>
                      <a:pt x="1349420" y="2349578"/>
                      <a:pt x="1429412" y="2229849"/>
                      <a:pt x="1441713" y="2044829"/>
                    </a:cubicBezTo>
                    <a:cubicBezTo>
                      <a:pt x="1441742" y="2044829"/>
                      <a:pt x="1441772" y="2044829"/>
                      <a:pt x="1441801" y="2044829"/>
                    </a:cubicBezTo>
                    <a:lnTo>
                      <a:pt x="1441801" y="1865142"/>
                    </a:lnTo>
                    <a:cubicBezTo>
                      <a:pt x="1215364" y="2074903"/>
                      <a:pt x="921880" y="2106991"/>
                      <a:pt x="789556" y="2109742"/>
                    </a:cubicBezTo>
                    <a:cubicBezTo>
                      <a:pt x="560506" y="2114505"/>
                      <a:pt x="-3162" y="1870860"/>
                      <a:pt x="14" y="1066808"/>
                    </a:cubicBezTo>
                    <a:cubicBezTo>
                      <a:pt x="3189" y="262756"/>
                      <a:pt x="550982" y="-4699"/>
                      <a:pt x="922906" y="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 name="Teardrop 10"/>
              <p:cNvSpPr/>
              <p:nvPr/>
            </p:nvSpPr>
            <p:spPr>
              <a:xfrm>
                <a:off x="6933888" y="3546707"/>
                <a:ext cx="1819195" cy="2078169"/>
              </a:xfrm>
              <a:custGeom>
                <a:avLst/>
                <a:gdLst/>
                <a:ahLst/>
                <a:cxnLst/>
                <a:rect l="l" t="t" r="r" b="b"/>
                <a:pathLst>
                  <a:path w="1819195" h="2078169">
                    <a:moveTo>
                      <a:pt x="1186796" y="1087595"/>
                    </a:moveTo>
                    <a:cubicBezTo>
                      <a:pt x="1113625" y="1090104"/>
                      <a:pt x="1058299" y="1092613"/>
                      <a:pt x="915050" y="1110177"/>
                    </a:cubicBezTo>
                    <a:cubicBezTo>
                      <a:pt x="712653" y="1132759"/>
                      <a:pt x="611934" y="1254340"/>
                      <a:pt x="610704" y="1401552"/>
                    </a:cubicBezTo>
                    <a:cubicBezTo>
                      <a:pt x="617261" y="1602596"/>
                      <a:pt x="782865" y="1640445"/>
                      <a:pt x="868331" y="1644000"/>
                    </a:cubicBezTo>
                    <a:cubicBezTo>
                      <a:pt x="1009257" y="1644000"/>
                      <a:pt x="1189411" y="1525823"/>
                      <a:pt x="1189411" y="1403702"/>
                    </a:cubicBezTo>
                    <a:close/>
                    <a:moveTo>
                      <a:pt x="918836" y="764"/>
                    </a:moveTo>
                    <a:cubicBezTo>
                      <a:pt x="1160938" y="11084"/>
                      <a:pt x="1410748" y="83418"/>
                      <a:pt x="1561827" y="205882"/>
                    </a:cubicBezTo>
                    <a:cubicBezTo>
                      <a:pt x="1712906" y="328347"/>
                      <a:pt x="1788347" y="549970"/>
                      <a:pt x="1782252" y="771155"/>
                    </a:cubicBezTo>
                    <a:lnTo>
                      <a:pt x="1781486" y="771131"/>
                    </a:lnTo>
                    <a:lnTo>
                      <a:pt x="1781486" y="1794503"/>
                    </a:lnTo>
                    <a:lnTo>
                      <a:pt x="1819195" y="2026546"/>
                    </a:lnTo>
                    <a:lnTo>
                      <a:pt x="1277253" y="2026546"/>
                    </a:lnTo>
                    <a:lnTo>
                      <a:pt x="1242709" y="1813981"/>
                    </a:lnTo>
                    <a:cubicBezTo>
                      <a:pt x="1117714" y="1972717"/>
                      <a:pt x="898491" y="2078169"/>
                      <a:pt x="665318" y="2078169"/>
                    </a:cubicBezTo>
                    <a:cubicBezTo>
                      <a:pt x="444604" y="2069173"/>
                      <a:pt x="16933" y="1973385"/>
                      <a:pt x="0" y="1464587"/>
                    </a:cubicBezTo>
                    <a:cubicBezTo>
                      <a:pt x="3175" y="1092025"/>
                      <a:pt x="263280" y="784330"/>
                      <a:pt x="785969" y="727180"/>
                    </a:cubicBezTo>
                    <a:cubicBezTo>
                      <a:pt x="1029946" y="697865"/>
                      <a:pt x="1110970" y="685122"/>
                      <a:pt x="1192076" y="678143"/>
                    </a:cubicBezTo>
                    <a:cubicBezTo>
                      <a:pt x="1182890" y="518370"/>
                      <a:pt x="1036964" y="440610"/>
                      <a:pt x="899685" y="412566"/>
                    </a:cubicBezTo>
                    <a:cubicBezTo>
                      <a:pt x="608510" y="393798"/>
                      <a:pt x="478098" y="442952"/>
                      <a:pt x="261013" y="553512"/>
                    </a:cubicBezTo>
                    <a:lnTo>
                      <a:pt x="164299" y="163213"/>
                    </a:lnTo>
                    <a:cubicBezTo>
                      <a:pt x="337912" y="93114"/>
                      <a:pt x="656164" y="-9890"/>
                      <a:pt x="918836" y="76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spTree>
    <p:extLst>
      <p:ext uri="{BB962C8B-B14F-4D97-AF65-F5344CB8AC3E}">
        <p14:creationId xmlns:p14="http://schemas.microsoft.com/office/powerpoint/2010/main" val="1146275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all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4605295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89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7" name="Title 1"/>
          <p:cNvSpPr>
            <a:spLocks noGrp="1"/>
          </p:cNvSpPr>
          <p:nvPr>
            <p:ph type="title" hasCustomPrompt="1"/>
          </p:nvPr>
        </p:nvSpPr>
        <p:spPr>
          <a:xfrm>
            <a:off x="553847" y="1728789"/>
            <a:ext cx="11078308" cy="2419349"/>
          </a:xfrm>
        </p:spPr>
        <p:txBody>
          <a:bodyPr anchor="b">
            <a:noAutofit/>
          </a:bodyPr>
          <a:lstStyle>
            <a:lvl1pPr marL="0" marR="0" indent="0" algn="l" defTabSz="914400" rtl="0" eaLnBrk="1" fontAlgn="auto" latinLnBrk="0" hangingPunct="1">
              <a:lnSpc>
                <a:spcPct val="100000"/>
              </a:lnSpc>
              <a:spcBef>
                <a:spcPct val="0"/>
              </a:spcBef>
              <a:spcAft>
                <a:spcPts val="0"/>
              </a:spcAft>
              <a:buClrTx/>
              <a:buSzTx/>
              <a:buFontTx/>
              <a:buNone/>
              <a:tabLst/>
              <a:defRPr sz="4400" b="0">
                <a:solidFill>
                  <a:schemeClr val="bg1"/>
                </a:solidFill>
                <a:latin typeface="Frutiger Next Pro Bold" pitchFamily="34" charset="0"/>
              </a:defRPr>
            </a:lvl1pPr>
          </a:lstStyle>
          <a:p>
            <a:pPr lvl="0"/>
            <a:r>
              <a:rPr lang="en-US" dirty="0"/>
              <a:t>Big callout…</a:t>
            </a:r>
          </a:p>
        </p:txBody>
      </p:sp>
      <p:sp>
        <p:nvSpPr>
          <p:cNvPr id="8" name="Text Placeholder 9"/>
          <p:cNvSpPr>
            <a:spLocks noGrp="1"/>
          </p:cNvSpPr>
          <p:nvPr>
            <p:ph type="body" sz="quarter" idx="11" hasCustomPrompt="1"/>
          </p:nvPr>
        </p:nvSpPr>
        <p:spPr>
          <a:xfrm>
            <a:off x="553847" y="4148138"/>
            <a:ext cx="11078308" cy="1412996"/>
          </a:xfrm>
        </p:spPr>
        <p:txBody>
          <a:bodyPr>
            <a:noAutofit/>
          </a:bodyPr>
          <a:lstStyle>
            <a:lvl1pPr marL="0" indent="0">
              <a:buNone/>
              <a:defRPr sz="4000" b="0">
                <a:solidFill>
                  <a:schemeClr val="accent3"/>
                </a:solidFill>
                <a:latin typeface="+mn-lt"/>
              </a:defRPr>
            </a:lvl1pPr>
          </a:lstStyle>
          <a:p>
            <a:pPr lvl="0"/>
            <a:r>
              <a:rPr lang="en-US" dirty="0"/>
              <a:t>…with byline</a:t>
            </a:r>
          </a:p>
        </p:txBody>
      </p:sp>
    </p:spTree>
    <p:extLst>
      <p:ext uri="{BB962C8B-B14F-4D97-AF65-F5344CB8AC3E}">
        <p14:creationId xmlns:p14="http://schemas.microsoft.com/office/powerpoint/2010/main" val="1083781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28708065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994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8" name="Text Placeholder 9"/>
          <p:cNvSpPr>
            <a:spLocks noGrp="1"/>
          </p:cNvSpPr>
          <p:nvPr>
            <p:ph type="body" sz="quarter" idx="11" hasCustomPrompt="1"/>
          </p:nvPr>
        </p:nvSpPr>
        <p:spPr>
          <a:xfrm>
            <a:off x="553847" y="2626090"/>
            <a:ext cx="11078308" cy="1522048"/>
          </a:xfrm>
        </p:spPr>
        <p:txBody>
          <a:bodyPr>
            <a:normAutofit/>
          </a:bodyPr>
          <a:lstStyle>
            <a:lvl1pPr marL="0" indent="0" algn="ctr">
              <a:buNone/>
              <a:defRPr sz="3600" b="0">
                <a:solidFill>
                  <a:schemeClr val="bg1"/>
                </a:solidFill>
                <a:latin typeface="Frutiger Next Pro Bold" pitchFamily="34" charset="0"/>
              </a:defRPr>
            </a:lvl1pPr>
          </a:lstStyle>
          <a:p>
            <a:pPr lvl="0"/>
            <a:r>
              <a:rPr lang="en-US" dirty="0"/>
              <a:t>“Great quote from someone…”</a:t>
            </a:r>
          </a:p>
        </p:txBody>
      </p:sp>
      <p:sp>
        <p:nvSpPr>
          <p:cNvPr id="4" name="Text Placeholder 3"/>
          <p:cNvSpPr>
            <a:spLocks noGrp="1"/>
          </p:cNvSpPr>
          <p:nvPr>
            <p:ph type="body" sz="quarter" idx="12" hasCustomPrompt="1"/>
          </p:nvPr>
        </p:nvSpPr>
        <p:spPr>
          <a:xfrm>
            <a:off x="553846" y="4582555"/>
            <a:ext cx="11078306" cy="636232"/>
          </a:xfrm>
        </p:spPr>
        <p:txBody>
          <a:bodyPr>
            <a:noAutofit/>
          </a:bodyPr>
          <a:lstStyle>
            <a:lvl1pPr marL="0" indent="0" algn="r">
              <a:lnSpc>
                <a:spcPct val="130000"/>
              </a:lnSpc>
              <a:buFontTx/>
              <a:buNone/>
              <a:defRPr sz="2800">
                <a:solidFill>
                  <a:schemeClr val="accent3"/>
                </a:solidFill>
                <a:latin typeface="Frutiger Next Pro Light" pitchFamily="34" charset="0"/>
              </a:defRPr>
            </a:lvl1pPr>
            <a:lvl2pPr marL="457200" indent="0" algn="r">
              <a:buFontTx/>
              <a:buNone/>
              <a:defRPr sz="2800"/>
            </a:lvl2pPr>
            <a:lvl3pPr marL="914400" indent="0" algn="r">
              <a:buFontTx/>
              <a:buNone/>
              <a:defRPr sz="2800"/>
            </a:lvl3pPr>
            <a:lvl4pPr marL="1371600" indent="0" algn="r">
              <a:buFontTx/>
              <a:buNone/>
              <a:defRPr sz="2800"/>
            </a:lvl4pPr>
            <a:lvl5pPr marL="1828800" indent="0" algn="r">
              <a:buFontTx/>
              <a:buNone/>
              <a:defRPr sz="2800"/>
            </a:lvl5pPr>
          </a:lstStyle>
          <a:p>
            <a:pPr lvl="0"/>
            <a:r>
              <a:rPr lang="en-US" dirty="0"/>
              <a:t>Author</a:t>
            </a:r>
          </a:p>
        </p:txBody>
      </p:sp>
    </p:spTree>
    <p:extLst>
      <p:ext uri="{BB962C8B-B14F-4D97-AF65-F5344CB8AC3E}">
        <p14:creationId xmlns:p14="http://schemas.microsoft.com/office/powerpoint/2010/main" val="565582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ll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6577411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965"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hasCustomPrompt="1"/>
          </p:nvPr>
        </p:nvSpPr>
        <p:spPr>
          <a:xfrm>
            <a:off x="553847" y="540000"/>
            <a:ext cx="11078308" cy="468000"/>
          </a:xfrm>
        </p:spPr>
        <p:txBody>
          <a:bodyPr/>
          <a:lstStyle>
            <a:lvl1pPr>
              <a:defRPr>
                <a:solidFill>
                  <a:srgbClr val="FFFFFF"/>
                </a:solidFill>
              </a:defRPr>
            </a:lvl1pPr>
          </a:lstStyle>
          <a:p>
            <a:r>
              <a:rPr lang="en-US" dirty="0"/>
              <a:t>Structural Title...</a:t>
            </a:r>
          </a:p>
        </p:txBody>
      </p:sp>
      <p:sp>
        <p:nvSpPr>
          <p:cNvPr id="3" name="Text Placeholder 5"/>
          <p:cNvSpPr>
            <a:spLocks noGrp="1"/>
          </p:cNvSpPr>
          <p:nvPr>
            <p:ph type="body" sz="quarter" idx="13"/>
          </p:nvPr>
        </p:nvSpPr>
        <p:spPr>
          <a:xfrm>
            <a:off x="553846" y="1008000"/>
            <a:ext cx="11078306" cy="720000"/>
          </a:xfrm>
        </p:spPr>
        <p:txBody>
          <a:bodyPr tIns="108000">
            <a:noAutofit/>
          </a:bodyPr>
          <a:lstStyle>
            <a:lvl1pPr marL="0" indent="0">
              <a:buNone/>
              <a:defRPr sz="1600" baseline="0">
                <a:solidFill>
                  <a:schemeClr val="accent5"/>
                </a:solidFill>
              </a:defRPr>
            </a:lvl1pPr>
          </a:lstStyle>
          <a:p>
            <a:pPr lvl="0"/>
            <a:r>
              <a:rPr lang="en-US" dirty="0"/>
              <a:t>Click to edit Master text styles</a:t>
            </a:r>
          </a:p>
        </p:txBody>
      </p:sp>
      <p:sp>
        <p:nvSpPr>
          <p:cNvPr id="4" name="Content Placeholder 3"/>
          <p:cNvSpPr>
            <a:spLocks noGrp="1"/>
          </p:cNvSpPr>
          <p:nvPr>
            <p:ph sz="quarter" idx="10"/>
          </p:nvPr>
        </p:nvSpPr>
        <p:spPr>
          <a:xfrm>
            <a:off x="553846" y="1728788"/>
            <a:ext cx="11078306" cy="4824000"/>
          </a:xfrm>
        </p:spPr>
        <p:txBody>
          <a:bodyPr lIns="36000" tIns="36000" rIns="36000" bIns="36000"/>
          <a:lstStyle>
            <a:lvl1pPr marL="285750" indent="-285750">
              <a:buClr>
                <a:schemeClr val="accent5"/>
              </a:buClr>
              <a:buFont typeface="Arial" panose="020B0604020202020204" pitchFamily="34" charset="0"/>
              <a:buChar char="•"/>
              <a:defRPr baseline="0">
                <a:solidFill>
                  <a:schemeClr val="bg1">
                    <a:lumMod val="95000"/>
                  </a:schemeClr>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553845" y="312912"/>
            <a:ext cx="3459650" cy="230832"/>
          </a:xfrm>
          <a:prstGeom prst="rect">
            <a:avLst/>
          </a:prstGeom>
          <a:noFill/>
        </p:spPr>
        <p:txBody>
          <a:bodyPr wrap="square" lIns="36000" tIns="45720" rIns="36000" bIns="4572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accent3">
                    <a:lumMod val="75000"/>
                  </a:schemeClr>
                </a:solidFill>
                <a:latin typeface="+mj-lt"/>
                <a:cs typeface="Open Sans" panose="020B0606030504020204" pitchFamily="34" charset="0"/>
              </a:rPr>
              <a:t>Deloitte Digital – Client X Omnichannel Strategy Approach</a:t>
            </a:r>
          </a:p>
        </p:txBody>
      </p:sp>
      <p:sp>
        <p:nvSpPr>
          <p:cNvPr id="9" name="TextBox 8"/>
          <p:cNvSpPr txBox="1"/>
          <p:nvPr userDrawn="1"/>
        </p:nvSpPr>
        <p:spPr>
          <a:xfrm>
            <a:off x="11304511" y="312912"/>
            <a:ext cx="325730" cy="230832"/>
          </a:xfrm>
          <a:prstGeom prst="rect">
            <a:avLst/>
          </a:prstGeom>
          <a:noFill/>
        </p:spPr>
        <p:txBody>
          <a:bodyPr wrap="none" lIns="91440" tIns="45720" rIns="91440" bIns="45720" rtlCol="0">
            <a:spAutoFit/>
          </a:bodyPr>
          <a:lstStyle/>
          <a:p>
            <a:pPr algn="r"/>
            <a:fld id="{B10D5614-B734-4280-8F57-1D4947433C97}" type="slidenum">
              <a:rPr lang="en-US" sz="900" smtClean="0">
                <a:solidFill>
                  <a:schemeClr val="accent3">
                    <a:lumMod val="75000"/>
                  </a:schemeClr>
                </a:solidFill>
                <a:latin typeface="+mn-lt"/>
                <a:cs typeface="Open Sans" panose="020B0606030504020204" pitchFamily="34" charset="0"/>
              </a:rPr>
              <a:pPr algn="r"/>
              <a:t>‹#›</a:t>
            </a:fld>
            <a:endParaRPr lang="en-US" sz="900" dirty="0">
              <a:solidFill>
                <a:schemeClr val="accent3">
                  <a:lumMod val="75000"/>
                </a:schemeClr>
              </a:solidFill>
              <a:latin typeface="+mn-lt"/>
              <a:cs typeface="Open Sans" panose="020B0606030504020204" pitchFamily="34" charset="0"/>
            </a:endParaRPr>
          </a:p>
        </p:txBody>
      </p:sp>
      <p:sp>
        <p:nvSpPr>
          <p:cNvPr id="15" name="Footer Placeholder 4"/>
          <p:cNvSpPr>
            <a:spLocks noGrp="1"/>
          </p:cNvSpPr>
          <p:nvPr>
            <p:ph type="ftr" sz="quarter" idx="3"/>
          </p:nvPr>
        </p:nvSpPr>
        <p:spPr>
          <a:xfrm>
            <a:off x="6096004" y="6578600"/>
            <a:ext cx="5541103" cy="180000"/>
          </a:xfrm>
          <a:prstGeom prst="rect">
            <a:avLst/>
          </a:prstGeom>
        </p:spPr>
        <p:txBody>
          <a:bodyPr vert="horz" lIns="91440" tIns="45720" rIns="91440" bIns="45720" rtlCol="0" anchor="ctr"/>
          <a:lstStyle>
            <a:lvl1pPr algn="r">
              <a:defRPr sz="800" b="0">
                <a:solidFill>
                  <a:schemeClr val="bg1">
                    <a:lumMod val="85000"/>
                  </a:schemeClr>
                </a:solidFill>
                <a:latin typeface="+mn-lt"/>
              </a:defRPr>
            </a:lvl1pPr>
          </a:lstStyle>
          <a:p>
            <a:r>
              <a:rPr lang="en-US" dirty="0"/>
              <a:t>Deloitte Digital Germany Template A4 | 05/2015</a:t>
            </a:r>
          </a:p>
        </p:txBody>
      </p:sp>
      <p:cxnSp>
        <p:nvCxnSpPr>
          <p:cNvPr id="16" name="Straight Connector 15"/>
          <p:cNvCxnSpPr/>
          <p:nvPr userDrawn="1"/>
        </p:nvCxnSpPr>
        <p:spPr>
          <a:xfrm flipH="1">
            <a:off x="553846" y="540000"/>
            <a:ext cx="11078306" cy="0"/>
          </a:xfrm>
          <a:prstGeom prst="line">
            <a:avLst/>
          </a:prstGeom>
          <a:ln w="3175" cmpd="sng">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03887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Structure &amp; Action">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73444242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989"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hasCustomPrompt="1"/>
          </p:nvPr>
        </p:nvSpPr>
        <p:spPr>
          <a:xfrm>
            <a:off x="553847" y="540000"/>
            <a:ext cx="11078308" cy="468000"/>
          </a:xfrm>
        </p:spPr>
        <p:txBody>
          <a:bodyPr/>
          <a:lstStyle>
            <a:lvl1pPr>
              <a:defRPr>
                <a:solidFill>
                  <a:srgbClr val="FFFFFF"/>
                </a:solidFill>
              </a:defRPr>
            </a:lvl1pPr>
          </a:lstStyle>
          <a:p>
            <a:r>
              <a:rPr lang="en-US" dirty="0"/>
              <a:t>Structural Title...</a:t>
            </a:r>
          </a:p>
        </p:txBody>
      </p:sp>
      <p:sp>
        <p:nvSpPr>
          <p:cNvPr id="3" name="Text Placeholder 5"/>
          <p:cNvSpPr>
            <a:spLocks noGrp="1"/>
          </p:cNvSpPr>
          <p:nvPr>
            <p:ph type="body" sz="quarter" idx="13"/>
          </p:nvPr>
        </p:nvSpPr>
        <p:spPr>
          <a:xfrm>
            <a:off x="553846" y="1008000"/>
            <a:ext cx="11078306" cy="720000"/>
          </a:xfrm>
        </p:spPr>
        <p:txBody>
          <a:bodyPr tIns="108000">
            <a:noAutofit/>
          </a:bodyPr>
          <a:lstStyle>
            <a:lvl1pPr marL="0" indent="0">
              <a:buNone/>
              <a:defRPr sz="1600" baseline="0">
                <a:solidFill>
                  <a:schemeClr val="accent5"/>
                </a:solidFill>
              </a:defRPr>
            </a:lvl1pPr>
          </a:lstStyle>
          <a:p>
            <a:pPr lvl="0"/>
            <a:r>
              <a:rPr lang="en-US" dirty="0"/>
              <a:t>Click to edit Master text styles</a:t>
            </a:r>
          </a:p>
        </p:txBody>
      </p:sp>
      <p:sp>
        <p:nvSpPr>
          <p:cNvPr id="15" name="Footer Placeholder 4"/>
          <p:cNvSpPr>
            <a:spLocks noGrp="1"/>
          </p:cNvSpPr>
          <p:nvPr>
            <p:ph type="ftr" sz="quarter" idx="3"/>
          </p:nvPr>
        </p:nvSpPr>
        <p:spPr>
          <a:xfrm>
            <a:off x="6096004" y="6578600"/>
            <a:ext cx="5541103" cy="180000"/>
          </a:xfrm>
          <a:prstGeom prst="rect">
            <a:avLst/>
          </a:prstGeom>
        </p:spPr>
        <p:txBody>
          <a:bodyPr vert="horz" lIns="91440" tIns="45720" rIns="91440" bIns="45720" rtlCol="0" anchor="ctr"/>
          <a:lstStyle>
            <a:lvl1pPr algn="r">
              <a:defRPr sz="800" b="0">
                <a:solidFill>
                  <a:schemeClr val="bg1">
                    <a:lumMod val="85000"/>
                  </a:schemeClr>
                </a:solidFill>
                <a:latin typeface="+mn-lt"/>
              </a:defRPr>
            </a:lvl1pPr>
          </a:lstStyle>
          <a:p>
            <a:r>
              <a:rPr lang="en-US" dirty="0"/>
              <a:t>Deloitte Digital Germany Template A4 | 05/2015</a:t>
            </a:r>
          </a:p>
        </p:txBody>
      </p:sp>
      <p:sp>
        <p:nvSpPr>
          <p:cNvPr id="16" name="TextBox 15"/>
          <p:cNvSpPr txBox="1"/>
          <p:nvPr userDrawn="1"/>
        </p:nvSpPr>
        <p:spPr>
          <a:xfrm>
            <a:off x="561364" y="312912"/>
            <a:ext cx="3817205" cy="230832"/>
          </a:xfrm>
          <a:prstGeom prst="rect">
            <a:avLst/>
          </a:prstGeom>
          <a:noFill/>
        </p:spPr>
        <p:txBody>
          <a:bodyPr wrap="square" lIns="36000" tIns="45720" rIns="36000" bIns="4572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accent3">
                    <a:lumMod val="75000"/>
                  </a:schemeClr>
                </a:solidFill>
                <a:latin typeface="+mn-lt"/>
                <a:ea typeface="+mn-ea"/>
                <a:cs typeface="Open Sans" panose="020B0606030504020204" pitchFamily="34" charset="0"/>
              </a:rPr>
              <a:t>Deloitte Digital – Client X Omnichannel Strategy Approach</a:t>
            </a:r>
          </a:p>
        </p:txBody>
      </p:sp>
      <p:sp>
        <p:nvSpPr>
          <p:cNvPr id="17" name="TextBox 16"/>
          <p:cNvSpPr txBox="1"/>
          <p:nvPr userDrawn="1"/>
        </p:nvSpPr>
        <p:spPr>
          <a:xfrm>
            <a:off x="11304511" y="312912"/>
            <a:ext cx="325730" cy="230832"/>
          </a:xfrm>
          <a:prstGeom prst="rect">
            <a:avLst/>
          </a:prstGeom>
          <a:noFill/>
        </p:spPr>
        <p:txBody>
          <a:bodyPr wrap="none" lIns="91440" tIns="45720" rIns="91440" bIns="45720" rtlCol="0">
            <a:spAutoFit/>
          </a:bodyPr>
          <a:lstStyle/>
          <a:p>
            <a:pPr algn="r"/>
            <a:fld id="{B10D5614-B734-4280-8F57-1D4947433C97}" type="slidenum">
              <a:rPr lang="en-US" sz="900" smtClean="0">
                <a:solidFill>
                  <a:schemeClr val="accent3">
                    <a:lumMod val="75000"/>
                  </a:schemeClr>
                </a:solidFill>
                <a:latin typeface="+mn-lt"/>
                <a:cs typeface="Open Sans" panose="020B0606030504020204" pitchFamily="34" charset="0"/>
              </a:rPr>
              <a:pPr algn="r"/>
              <a:t>‹#›</a:t>
            </a:fld>
            <a:endParaRPr lang="en-US" sz="900" dirty="0">
              <a:solidFill>
                <a:schemeClr val="accent3">
                  <a:lumMod val="75000"/>
                </a:schemeClr>
              </a:solidFill>
              <a:latin typeface="+mn-lt"/>
              <a:cs typeface="Open Sans" panose="020B0606030504020204" pitchFamily="34" charset="0"/>
            </a:endParaRPr>
          </a:p>
        </p:txBody>
      </p:sp>
      <p:cxnSp>
        <p:nvCxnSpPr>
          <p:cNvPr id="20" name="Straight Connector 19"/>
          <p:cNvCxnSpPr/>
          <p:nvPr userDrawn="1"/>
        </p:nvCxnSpPr>
        <p:spPr>
          <a:xfrm flipH="1">
            <a:off x="553846" y="540000"/>
            <a:ext cx="11078306" cy="0"/>
          </a:xfrm>
          <a:prstGeom prst="line">
            <a:avLst/>
          </a:prstGeom>
          <a:ln w="3175" cmpd="sng">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63915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Header &amp; Structur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3723831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3013"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hasCustomPrompt="1"/>
          </p:nvPr>
        </p:nvSpPr>
        <p:spPr>
          <a:xfrm>
            <a:off x="553847" y="540000"/>
            <a:ext cx="11078308" cy="468000"/>
          </a:xfrm>
        </p:spPr>
        <p:txBody>
          <a:bodyPr/>
          <a:lstStyle>
            <a:lvl1pPr>
              <a:defRPr>
                <a:solidFill>
                  <a:srgbClr val="FFFFFF"/>
                </a:solidFill>
              </a:defRPr>
            </a:lvl1pPr>
          </a:lstStyle>
          <a:p>
            <a:r>
              <a:rPr lang="en-US" dirty="0"/>
              <a:t>Structural Title...</a:t>
            </a:r>
          </a:p>
        </p:txBody>
      </p:sp>
      <p:sp>
        <p:nvSpPr>
          <p:cNvPr id="14" name="Footer Placeholder 4"/>
          <p:cNvSpPr>
            <a:spLocks noGrp="1"/>
          </p:cNvSpPr>
          <p:nvPr>
            <p:ph type="ftr" sz="quarter" idx="3"/>
          </p:nvPr>
        </p:nvSpPr>
        <p:spPr>
          <a:xfrm>
            <a:off x="6096004" y="6578600"/>
            <a:ext cx="5541103" cy="180000"/>
          </a:xfrm>
          <a:prstGeom prst="rect">
            <a:avLst/>
          </a:prstGeom>
        </p:spPr>
        <p:txBody>
          <a:bodyPr vert="horz" lIns="91440" tIns="45720" rIns="91440" bIns="45720" rtlCol="0" anchor="ctr"/>
          <a:lstStyle>
            <a:lvl1pPr algn="r">
              <a:defRPr sz="800" b="0">
                <a:solidFill>
                  <a:schemeClr val="bg1">
                    <a:lumMod val="85000"/>
                  </a:schemeClr>
                </a:solidFill>
                <a:latin typeface="+mn-lt"/>
              </a:defRPr>
            </a:lvl1pPr>
          </a:lstStyle>
          <a:p>
            <a:r>
              <a:rPr lang="en-US" dirty="0"/>
              <a:t>Deloitte Digital Germany Template A4 | 05/2015</a:t>
            </a:r>
          </a:p>
        </p:txBody>
      </p:sp>
      <p:sp>
        <p:nvSpPr>
          <p:cNvPr id="15" name="TextBox 14"/>
          <p:cNvSpPr txBox="1"/>
          <p:nvPr userDrawn="1"/>
        </p:nvSpPr>
        <p:spPr>
          <a:xfrm>
            <a:off x="561364" y="312912"/>
            <a:ext cx="4309574" cy="230832"/>
          </a:xfrm>
          <a:prstGeom prst="rect">
            <a:avLst/>
          </a:prstGeom>
          <a:noFill/>
        </p:spPr>
        <p:txBody>
          <a:bodyPr wrap="square" lIns="36000" tIns="45720" rIns="36000" bIns="4572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accent3">
                    <a:lumMod val="75000"/>
                  </a:schemeClr>
                </a:solidFill>
                <a:latin typeface="+mn-lt"/>
                <a:ea typeface="+mn-ea"/>
                <a:cs typeface="Open Sans" panose="020B0606030504020204" pitchFamily="34" charset="0"/>
              </a:rPr>
              <a:t>Deloitte Digital – Client X Omnichannel Strategy Approach</a:t>
            </a:r>
          </a:p>
        </p:txBody>
      </p:sp>
      <p:sp>
        <p:nvSpPr>
          <p:cNvPr id="16" name="TextBox 15"/>
          <p:cNvSpPr txBox="1"/>
          <p:nvPr userDrawn="1"/>
        </p:nvSpPr>
        <p:spPr>
          <a:xfrm>
            <a:off x="11304511" y="312912"/>
            <a:ext cx="325730" cy="230832"/>
          </a:xfrm>
          <a:prstGeom prst="rect">
            <a:avLst/>
          </a:prstGeom>
          <a:noFill/>
        </p:spPr>
        <p:txBody>
          <a:bodyPr wrap="none" lIns="91440" tIns="45720" rIns="91440" bIns="45720" rtlCol="0">
            <a:spAutoFit/>
          </a:bodyPr>
          <a:lstStyle/>
          <a:p>
            <a:pPr algn="r"/>
            <a:fld id="{B10D5614-B734-4280-8F57-1D4947433C97}" type="slidenum">
              <a:rPr lang="en-US" sz="900" smtClean="0">
                <a:solidFill>
                  <a:schemeClr val="accent3">
                    <a:lumMod val="75000"/>
                  </a:schemeClr>
                </a:solidFill>
                <a:latin typeface="+mn-lt"/>
                <a:cs typeface="Open Sans" panose="020B0606030504020204" pitchFamily="34" charset="0"/>
              </a:rPr>
              <a:pPr algn="r"/>
              <a:t>‹#›</a:t>
            </a:fld>
            <a:endParaRPr lang="en-US" sz="900" dirty="0">
              <a:solidFill>
                <a:schemeClr val="accent3">
                  <a:lumMod val="75000"/>
                </a:schemeClr>
              </a:solidFill>
              <a:latin typeface="+mn-lt"/>
              <a:cs typeface="Open Sans" panose="020B0606030504020204" pitchFamily="34" charset="0"/>
            </a:endParaRPr>
          </a:p>
        </p:txBody>
      </p:sp>
      <p:cxnSp>
        <p:nvCxnSpPr>
          <p:cNvPr id="19" name="Straight Connector 18"/>
          <p:cNvCxnSpPr/>
          <p:nvPr userDrawn="1"/>
        </p:nvCxnSpPr>
        <p:spPr>
          <a:xfrm flipH="1">
            <a:off x="553846" y="540000"/>
            <a:ext cx="11078306" cy="0"/>
          </a:xfrm>
          <a:prstGeom prst="line">
            <a:avLst/>
          </a:prstGeom>
          <a:ln w="3175" cmpd="sng">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2141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w/o Ac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24401333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4037"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hasCustomPrompt="1"/>
          </p:nvPr>
        </p:nvSpPr>
        <p:spPr>
          <a:xfrm>
            <a:off x="553847" y="540000"/>
            <a:ext cx="11078308" cy="468000"/>
          </a:xfrm>
        </p:spPr>
        <p:txBody>
          <a:bodyPr/>
          <a:lstStyle>
            <a:lvl1pPr>
              <a:defRPr>
                <a:solidFill>
                  <a:srgbClr val="FFFFFF"/>
                </a:solidFill>
              </a:defRPr>
            </a:lvl1pPr>
          </a:lstStyle>
          <a:p>
            <a:r>
              <a:rPr lang="en-US" dirty="0"/>
              <a:t>Structural Title...</a:t>
            </a:r>
          </a:p>
        </p:txBody>
      </p:sp>
      <p:sp>
        <p:nvSpPr>
          <p:cNvPr id="4" name="Content Placeholder 3"/>
          <p:cNvSpPr>
            <a:spLocks noGrp="1"/>
          </p:cNvSpPr>
          <p:nvPr>
            <p:ph sz="quarter" idx="10"/>
          </p:nvPr>
        </p:nvSpPr>
        <p:spPr>
          <a:xfrm>
            <a:off x="553846" y="1728000"/>
            <a:ext cx="11078306" cy="4824000"/>
          </a:xfrm>
        </p:spPr>
        <p:txBody>
          <a:bodyPr lIns="36000" tIns="36000" rIns="36000" bIns="36000"/>
          <a:lstStyle>
            <a:lvl1pPr marL="285750" indent="-285750">
              <a:buClr>
                <a:schemeClr val="accent5"/>
              </a:buClr>
              <a:buFont typeface="Arial" panose="020B0604020202020204" pitchFamily="34" charset="0"/>
              <a:buChar char="•"/>
              <a:defRPr baseline="0">
                <a:solidFill>
                  <a:schemeClr val="bg1">
                    <a:lumMod val="95000"/>
                  </a:schemeClr>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Footer Placeholder 4"/>
          <p:cNvSpPr>
            <a:spLocks noGrp="1"/>
          </p:cNvSpPr>
          <p:nvPr>
            <p:ph type="ftr" sz="quarter" idx="3"/>
          </p:nvPr>
        </p:nvSpPr>
        <p:spPr>
          <a:xfrm>
            <a:off x="6096004" y="6578600"/>
            <a:ext cx="5541103" cy="180000"/>
          </a:xfrm>
          <a:prstGeom prst="rect">
            <a:avLst/>
          </a:prstGeom>
        </p:spPr>
        <p:txBody>
          <a:bodyPr vert="horz" lIns="91440" tIns="45720" rIns="91440" bIns="45720" rtlCol="0" anchor="ctr"/>
          <a:lstStyle>
            <a:lvl1pPr algn="r">
              <a:defRPr sz="800" b="0">
                <a:solidFill>
                  <a:schemeClr val="bg1">
                    <a:lumMod val="85000"/>
                  </a:schemeClr>
                </a:solidFill>
                <a:latin typeface="+mn-lt"/>
              </a:defRPr>
            </a:lvl1pPr>
          </a:lstStyle>
          <a:p>
            <a:r>
              <a:rPr lang="en-US" dirty="0"/>
              <a:t>Deloitte Digital Germany Template A4 | 05/2015</a:t>
            </a:r>
          </a:p>
        </p:txBody>
      </p:sp>
      <p:sp>
        <p:nvSpPr>
          <p:cNvPr id="16" name="TextBox 15"/>
          <p:cNvSpPr txBox="1"/>
          <p:nvPr userDrawn="1"/>
        </p:nvSpPr>
        <p:spPr>
          <a:xfrm>
            <a:off x="561364" y="312912"/>
            <a:ext cx="3864097" cy="230832"/>
          </a:xfrm>
          <a:prstGeom prst="rect">
            <a:avLst/>
          </a:prstGeom>
          <a:noFill/>
        </p:spPr>
        <p:txBody>
          <a:bodyPr wrap="square" lIns="36000" tIns="45720" rIns="36000" bIns="4572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accent3">
                    <a:lumMod val="75000"/>
                  </a:schemeClr>
                </a:solidFill>
                <a:latin typeface="+mn-lt"/>
                <a:ea typeface="+mn-ea"/>
                <a:cs typeface="Open Sans" panose="020B0606030504020204" pitchFamily="34" charset="0"/>
              </a:rPr>
              <a:t>Deloitte Digital – Client X Omnichannel Strategy Approach</a:t>
            </a:r>
          </a:p>
        </p:txBody>
      </p:sp>
      <p:sp>
        <p:nvSpPr>
          <p:cNvPr id="17" name="TextBox 16"/>
          <p:cNvSpPr txBox="1"/>
          <p:nvPr userDrawn="1"/>
        </p:nvSpPr>
        <p:spPr>
          <a:xfrm>
            <a:off x="11304511" y="312912"/>
            <a:ext cx="325730" cy="230832"/>
          </a:xfrm>
          <a:prstGeom prst="rect">
            <a:avLst/>
          </a:prstGeom>
          <a:noFill/>
        </p:spPr>
        <p:txBody>
          <a:bodyPr wrap="none" lIns="91440" tIns="45720" rIns="91440" bIns="45720" rtlCol="0">
            <a:spAutoFit/>
          </a:bodyPr>
          <a:lstStyle/>
          <a:p>
            <a:pPr algn="r"/>
            <a:fld id="{B10D5614-B734-4280-8F57-1D4947433C97}" type="slidenum">
              <a:rPr lang="en-US" sz="900" smtClean="0">
                <a:solidFill>
                  <a:schemeClr val="accent3">
                    <a:lumMod val="75000"/>
                  </a:schemeClr>
                </a:solidFill>
                <a:latin typeface="+mn-lt"/>
                <a:cs typeface="Open Sans" panose="020B0606030504020204" pitchFamily="34" charset="0"/>
              </a:rPr>
              <a:pPr algn="r"/>
              <a:t>‹#›</a:t>
            </a:fld>
            <a:endParaRPr lang="en-US" sz="900" dirty="0">
              <a:solidFill>
                <a:schemeClr val="accent3">
                  <a:lumMod val="75000"/>
                </a:schemeClr>
              </a:solidFill>
              <a:latin typeface="+mn-lt"/>
              <a:cs typeface="Open Sans" panose="020B0606030504020204" pitchFamily="34" charset="0"/>
            </a:endParaRPr>
          </a:p>
        </p:txBody>
      </p:sp>
      <p:cxnSp>
        <p:nvCxnSpPr>
          <p:cNvPr id="20" name="Straight Connector 19"/>
          <p:cNvCxnSpPr/>
          <p:nvPr userDrawn="1"/>
        </p:nvCxnSpPr>
        <p:spPr>
          <a:xfrm flipH="1">
            <a:off x="553846" y="540000"/>
            <a:ext cx="11078306" cy="0"/>
          </a:xfrm>
          <a:prstGeom prst="line">
            <a:avLst/>
          </a:prstGeom>
          <a:ln w="3175" cmpd="sng">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2319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w/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6909917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506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955" y="1589"/>
                        <a:ext cx="1953" cy="1587"/>
                      </a:xfrm>
                      <a:prstGeom prst="rect">
                        <a:avLst/>
                      </a:prstGeom>
                    </p:spPr>
                  </p:pic>
                </p:oleObj>
              </mc:Fallback>
            </mc:AlternateContent>
          </a:graphicData>
        </a:graphic>
      </p:graphicFrame>
      <p:grpSp>
        <p:nvGrpSpPr>
          <p:cNvPr id="5" name="Group 4"/>
          <p:cNvGrpSpPr/>
          <p:nvPr userDrawn="1"/>
        </p:nvGrpSpPr>
        <p:grpSpPr>
          <a:xfrm>
            <a:off x="549014" y="541306"/>
            <a:ext cx="1373538" cy="498295"/>
            <a:chOff x="5308813" y="4773157"/>
            <a:chExt cx="3462159" cy="1646198"/>
          </a:xfrm>
        </p:grpSpPr>
        <p:sp>
          <p:nvSpPr>
            <p:cNvPr id="6" name="Chord 11"/>
            <p:cNvSpPr/>
            <p:nvPr/>
          </p:nvSpPr>
          <p:spPr>
            <a:xfrm rot="5400000">
              <a:off x="6106247" y="3975723"/>
              <a:ext cx="1646198" cy="3241066"/>
            </a:xfrm>
            <a:custGeom>
              <a:avLst/>
              <a:gdLst/>
              <a:ahLst/>
              <a:cxnLst/>
              <a:rect l="l" t="t" r="r" b="b"/>
              <a:pathLst>
                <a:path w="1646198" h="3241066">
                  <a:moveTo>
                    <a:pt x="1217059" y="1043362"/>
                  </a:moveTo>
                  <a:cubicBezTo>
                    <a:pt x="1217631" y="1060064"/>
                    <a:pt x="1218204" y="1072694"/>
                    <a:pt x="1222214" y="1105393"/>
                  </a:cubicBezTo>
                  <a:cubicBezTo>
                    <a:pt x="1227368" y="1151594"/>
                    <a:pt x="1255122" y="1174585"/>
                    <a:pt x="1288726" y="1174866"/>
                  </a:cubicBezTo>
                  <a:cubicBezTo>
                    <a:pt x="1334618" y="1173369"/>
                    <a:pt x="1343258" y="1135567"/>
                    <a:pt x="1344069" y="1116058"/>
                  </a:cubicBezTo>
                  <a:cubicBezTo>
                    <a:pt x="1344069" y="1083888"/>
                    <a:pt x="1317093" y="1042765"/>
                    <a:pt x="1289216" y="1042765"/>
                  </a:cubicBezTo>
                  <a:close/>
                  <a:moveTo>
                    <a:pt x="1081760" y="2195548"/>
                  </a:moveTo>
                  <a:cubicBezTo>
                    <a:pt x="1082662" y="2248722"/>
                    <a:pt x="1127254" y="2288921"/>
                    <a:pt x="1208880" y="2289811"/>
                  </a:cubicBezTo>
                  <a:cubicBezTo>
                    <a:pt x="1290506" y="2290702"/>
                    <a:pt x="1336000" y="2247608"/>
                    <a:pt x="1336000" y="2195548"/>
                  </a:cubicBezTo>
                  <a:cubicBezTo>
                    <a:pt x="1336000" y="2153216"/>
                    <a:pt x="1303931" y="2118431"/>
                    <a:pt x="1249570" y="2106535"/>
                  </a:cubicBezTo>
                  <a:lnTo>
                    <a:pt x="1164325" y="2106535"/>
                  </a:lnTo>
                  <a:cubicBezTo>
                    <a:pt x="1110584" y="2118351"/>
                    <a:pt x="1081039" y="2153012"/>
                    <a:pt x="1081760" y="2195548"/>
                  </a:cubicBezTo>
                  <a:close/>
                  <a:moveTo>
                    <a:pt x="976852" y="1896174"/>
                  </a:moveTo>
                  <a:lnTo>
                    <a:pt x="976852" y="1745772"/>
                  </a:lnTo>
                  <a:lnTo>
                    <a:pt x="1431393" y="1745772"/>
                  </a:lnTo>
                  <a:lnTo>
                    <a:pt x="1431393" y="1896174"/>
                  </a:lnTo>
                  <a:close/>
                  <a:moveTo>
                    <a:pt x="976852" y="2635865"/>
                  </a:moveTo>
                  <a:lnTo>
                    <a:pt x="976852" y="2485463"/>
                  </a:lnTo>
                  <a:lnTo>
                    <a:pt x="1431393" y="2485463"/>
                  </a:lnTo>
                  <a:lnTo>
                    <a:pt x="1431393" y="2635865"/>
                  </a:lnTo>
                  <a:close/>
                  <a:moveTo>
                    <a:pt x="968968" y="1104529"/>
                  </a:moveTo>
                  <a:cubicBezTo>
                    <a:pt x="971324" y="1049264"/>
                    <a:pt x="987836" y="992240"/>
                    <a:pt x="1015790" y="957754"/>
                  </a:cubicBezTo>
                  <a:cubicBezTo>
                    <a:pt x="1043745" y="923267"/>
                    <a:pt x="1094335" y="906046"/>
                    <a:pt x="1144825" y="907437"/>
                  </a:cubicBezTo>
                  <a:lnTo>
                    <a:pt x="1144820" y="907612"/>
                  </a:lnTo>
                  <a:lnTo>
                    <a:pt x="1378424" y="907612"/>
                  </a:lnTo>
                  <a:lnTo>
                    <a:pt x="1431393" y="899004"/>
                  </a:lnTo>
                  <a:lnTo>
                    <a:pt x="1431393" y="1022713"/>
                  </a:lnTo>
                  <a:lnTo>
                    <a:pt x="1382871" y="1030598"/>
                  </a:lnTo>
                  <a:cubicBezTo>
                    <a:pt x="1419105" y="1059131"/>
                    <a:pt x="1443177" y="1109173"/>
                    <a:pt x="1443177" y="1162399"/>
                  </a:cubicBezTo>
                  <a:cubicBezTo>
                    <a:pt x="1441123" y="1212782"/>
                    <a:pt x="1419258" y="1310406"/>
                    <a:pt x="1303115" y="1314271"/>
                  </a:cubicBezTo>
                  <a:cubicBezTo>
                    <a:pt x="1218070" y="1313546"/>
                    <a:pt x="1147833" y="1254172"/>
                    <a:pt x="1134787" y="1134858"/>
                  </a:cubicBezTo>
                  <a:cubicBezTo>
                    <a:pt x="1128095" y="1079166"/>
                    <a:pt x="1125186" y="1060671"/>
                    <a:pt x="1123593" y="1042156"/>
                  </a:cubicBezTo>
                  <a:cubicBezTo>
                    <a:pt x="1087122" y="1044253"/>
                    <a:pt x="1069372" y="1077564"/>
                    <a:pt x="1062970" y="1108900"/>
                  </a:cubicBezTo>
                  <a:cubicBezTo>
                    <a:pt x="1058686" y="1175367"/>
                    <a:pt x="1069906" y="1205136"/>
                    <a:pt x="1095144" y="1254690"/>
                  </a:cubicBezTo>
                  <a:lnTo>
                    <a:pt x="1006050" y="1276767"/>
                  </a:lnTo>
                  <a:cubicBezTo>
                    <a:pt x="990049" y="1237136"/>
                    <a:pt x="966536" y="1164489"/>
                    <a:pt x="968968" y="1104529"/>
                  </a:cubicBezTo>
                  <a:close/>
                  <a:moveTo>
                    <a:pt x="965312" y="2224984"/>
                  </a:moveTo>
                  <a:cubicBezTo>
                    <a:pt x="965812" y="2185899"/>
                    <a:pt x="980634" y="2141945"/>
                    <a:pt x="1013617" y="2106535"/>
                  </a:cubicBezTo>
                  <a:lnTo>
                    <a:pt x="978830" y="2106535"/>
                  </a:lnTo>
                  <a:lnTo>
                    <a:pt x="978830" y="1967568"/>
                  </a:lnTo>
                  <a:lnTo>
                    <a:pt x="1433371" y="1967568"/>
                  </a:lnTo>
                  <a:lnTo>
                    <a:pt x="1433371" y="1967742"/>
                  </a:lnTo>
                  <a:cubicBezTo>
                    <a:pt x="1496017" y="1969476"/>
                    <a:pt x="1555608" y="1998729"/>
                    <a:pt x="1590932" y="2038232"/>
                  </a:cubicBezTo>
                  <a:cubicBezTo>
                    <a:pt x="1626698" y="2078229"/>
                    <a:pt x="1641700" y="2147925"/>
                    <a:pt x="1645617" y="2209727"/>
                  </a:cubicBezTo>
                  <a:cubicBezTo>
                    <a:pt x="1649709" y="2276773"/>
                    <a:pt x="1631524" y="2349736"/>
                    <a:pt x="1612074" y="2393098"/>
                  </a:cubicBezTo>
                  <a:lnTo>
                    <a:pt x="1499600" y="2363647"/>
                  </a:lnTo>
                  <a:cubicBezTo>
                    <a:pt x="1517109" y="2327724"/>
                    <a:pt x="1529826" y="2296689"/>
                    <a:pt x="1535719" y="2259996"/>
                  </a:cubicBezTo>
                  <a:cubicBezTo>
                    <a:pt x="1536628" y="2234388"/>
                    <a:pt x="1535097" y="2182575"/>
                    <a:pt x="1518638" y="2156186"/>
                  </a:cubicBezTo>
                  <a:cubicBezTo>
                    <a:pt x="1501635" y="2127623"/>
                    <a:pt x="1474304" y="2109363"/>
                    <a:pt x="1432070" y="2106555"/>
                  </a:cubicBezTo>
                  <a:cubicBezTo>
                    <a:pt x="1432070" y="2106549"/>
                    <a:pt x="1432070" y="2106542"/>
                    <a:pt x="1432070" y="2106535"/>
                  </a:cubicBezTo>
                  <a:lnTo>
                    <a:pt x="1391053" y="2106535"/>
                  </a:lnTo>
                  <a:cubicBezTo>
                    <a:pt x="1438935" y="2158224"/>
                    <a:pt x="1446259" y="2225218"/>
                    <a:pt x="1446887" y="2255423"/>
                  </a:cubicBezTo>
                  <a:cubicBezTo>
                    <a:pt x="1447975" y="2307708"/>
                    <a:pt x="1392358" y="2436377"/>
                    <a:pt x="1208817" y="2435652"/>
                  </a:cubicBezTo>
                  <a:cubicBezTo>
                    <a:pt x="1025277" y="2434927"/>
                    <a:pt x="964225" y="2309882"/>
                    <a:pt x="965312" y="2224984"/>
                  </a:cubicBezTo>
                  <a:close/>
                  <a:moveTo>
                    <a:pt x="930855" y="3058116"/>
                  </a:moveTo>
                  <a:cubicBezTo>
                    <a:pt x="930761" y="3065725"/>
                    <a:pt x="931116" y="3067557"/>
                    <a:pt x="933676" y="3091543"/>
                  </a:cubicBezTo>
                  <a:lnTo>
                    <a:pt x="1310028" y="3091543"/>
                  </a:lnTo>
                  <a:cubicBezTo>
                    <a:pt x="1310028" y="3062084"/>
                    <a:pt x="1311393" y="3054455"/>
                    <a:pt x="1310028" y="3025483"/>
                  </a:cubicBezTo>
                  <a:cubicBezTo>
                    <a:pt x="1302519" y="2925257"/>
                    <a:pt x="1230751" y="2857673"/>
                    <a:pt x="1121852" y="2855437"/>
                  </a:cubicBezTo>
                  <a:cubicBezTo>
                    <a:pt x="1012953" y="2853201"/>
                    <a:pt x="926351" y="2935330"/>
                    <a:pt x="931129" y="3032150"/>
                  </a:cubicBezTo>
                  <a:cubicBezTo>
                    <a:pt x="931129" y="3046907"/>
                    <a:pt x="930911" y="3053551"/>
                    <a:pt x="930855" y="3058116"/>
                  </a:cubicBezTo>
                  <a:close/>
                  <a:moveTo>
                    <a:pt x="838517" y="1476513"/>
                  </a:moveTo>
                  <a:lnTo>
                    <a:pt x="978949" y="1476513"/>
                  </a:lnTo>
                  <a:lnTo>
                    <a:pt x="978949" y="1377880"/>
                  </a:lnTo>
                  <a:lnTo>
                    <a:pt x="1092752" y="1377880"/>
                  </a:lnTo>
                  <a:lnTo>
                    <a:pt x="1092752" y="1476513"/>
                  </a:lnTo>
                  <a:lnTo>
                    <a:pt x="1157850" y="1476513"/>
                  </a:lnTo>
                  <a:lnTo>
                    <a:pt x="1157813" y="1476843"/>
                  </a:lnTo>
                  <a:lnTo>
                    <a:pt x="1261288" y="1476843"/>
                  </a:lnTo>
                  <a:cubicBezTo>
                    <a:pt x="1282830" y="1475853"/>
                    <a:pt x="1303077" y="1467152"/>
                    <a:pt x="1313785" y="1446249"/>
                  </a:cubicBezTo>
                  <a:cubicBezTo>
                    <a:pt x="1323298" y="1407448"/>
                    <a:pt x="1317143" y="1393306"/>
                    <a:pt x="1310428" y="1363473"/>
                  </a:cubicBezTo>
                  <a:lnTo>
                    <a:pt x="1429267" y="1363473"/>
                  </a:lnTo>
                  <a:cubicBezTo>
                    <a:pt x="1438337" y="1399658"/>
                    <a:pt x="1455801" y="1498051"/>
                    <a:pt x="1428499" y="1550488"/>
                  </a:cubicBezTo>
                  <a:cubicBezTo>
                    <a:pt x="1405626" y="1600925"/>
                    <a:pt x="1349737" y="1621660"/>
                    <a:pt x="1292730" y="1626144"/>
                  </a:cubicBezTo>
                  <a:lnTo>
                    <a:pt x="1292688" y="1625958"/>
                  </a:lnTo>
                  <a:lnTo>
                    <a:pt x="1141411" y="1625958"/>
                  </a:lnTo>
                  <a:lnTo>
                    <a:pt x="1092752" y="1625958"/>
                  </a:lnTo>
                  <a:lnTo>
                    <a:pt x="1092752" y="1684406"/>
                  </a:lnTo>
                  <a:lnTo>
                    <a:pt x="978949" y="1684406"/>
                  </a:lnTo>
                  <a:lnTo>
                    <a:pt x="978949" y="1625958"/>
                  </a:lnTo>
                  <a:lnTo>
                    <a:pt x="854956" y="1625958"/>
                  </a:lnTo>
                  <a:close/>
                  <a:moveTo>
                    <a:pt x="816818" y="843059"/>
                  </a:moveTo>
                  <a:lnTo>
                    <a:pt x="816818" y="692384"/>
                  </a:lnTo>
                  <a:lnTo>
                    <a:pt x="1431393" y="692384"/>
                  </a:lnTo>
                  <a:lnTo>
                    <a:pt x="1431393" y="843059"/>
                  </a:lnTo>
                  <a:close/>
                  <a:moveTo>
                    <a:pt x="816818" y="1899508"/>
                  </a:moveTo>
                  <a:lnTo>
                    <a:pt x="816818" y="1749106"/>
                  </a:lnTo>
                  <a:lnTo>
                    <a:pt x="935732" y="1749106"/>
                  </a:lnTo>
                  <a:lnTo>
                    <a:pt x="935732" y="1899508"/>
                  </a:lnTo>
                  <a:close/>
                  <a:moveTo>
                    <a:pt x="816818" y="2639199"/>
                  </a:moveTo>
                  <a:lnTo>
                    <a:pt x="816818" y="2488797"/>
                  </a:lnTo>
                  <a:lnTo>
                    <a:pt x="935732" y="2488797"/>
                  </a:lnTo>
                  <a:lnTo>
                    <a:pt x="935732" y="2639199"/>
                  </a:lnTo>
                  <a:close/>
                  <a:moveTo>
                    <a:pt x="807392" y="3056209"/>
                  </a:moveTo>
                  <a:cubicBezTo>
                    <a:pt x="799581" y="2834134"/>
                    <a:pt x="939743" y="2693561"/>
                    <a:pt x="1122802" y="2699512"/>
                  </a:cubicBezTo>
                  <a:cubicBezTo>
                    <a:pt x="1305861" y="2705464"/>
                    <a:pt x="1418127" y="2808469"/>
                    <a:pt x="1430401" y="3038355"/>
                  </a:cubicBezTo>
                  <a:cubicBezTo>
                    <a:pt x="1432633" y="3104810"/>
                    <a:pt x="1430401" y="3173496"/>
                    <a:pt x="1430401" y="3241066"/>
                  </a:cubicBezTo>
                  <a:lnTo>
                    <a:pt x="815203" y="3241066"/>
                  </a:lnTo>
                  <a:cubicBezTo>
                    <a:pt x="808508" y="3153039"/>
                    <a:pt x="807392" y="3146467"/>
                    <a:pt x="807392" y="3056209"/>
                  </a:cubicBezTo>
                  <a:close/>
                  <a:moveTo>
                    <a:pt x="277319" y="1667638"/>
                  </a:moveTo>
                  <a:cubicBezTo>
                    <a:pt x="278214" y="1713801"/>
                    <a:pt x="322476" y="1748700"/>
                    <a:pt x="403497" y="1749473"/>
                  </a:cubicBezTo>
                  <a:cubicBezTo>
                    <a:pt x="484518" y="1750246"/>
                    <a:pt x="529674" y="1712834"/>
                    <a:pt x="529674" y="1667638"/>
                  </a:cubicBezTo>
                  <a:cubicBezTo>
                    <a:pt x="529674" y="1622442"/>
                    <a:pt x="481535" y="1587156"/>
                    <a:pt x="403497" y="1585803"/>
                  </a:cubicBezTo>
                  <a:cubicBezTo>
                    <a:pt x="322476" y="1585996"/>
                    <a:pt x="276424" y="1621476"/>
                    <a:pt x="277319" y="1667638"/>
                  </a:cubicBezTo>
                  <a:close/>
                  <a:moveTo>
                    <a:pt x="268712" y="215456"/>
                  </a:moveTo>
                  <a:cubicBezTo>
                    <a:pt x="268896" y="256534"/>
                    <a:pt x="304278" y="289736"/>
                    <a:pt x="347846" y="289714"/>
                  </a:cubicBezTo>
                  <a:lnTo>
                    <a:pt x="347253" y="140569"/>
                  </a:lnTo>
                  <a:cubicBezTo>
                    <a:pt x="303657" y="140856"/>
                    <a:pt x="268528" y="174351"/>
                    <a:pt x="268712" y="215456"/>
                  </a:cubicBezTo>
                  <a:close/>
                  <a:moveTo>
                    <a:pt x="268712" y="2414900"/>
                  </a:moveTo>
                  <a:cubicBezTo>
                    <a:pt x="268896" y="2455978"/>
                    <a:pt x="304278" y="2489180"/>
                    <a:pt x="347846" y="2489158"/>
                  </a:cubicBezTo>
                  <a:lnTo>
                    <a:pt x="347253" y="2340014"/>
                  </a:lnTo>
                  <a:cubicBezTo>
                    <a:pt x="303657" y="2340300"/>
                    <a:pt x="268528" y="2373795"/>
                    <a:pt x="268712" y="2414900"/>
                  </a:cubicBezTo>
                  <a:close/>
                  <a:moveTo>
                    <a:pt x="172060" y="1359711"/>
                  </a:moveTo>
                  <a:lnTo>
                    <a:pt x="172060" y="1206797"/>
                  </a:lnTo>
                  <a:lnTo>
                    <a:pt x="634189" y="1206797"/>
                  </a:lnTo>
                  <a:lnTo>
                    <a:pt x="634189" y="1359711"/>
                  </a:lnTo>
                  <a:close/>
                  <a:moveTo>
                    <a:pt x="163022" y="1666309"/>
                  </a:moveTo>
                  <a:cubicBezTo>
                    <a:pt x="161327" y="1531346"/>
                    <a:pt x="248546" y="1427617"/>
                    <a:pt x="401996" y="1427052"/>
                  </a:cubicBezTo>
                  <a:cubicBezTo>
                    <a:pt x="549796" y="1431007"/>
                    <a:pt x="640970" y="1534171"/>
                    <a:pt x="640970" y="1666309"/>
                  </a:cubicBezTo>
                  <a:cubicBezTo>
                    <a:pt x="640970" y="1798446"/>
                    <a:pt x="555445" y="1907825"/>
                    <a:pt x="401996" y="1905565"/>
                  </a:cubicBezTo>
                  <a:cubicBezTo>
                    <a:pt x="248546" y="1903305"/>
                    <a:pt x="164717" y="1801271"/>
                    <a:pt x="163022" y="1666309"/>
                  </a:cubicBezTo>
                  <a:close/>
                  <a:moveTo>
                    <a:pt x="162567" y="219668"/>
                  </a:moveTo>
                  <a:cubicBezTo>
                    <a:pt x="161194" y="181485"/>
                    <a:pt x="168463" y="141841"/>
                    <a:pt x="185008" y="106623"/>
                  </a:cubicBezTo>
                  <a:cubicBezTo>
                    <a:pt x="222873" y="40259"/>
                    <a:pt x="290907" y="-17619"/>
                    <a:pt x="449496" y="4979"/>
                  </a:cubicBezTo>
                  <a:lnTo>
                    <a:pt x="449010" y="286976"/>
                  </a:lnTo>
                  <a:cubicBezTo>
                    <a:pt x="549031" y="265113"/>
                    <a:pt x="530041" y="129942"/>
                    <a:pt x="505989" y="50458"/>
                  </a:cubicBezTo>
                  <a:lnTo>
                    <a:pt x="611070" y="27013"/>
                  </a:lnTo>
                  <a:cubicBezTo>
                    <a:pt x="640447" y="82943"/>
                    <a:pt x="652876" y="219096"/>
                    <a:pt x="624629" y="291409"/>
                  </a:cubicBezTo>
                  <a:cubicBezTo>
                    <a:pt x="604414" y="341383"/>
                    <a:pt x="562993" y="415354"/>
                    <a:pt x="448760" y="431637"/>
                  </a:cubicBezTo>
                  <a:cubicBezTo>
                    <a:pt x="448759" y="431770"/>
                    <a:pt x="448759" y="431902"/>
                    <a:pt x="448759" y="432034"/>
                  </a:cubicBezTo>
                  <a:cubicBezTo>
                    <a:pt x="312766" y="450254"/>
                    <a:pt x="228491" y="383457"/>
                    <a:pt x="191982" y="323951"/>
                  </a:cubicBezTo>
                  <a:cubicBezTo>
                    <a:pt x="173957" y="294574"/>
                    <a:pt x="163941" y="257851"/>
                    <a:pt x="162567" y="219668"/>
                  </a:cubicBezTo>
                  <a:close/>
                  <a:moveTo>
                    <a:pt x="162567" y="2419112"/>
                  </a:moveTo>
                  <a:cubicBezTo>
                    <a:pt x="161194" y="2380929"/>
                    <a:pt x="168463" y="2341285"/>
                    <a:pt x="185008" y="2306067"/>
                  </a:cubicBezTo>
                  <a:cubicBezTo>
                    <a:pt x="222873" y="2239703"/>
                    <a:pt x="290907" y="2181825"/>
                    <a:pt x="449496" y="2204423"/>
                  </a:cubicBezTo>
                  <a:lnTo>
                    <a:pt x="449010" y="2486420"/>
                  </a:lnTo>
                  <a:cubicBezTo>
                    <a:pt x="549031" y="2464557"/>
                    <a:pt x="530041" y="2329387"/>
                    <a:pt x="505989" y="2249903"/>
                  </a:cubicBezTo>
                  <a:lnTo>
                    <a:pt x="611070" y="2226457"/>
                  </a:lnTo>
                  <a:cubicBezTo>
                    <a:pt x="640447" y="2282387"/>
                    <a:pt x="652876" y="2418540"/>
                    <a:pt x="624629" y="2490853"/>
                  </a:cubicBezTo>
                  <a:cubicBezTo>
                    <a:pt x="604414" y="2540827"/>
                    <a:pt x="562993" y="2614798"/>
                    <a:pt x="448760" y="2631081"/>
                  </a:cubicBezTo>
                  <a:cubicBezTo>
                    <a:pt x="448759" y="2631214"/>
                    <a:pt x="448759" y="2631346"/>
                    <a:pt x="448759" y="2631478"/>
                  </a:cubicBezTo>
                  <a:cubicBezTo>
                    <a:pt x="312766" y="2649698"/>
                    <a:pt x="228491" y="2582901"/>
                    <a:pt x="191982" y="2523395"/>
                  </a:cubicBezTo>
                  <a:cubicBezTo>
                    <a:pt x="173957" y="2494018"/>
                    <a:pt x="163941" y="2457295"/>
                    <a:pt x="162567" y="2419112"/>
                  </a:cubicBezTo>
                  <a:close/>
                  <a:moveTo>
                    <a:pt x="125334" y="3045870"/>
                  </a:moveTo>
                  <a:cubicBezTo>
                    <a:pt x="125239" y="3053574"/>
                    <a:pt x="125599" y="3055429"/>
                    <a:pt x="128191" y="3079718"/>
                  </a:cubicBezTo>
                  <a:lnTo>
                    <a:pt x="509286" y="3079718"/>
                  </a:lnTo>
                  <a:cubicBezTo>
                    <a:pt x="509286" y="3049887"/>
                    <a:pt x="510668" y="3042162"/>
                    <a:pt x="509286" y="3012825"/>
                  </a:cubicBezTo>
                  <a:cubicBezTo>
                    <a:pt x="501682" y="2911336"/>
                    <a:pt x="429010" y="2842901"/>
                    <a:pt x="318739" y="2840636"/>
                  </a:cubicBezTo>
                  <a:cubicBezTo>
                    <a:pt x="208467" y="2838372"/>
                    <a:pt x="120773" y="2921536"/>
                    <a:pt x="125612" y="3019576"/>
                  </a:cubicBezTo>
                  <a:cubicBezTo>
                    <a:pt x="125612" y="3034519"/>
                    <a:pt x="125391" y="3041247"/>
                    <a:pt x="125334" y="3045870"/>
                  </a:cubicBezTo>
                  <a:close/>
                  <a:moveTo>
                    <a:pt x="30070" y="579629"/>
                  </a:moveTo>
                  <a:lnTo>
                    <a:pt x="171850" y="579629"/>
                  </a:lnTo>
                  <a:lnTo>
                    <a:pt x="171850" y="480198"/>
                  </a:lnTo>
                  <a:lnTo>
                    <a:pt x="286746" y="480198"/>
                  </a:lnTo>
                  <a:lnTo>
                    <a:pt x="286746" y="579629"/>
                  </a:lnTo>
                  <a:lnTo>
                    <a:pt x="352468" y="579629"/>
                  </a:lnTo>
                  <a:lnTo>
                    <a:pt x="352431" y="579961"/>
                  </a:lnTo>
                  <a:lnTo>
                    <a:pt x="456898" y="579961"/>
                  </a:lnTo>
                  <a:cubicBezTo>
                    <a:pt x="478648" y="578963"/>
                    <a:pt x="499089" y="570193"/>
                    <a:pt x="509901" y="549120"/>
                  </a:cubicBezTo>
                  <a:cubicBezTo>
                    <a:pt x="519505" y="510005"/>
                    <a:pt x="513291" y="495749"/>
                    <a:pt x="506511" y="465675"/>
                  </a:cubicBezTo>
                  <a:lnTo>
                    <a:pt x="626491" y="465675"/>
                  </a:lnTo>
                  <a:cubicBezTo>
                    <a:pt x="635648" y="502152"/>
                    <a:pt x="653280" y="601340"/>
                    <a:pt x="625715" y="654202"/>
                  </a:cubicBezTo>
                  <a:cubicBezTo>
                    <a:pt x="602623" y="705046"/>
                    <a:pt x="546198" y="725949"/>
                    <a:pt x="488643" y="730469"/>
                  </a:cubicBezTo>
                  <a:lnTo>
                    <a:pt x="488601" y="730282"/>
                  </a:lnTo>
                  <a:lnTo>
                    <a:pt x="335896" y="730282"/>
                  </a:lnTo>
                  <a:lnTo>
                    <a:pt x="286746" y="730282"/>
                  </a:lnTo>
                  <a:lnTo>
                    <a:pt x="286746" y="789203"/>
                  </a:lnTo>
                  <a:lnTo>
                    <a:pt x="171850" y="789203"/>
                  </a:lnTo>
                  <a:lnTo>
                    <a:pt x="171850" y="730282"/>
                  </a:lnTo>
                  <a:lnTo>
                    <a:pt x="46642" y="730282"/>
                  </a:lnTo>
                  <a:close/>
                  <a:moveTo>
                    <a:pt x="30070" y="933498"/>
                  </a:moveTo>
                  <a:lnTo>
                    <a:pt x="171850" y="933498"/>
                  </a:lnTo>
                  <a:lnTo>
                    <a:pt x="171850" y="834067"/>
                  </a:lnTo>
                  <a:lnTo>
                    <a:pt x="286746" y="834067"/>
                  </a:lnTo>
                  <a:lnTo>
                    <a:pt x="286746" y="933498"/>
                  </a:lnTo>
                  <a:lnTo>
                    <a:pt x="352468" y="933498"/>
                  </a:lnTo>
                  <a:lnTo>
                    <a:pt x="352431" y="933830"/>
                  </a:lnTo>
                  <a:lnTo>
                    <a:pt x="456898" y="933830"/>
                  </a:lnTo>
                  <a:cubicBezTo>
                    <a:pt x="478648" y="932832"/>
                    <a:pt x="499089" y="924062"/>
                    <a:pt x="509901" y="902989"/>
                  </a:cubicBezTo>
                  <a:cubicBezTo>
                    <a:pt x="519505" y="863874"/>
                    <a:pt x="513291" y="849618"/>
                    <a:pt x="506511" y="819544"/>
                  </a:cubicBezTo>
                  <a:lnTo>
                    <a:pt x="626491" y="819544"/>
                  </a:lnTo>
                  <a:cubicBezTo>
                    <a:pt x="635648" y="856021"/>
                    <a:pt x="653280" y="955209"/>
                    <a:pt x="625715" y="1008071"/>
                  </a:cubicBezTo>
                  <a:cubicBezTo>
                    <a:pt x="602623" y="1058915"/>
                    <a:pt x="546198" y="1079818"/>
                    <a:pt x="488643" y="1084338"/>
                  </a:cubicBezTo>
                  <a:lnTo>
                    <a:pt x="488601" y="1084151"/>
                  </a:lnTo>
                  <a:lnTo>
                    <a:pt x="335896" y="1084151"/>
                  </a:lnTo>
                  <a:lnTo>
                    <a:pt x="286746" y="1084151"/>
                  </a:lnTo>
                  <a:lnTo>
                    <a:pt x="286746" y="1143072"/>
                  </a:lnTo>
                  <a:lnTo>
                    <a:pt x="171850" y="1143072"/>
                  </a:lnTo>
                  <a:lnTo>
                    <a:pt x="171850" y="1084151"/>
                  </a:lnTo>
                  <a:lnTo>
                    <a:pt x="46642" y="1084151"/>
                  </a:lnTo>
                  <a:close/>
                  <a:moveTo>
                    <a:pt x="10484" y="2129850"/>
                  </a:moveTo>
                  <a:lnTo>
                    <a:pt x="10484" y="1976937"/>
                  </a:lnTo>
                  <a:lnTo>
                    <a:pt x="634189" y="1976937"/>
                  </a:lnTo>
                  <a:lnTo>
                    <a:pt x="634189" y="2129850"/>
                  </a:lnTo>
                  <a:close/>
                  <a:moveTo>
                    <a:pt x="9354" y="1363100"/>
                  </a:moveTo>
                  <a:lnTo>
                    <a:pt x="9354" y="1210187"/>
                  </a:lnTo>
                  <a:lnTo>
                    <a:pt x="130253" y="1210187"/>
                  </a:lnTo>
                  <a:lnTo>
                    <a:pt x="130253" y="1363100"/>
                  </a:lnTo>
                  <a:close/>
                  <a:moveTo>
                    <a:pt x="315" y="3043938"/>
                  </a:moveTo>
                  <a:cubicBezTo>
                    <a:pt x="-7594" y="2819064"/>
                    <a:pt x="134334" y="2676721"/>
                    <a:pt x="319701" y="2682747"/>
                  </a:cubicBezTo>
                  <a:cubicBezTo>
                    <a:pt x="505067" y="2688773"/>
                    <a:pt x="618748" y="2793077"/>
                    <a:pt x="631177" y="3025860"/>
                  </a:cubicBezTo>
                  <a:cubicBezTo>
                    <a:pt x="633436" y="3093152"/>
                    <a:pt x="631176" y="3162703"/>
                    <a:pt x="631176" y="3231125"/>
                  </a:cubicBezTo>
                  <a:lnTo>
                    <a:pt x="8225" y="3231125"/>
                  </a:lnTo>
                  <a:cubicBezTo>
                    <a:pt x="1445" y="3141988"/>
                    <a:pt x="315" y="3135334"/>
                    <a:pt x="315" y="304393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Oval 6"/>
            <p:cNvSpPr/>
            <p:nvPr/>
          </p:nvSpPr>
          <p:spPr>
            <a:xfrm>
              <a:off x="8601487" y="5245394"/>
              <a:ext cx="169485" cy="16948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1158730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5306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dirty="0"/>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1731071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F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0487278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60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7" name="Rectangle 6"/>
          <p:cNvSpPr/>
          <p:nvPr userDrawn="1"/>
        </p:nvSpPr>
        <p:spPr>
          <a:xfrm>
            <a:off x="0" y="4162420"/>
            <a:ext cx="12192000" cy="2695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endParaRPr lang="en-US" sz="1800" dirty="0">
              <a:solidFill>
                <a:srgbClr val="FFFFFF"/>
              </a:solidFill>
              <a:latin typeface="Open Sans" panose="020B0606030504020204" pitchFamily="34" charset="0"/>
              <a:cs typeface="Open Sans" panose="020B0606030504020204" pitchFamily="34" charset="0"/>
              <a:sym typeface="Open Sans" panose="020B0606030504020204" pitchFamily="34" charset="0"/>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Structural Title...</a:t>
            </a:r>
          </a:p>
        </p:txBody>
      </p:sp>
      <p:sp>
        <p:nvSpPr>
          <p:cNvPr id="13" name="Footer Placeholder 4"/>
          <p:cNvSpPr>
            <a:spLocks noGrp="1"/>
          </p:cNvSpPr>
          <p:nvPr>
            <p:ph type="ftr" sz="quarter" idx="3"/>
          </p:nvPr>
        </p:nvSpPr>
        <p:spPr>
          <a:xfrm>
            <a:off x="6096004" y="6578600"/>
            <a:ext cx="5530533" cy="180000"/>
          </a:xfrm>
          <a:prstGeom prst="rect">
            <a:avLst/>
          </a:prstGeom>
        </p:spPr>
        <p:txBody>
          <a:bodyPr vert="horz" lIns="91440" tIns="45720" rIns="91440" bIns="45720" rtlCol="0" anchor="ctr"/>
          <a:lstStyle>
            <a:lvl1pPr algn="r">
              <a:defRPr sz="800" b="0">
                <a:solidFill>
                  <a:schemeClr val="tx1">
                    <a:tint val="75000"/>
                  </a:schemeClr>
                </a:solidFill>
                <a:latin typeface="Frutiger Next Pro Light" pitchFamily="34" charset="0"/>
              </a:defRPr>
            </a:lvl1pPr>
          </a:lstStyle>
          <a:p>
            <a:r>
              <a:rPr lang="en-US" dirty="0"/>
              <a:t>Deloitte Digital Germany Template A4 | 05/2015</a:t>
            </a:r>
          </a:p>
        </p:txBody>
      </p:sp>
      <p:sp>
        <p:nvSpPr>
          <p:cNvPr id="14" name="TextBox 13"/>
          <p:cNvSpPr txBox="1"/>
          <p:nvPr userDrawn="1"/>
        </p:nvSpPr>
        <p:spPr>
          <a:xfrm>
            <a:off x="561365" y="312912"/>
            <a:ext cx="4250959" cy="230832"/>
          </a:xfrm>
          <a:prstGeom prst="rect">
            <a:avLst/>
          </a:prstGeom>
          <a:noFill/>
        </p:spPr>
        <p:txBody>
          <a:bodyPr wrap="square" lIns="36000" tIns="45720" rIns="36000" bIns="4572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accent3">
                    <a:lumMod val="75000"/>
                  </a:schemeClr>
                </a:solidFill>
                <a:latin typeface="+mn-lt"/>
                <a:ea typeface="+mn-ea"/>
                <a:cs typeface="Open Sans" panose="020B0606030504020204" pitchFamily="34" charset="0"/>
              </a:rPr>
              <a:t>Deloitte Digital – Client X Omnichannel Strategy Approach</a:t>
            </a:r>
          </a:p>
        </p:txBody>
      </p:sp>
      <p:sp>
        <p:nvSpPr>
          <p:cNvPr id="15" name="TextBox 14"/>
          <p:cNvSpPr txBox="1"/>
          <p:nvPr userDrawn="1"/>
        </p:nvSpPr>
        <p:spPr>
          <a:xfrm>
            <a:off x="11304511" y="312912"/>
            <a:ext cx="325730" cy="230832"/>
          </a:xfrm>
          <a:prstGeom prst="rect">
            <a:avLst/>
          </a:prstGeom>
          <a:noFill/>
        </p:spPr>
        <p:txBody>
          <a:bodyPr wrap="none" lIns="91440" tIns="45720" rIns="91440" bIns="45720" rtlCol="0">
            <a:spAutoFit/>
          </a:bodyPr>
          <a:lstStyle/>
          <a:p>
            <a:pPr algn="r"/>
            <a:fld id="{B10D5614-B734-4280-8F57-1D4947433C97}" type="slidenum">
              <a:rPr lang="en-US" sz="900" smtClean="0">
                <a:solidFill>
                  <a:schemeClr val="accent3">
                    <a:lumMod val="75000"/>
                  </a:schemeClr>
                </a:solidFill>
                <a:latin typeface="+mn-lt"/>
                <a:cs typeface="Open Sans" panose="020B0606030504020204" pitchFamily="34" charset="0"/>
              </a:rPr>
              <a:pPr algn="r"/>
              <a:t>‹#›</a:t>
            </a:fld>
            <a:endParaRPr lang="en-US" sz="900" dirty="0">
              <a:solidFill>
                <a:schemeClr val="accent3">
                  <a:lumMod val="75000"/>
                </a:schemeClr>
              </a:solidFill>
              <a:latin typeface="+mn-lt"/>
              <a:cs typeface="Open Sans" panose="020B0606030504020204" pitchFamily="34" charset="0"/>
            </a:endParaRPr>
          </a:p>
        </p:txBody>
      </p:sp>
      <p:cxnSp>
        <p:nvCxnSpPr>
          <p:cNvPr id="18" name="Straight Connector 17"/>
          <p:cNvCxnSpPr/>
          <p:nvPr userDrawn="1"/>
        </p:nvCxnSpPr>
        <p:spPr>
          <a:xfrm flipH="1">
            <a:off x="553846" y="540000"/>
            <a:ext cx="11078306" cy="0"/>
          </a:xfrm>
          <a:prstGeom prst="line">
            <a:avLst/>
          </a:prstGeom>
          <a:ln w="3175" cmpd="sng">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5506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eferenc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3505537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710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1" name="Picture Placeholder 4"/>
          <p:cNvSpPr>
            <a:spLocks noGrp="1"/>
          </p:cNvSpPr>
          <p:nvPr>
            <p:ph type="pic" sz="quarter" idx="10" hasCustomPrompt="1"/>
          </p:nvPr>
        </p:nvSpPr>
        <p:spPr>
          <a:xfrm>
            <a:off x="0" y="0"/>
            <a:ext cx="12192000" cy="6858000"/>
          </a:xfrm>
        </p:spPr>
        <p:txBody>
          <a:bodyPr/>
          <a:lstStyle>
            <a:lvl1pPr marL="0" indent="0" algn="r">
              <a:buNone/>
              <a:defRPr/>
            </a:lvl1pPr>
          </a:lstStyle>
          <a:p>
            <a:r>
              <a:rPr lang="en-US" dirty="0"/>
              <a:t>Background Image</a:t>
            </a:r>
          </a:p>
        </p:txBody>
      </p:sp>
      <p:sp>
        <p:nvSpPr>
          <p:cNvPr id="15" name="TextBox 14"/>
          <p:cNvSpPr txBox="1"/>
          <p:nvPr userDrawn="1"/>
        </p:nvSpPr>
        <p:spPr>
          <a:xfrm>
            <a:off x="11304511" y="312912"/>
            <a:ext cx="325730" cy="230832"/>
          </a:xfrm>
          <a:prstGeom prst="rect">
            <a:avLst/>
          </a:prstGeom>
          <a:noFill/>
        </p:spPr>
        <p:txBody>
          <a:bodyPr wrap="none" lIns="91440" tIns="45720" rIns="91440" bIns="45720" rtlCol="0">
            <a:spAutoFit/>
          </a:bodyPr>
          <a:lstStyle/>
          <a:p>
            <a:pPr algn="r"/>
            <a:fld id="{B10D5614-B734-4280-8F57-1D4947433C97}" type="slidenum">
              <a:rPr lang="en-US" sz="900" smtClean="0">
                <a:solidFill>
                  <a:schemeClr val="bg1">
                    <a:lumMod val="85000"/>
                  </a:schemeClr>
                </a:solidFill>
                <a:latin typeface="+mn-lt"/>
                <a:cs typeface="Open Sans" panose="020B0606030504020204" pitchFamily="34" charset="0"/>
              </a:rPr>
              <a:pPr algn="r"/>
              <a:t>‹#›</a:t>
            </a:fld>
            <a:endParaRPr lang="en-US" sz="900" dirty="0">
              <a:solidFill>
                <a:schemeClr val="bg1">
                  <a:lumMod val="85000"/>
                </a:schemeClr>
              </a:solidFill>
              <a:latin typeface="+mn-lt"/>
              <a:cs typeface="Open Sans" panose="020B0606030504020204" pitchFamily="34" charset="0"/>
            </a:endParaRPr>
          </a:p>
        </p:txBody>
      </p:sp>
      <p:cxnSp>
        <p:nvCxnSpPr>
          <p:cNvPr id="18" name="Straight Connector 17"/>
          <p:cNvCxnSpPr/>
          <p:nvPr userDrawn="1"/>
        </p:nvCxnSpPr>
        <p:spPr>
          <a:xfrm flipH="1">
            <a:off x="553846" y="540000"/>
            <a:ext cx="11078306" cy="0"/>
          </a:xfrm>
          <a:prstGeom prst="line">
            <a:avLst/>
          </a:prstGeom>
          <a:ln w="3175"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p:cNvSpPr/>
          <p:nvPr userDrawn="1"/>
        </p:nvSpPr>
        <p:spPr>
          <a:xfrm>
            <a:off x="0" y="0"/>
            <a:ext cx="6092999" cy="6858000"/>
          </a:xfrm>
          <a:prstGeom prst="rect">
            <a:avLst/>
          </a:prstGeom>
          <a:solidFill>
            <a:srgbClr val="0000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white"/>
              </a:solidFill>
              <a:latin typeface="Open Sans" panose="020B0606030504020204" pitchFamily="34" charset="0"/>
              <a:cs typeface="Open Sans" panose="020B0606030504020204" pitchFamily="34" charset="0"/>
              <a:sym typeface="Open Sans" panose="020B0606030504020204" pitchFamily="34" charset="0"/>
            </a:endParaRPr>
          </a:p>
        </p:txBody>
      </p:sp>
      <p:sp>
        <p:nvSpPr>
          <p:cNvPr id="4" name="Picture Placeholder 3"/>
          <p:cNvSpPr>
            <a:spLocks noGrp="1"/>
          </p:cNvSpPr>
          <p:nvPr>
            <p:ph type="pic" sz="quarter" idx="11" hasCustomPrompt="1"/>
          </p:nvPr>
        </p:nvSpPr>
        <p:spPr>
          <a:xfrm>
            <a:off x="553846" y="539750"/>
            <a:ext cx="5228492" cy="469900"/>
          </a:xfrm>
        </p:spPr>
        <p:txBody>
          <a:bodyPr/>
          <a:lstStyle>
            <a:lvl1pPr marL="0" indent="0">
              <a:buNone/>
              <a:defRPr/>
            </a:lvl1pPr>
          </a:lstStyle>
          <a:p>
            <a:r>
              <a:rPr lang="de-DE" dirty="0"/>
              <a:t>Logo (</a:t>
            </a:r>
            <a:r>
              <a:rPr lang="de-DE" dirty="0" err="1"/>
              <a:t>white</a:t>
            </a:r>
            <a:r>
              <a:rPr lang="de-DE" dirty="0"/>
              <a:t>)</a:t>
            </a:r>
          </a:p>
        </p:txBody>
      </p:sp>
      <p:sp>
        <p:nvSpPr>
          <p:cNvPr id="16" name="Title 1"/>
          <p:cNvSpPr>
            <a:spLocks noGrp="1"/>
          </p:cNvSpPr>
          <p:nvPr>
            <p:ph type="title" hasCustomPrompt="1"/>
          </p:nvPr>
        </p:nvSpPr>
        <p:spPr>
          <a:xfrm>
            <a:off x="553846" y="1351967"/>
            <a:ext cx="5228492" cy="376821"/>
          </a:xfrm>
        </p:spPr>
        <p:txBody>
          <a:bodyPr anchor="b"/>
          <a:lstStyle>
            <a:lvl1pPr>
              <a:defRPr sz="2000">
                <a:solidFill>
                  <a:schemeClr val="bg1"/>
                </a:solidFill>
              </a:defRPr>
            </a:lvl1pPr>
          </a:lstStyle>
          <a:p>
            <a:r>
              <a:rPr lang="en-US" dirty="0"/>
              <a:t>Structural Title...</a:t>
            </a:r>
          </a:p>
        </p:txBody>
      </p:sp>
      <p:sp>
        <p:nvSpPr>
          <p:cNvPr id="8" name="Text Placeholder 7"/>
          <p:cNvSpPr>
            <a:spLocks noGrp="1"/>
          </p:cNvSpPr>
          <p:nvPr>
            <p:ph type="body" sz="quarter" idx="12" hasCustomPrompt="1"/>
          </p:nvPr>
        </p:nvSpPr>
        <p:spPr>
          <a:xfrm>
            <a:off x="558800" y="1728788"/>
            <a:ext cx="5228492" cy="4857750"/>
          </a:xfrm>
        </p:spPr>
        <p:txBody>
          <a:bodyPr>
            <a:noAutofit/>
          </a:bodyPr>
          <a:lstStyle>
            <a:lvl1pPr marL="0" indent="0">
              <a:lnSpc>
                <a:spcPct val="100000"/>
              </a:lnSpc>
              <a:spcBef>
                <a:spcPts val="1000"/>
              </a:spcBef>
              <a:buNone/>
              <a:defRPr sz="1400"/>
            </a:lvl1pPr>
          </a:lstStyle>
          <a:p>
            <a:pPr>
              <a:lnSpc>
                <a:spcPct val="120000"/>
              </a:lnSpc>
            </a:pPr>
            <a:r>
              <a:rPr lang="en-US" sz="1200" dirty="0">
                <a:solidFill>
                  <a:srgbClr val="92D400"/>
                </a:solidFill>
                <a:latin typeface="Frutiger Next Pro Medium"/>
                <a:cs typeface="Frutiger Next Pro Medium"/>
              </a:rPr>
              <a:t>Issue</a:t>
            </a:r>
          </a:p>
          <a:p>
            <a:pPr>
              <a:lnSpc>
                <a:spcPct val="120000"/>
              </a:lnSpc>
            </a:pPr>
            <a:r>
              <a:rPr lang="en-US" sz="800" dirty="0">
                <a:solidFill>
                  <a:srgbClr val="FFFFFF"/>
                </a:solidFill>
                <a:latin typeface="+mn-lt"/>
                <a:ea typeface="ヒラギノ角ゴ ProN W3" charset="0"/>
                <a:cs typeface="Frutiger Next Pro Light"/>
              </a:rPr>
              <a:t>Lorem ipsum dolor sit </a:t>
            </a:r>
            <a:r>
              <a:rPr lang="en-US" sz="800" dirty="0" err="1">
                <a:solidFill>
                  <a:srgbClr val="FFFFFF"/>
                </a:solidFill>
                <a:latin typeface="+mn-lt"/>
                <a:ea typeface="ヒラギノ角ゴ ProN W3" charset="0"/>
                <a:cs typeface="Frutiger Next Pro Light"/>
              </a:rPr>
              <a:t>ame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nsectetuer</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dipiscing</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li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mmodo</a:t>
            </a:r>
            <a:r>
              <a:rPr lang="en-US" sz="800" dirty="0">
                <a:solidFill>
                  <a:srgbClr val="FFFFFF"/>
                </a:solidFill>
                <a:latin typeface="+mn-lt"/>
                <a:ea typeface="ヒラギノ角ゴ ProN W3" charset="0"/>
                <a:cs typeface="Frutiger Next Pro Light"/>
              </a:rPr>
              <a:t> ligula </a:t>
            </a:r>
            <a:r>
              <a:rPr lang="en-US" sz="800" dirty="0" err="1">
                <a:solidFill>
                  <a:srgbClr val="FFFFFF"/>
                </a:solidFill>
                <a:latin typeface="+mn-lt"/>
                <a:ea typeface="ヒラギノ角ゴ ProN W3" charset="0"/>
                <a:cs typeface="Frutiger Next Pro Light"/>
              </a:rPr>
              <a:t>eget</a:t>
            </a:r>
            <a:r>
              <a:rPr lang="en-US" sz="800" dirty="0">
                <a:solidFill>
                  <a:srgbClr val="FFFFFF"/>
                </a:solidFill>
                <a:latin typeface="+mn-lt"/>
                <a:ea typeface="ヒラギノ角ゴ ProN W3" charset="0"/>
                <a:cs typeface="Frutiger Next Pro Light"/>
              </a:rPr>
              <a:t> dolor.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massa</a:t>
            </a:r>
            <a:r>
              <a:rPr lang="en-US" sz="800" dirty="0">
                <a:solidFill>
                  <a:srgbClr val="FFFFFF"/>
                </a:solidFill>
                <a:latin typeface="+mn-lt"/>
                <a:ea typeface="ヒラギノ角ゴ ProN W3" charset="0"/>
                <a:cs typeface="Frutiger Next Pro Light"/>
              </a:rPr>
              <a:t>. Cum </a:t>
            </a:r>
            <a:r>
              <a:rPr lang="en-US" sz="800" dirty="0" err="1">
                <a:solidFill>
                  <a:srgbClr val="FFFFFF"/>
                </a:solidFill>
                <a:latin typeface="+mn-lt"/>
                <a:ea typeface="ヒラギノ角ゴ ProN W3" charset="0"/>
                <a:cs typeface="Frutiger Next Pro Light"/>
              </a:rPr>
              <a:t>soci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atoqu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natibus</a:t>
            </a:r>
            <a:r>
              <a:rPr lang="en-US" sz="800" dirty="0">
                <a:solidFill>
                  <a:srgbClr val="FFFFFF"/>
                </a:solidFill>
                <a:latin typeface="+mn-lt"/>
                <a:ea typeface="ヒラギノ角ゴ ProN W3" charset="0"/>
                <a:cs typeface="Frutiger Next Pro Light"/>
              </a:rPr>
              <a:t> et </a:t>
            </a:r>
            <a:r>
              <a:rPr lang="en-US" sz="800" dirty="0" err="1">
                <a:solidFill>
                  <a:srgbClr val="FFFFFF"/>
                </a:solidFill>
                <a:latin typeface="+mn-lt"/>
                <a:ea typeface="ヒラギノ角ゴ ProN W3" charset="0"/>
                <a:cs typeface="Frutiger Next Pro Light"/>
              </a:rPr>
              <a:t>magnis</a:t>
            </a:r>
            <a:r>
              <a:rPr lang="en-US" sz="800" dirty="0">
                <a:solidFill>
                  <a:srgbClr val="FFFFFF"/>
                </a:solidFill>
                <a:latin typeface="+mn-lt"/>
                <a:ea typeface="ヒラギノ角ゴ ProN W3" charset="0"/>
                <a:cs typeface="Frutiger Next Pro Light"/>
              </a:rPr>
              <a:t> dis parturient </a:t>
            </a:r>
            <a:r>
              <a:rPr lang="en-US" sz="800" dirty="0" err="1">
                <a:solidFill>
                  <a:srgbClr val="FFFFFF"/>
                </a:solidFill>
                <a:latin typeface="+mn-lt"/>
                <a:ea typeface="ヒラギノ角ゴ ProN W3" charset="0"/>
                <a:cs typeface="Frutiger Next Pro Light"/>
              </a:rPr>
              <a:t>monte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ascetur</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ridiculus</a:t>
            </a:r>
            <a:r>
              <a:rPr lang="en-US" sz="800" dirty="0">
                <a:solidFill>
                  <a:srgbClr val="FFFFFF"/>
                </a:solidFill>
                <a:latin typeface="+mn-lt"/>
                <a:ea typeface="ヒラギノ角ゴ ProN W3" charset="0"/>
                <a:cs typeface="Frutiger Next Pro Light"/>
              </a:rPr>
              <a:t> mus. </a:t>
            </a:r>
            <a:r>
              <a:rPr lang="en-US" sz="800" dirty="0" err="1">
                <a:solidFill>
                  <a:srgbClr val="FFFFFF"/>
                </a:solidFill>
                <a:latin typeface="+mn-lt"/>
                <a:ea typeface="ヒラギノ角ゴ ProN W3" charset="0"/>
                <a:cs typeface="Frutiger Next Pro Light"/>
              </a:rPr>
              <a:t>Donec</a:t>
            </a:r>
            <a:r>
              <a:rPr lang="en-US" sz="800" dirty="0">
                <a:solidFill>
                  <a:srgbClr val="FFFFFF"/>
                </a:solidFill>
                <a:latin typeface="+mn-lt"/>
                <a:ea typeface="ヒラギノ角ゴ ProN W3" charset="0"/>
                <a:cs typeface="Frutiger Next Pro Light"/>
              </a:rPr>
              <a:t> quam </a:t>
            </a:r>
            <a:r>
              <a:rPr lang="en-US" sz="800" dirty="0" err="1">
                <a:solidFill>
                  <a:srgbClr val="FFFFFF"/>
                </a:solidFill>
                <a:latin typeface="+mn-lt"/>
                <a:ea typeface="ヒラギノ角ゴ ProN W3" charset="0"/>
                <a:cs typeface="Frutiger Next Pro Light"/>
              </a:rPr>
              <a:t>fel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ultricie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ec</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llentesqu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u</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retiu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quis</a:t>
            </a:r>
            <a:r>
              <a:rPr lang="en-US" sz="800" dirty="0">
                <a:solidFill>
                  <a:srgbClr val="FFFFFF"/>
                </a:solidFill>
                <a:latin typeface="+mn-lt"/>
                <a:ea typeface="ヒラギノ角ゴ ProN W3" charset="0"/>
                <a:cs typeface="Frutiger Next Pro Light"/>
              </a:rPr>
              <a:t>, sem. </a:t>
            </a:r>
            <a:r>
              <a:rPr lang="en-US" sz="800" dirty="0" err="1">
                <a:solidFill>
                  <a:srgbClr val="FFFFFF"/>
                </a:solidFill>
                <a:latin typeface="+mn-lt"/>
                <a:ea typeface="ヒラギノ角ゴ ProN W3" charset="0"/>
                <a:cs typeface="Frutiger Next Pro Light"/>
              </a:rPr>
              <a:t>Null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nsequa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mass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qu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ni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Donec</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d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justo</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fringill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el</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lique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ec</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ulputat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ge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rcu</a:t>
            </a:r>
            <a:r>
              <a:rPr lang="en-US" sz="800" dirty="0">
                <a:solidFill>
                  <a:srgbClr val="FFFFFF"/>
                </a:solidFill>
                <a:latin typeface="+mn-lt"/>
                <a:ea typeface="ヒラギノ角ゴ ProN W3" charset="0"/>
                <a:cs typeface="Frutiger Next Pro Light"/>
              </a:rPr>
              <a:t>. In </a:t>
            </a:r>
            <a:r>
              <a:rPr lang="en-US" sz="800" dirty="0" err="1">
                <a:solidFill>
                  <a:srgbClr val="FFFFFF"/>
                </a:solidFill>
                <a:latin typeface="+mn-lt"/>
                <a:ea typeface="ヒラギノ角ゴ ProN W3" charset="0"/>
                <a:cs typeface="Frutiger Next Pro Light"/>
              </a:rPr>
              <a:t>eni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justo</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rhonc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u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imperdiet</a:t>
            </a:r>
            <a:r>
              <a:rPr lang="en-US" sz="800" dirty="0">
                <a:solidFill>
                  <a:srgbClr val="FFFFFF"/>
                </a:solidFill>
                <a:latin typeface="+mn-lt"/>
                <a:ea typeface="ヒラギノ角ゴ ProN W3" charset="0"/>
                <a:cs typeface="Frutiger Next Pro Light"/>
              </a:rPr>
              <a:t> a, </a:t>
            </a:r>
            <a:r>
              <a:rPr lang="en-US" sz="800" dirty="0" err="1">
                <a:solidFill>
                  <a:srgbClr val="FFFFFF"/>
                </a:solidFill>
                <a:latin typeface="+mn-lt"/>
                <a:ea typeface="ヒラギノ角ゴ ProN W3" charset="0"/>
                <a:cs typeface="Frutiger Next Pro Light"/>
              </a:rPr>
              <a:t>venenatis</a:t>
            </a:r>
            <a:r>
              <a:rPr lang="en-US" sz="800" dirty="0">
                <a:solidFill>
                  <a:srgbClr val="FFFFFF"/>
                </a:solidFill>
                <a:latin typeface="+mn-lt"/>
                <a:ea typeface="ヒラギノ角ゴ ProN W3" charset="0"/>
                <a:cs typeface="Frutiger Next Pro Light"/>
              </a:rPr>
              <a:t> vitae, </a:t>
            </a:r>
            <a:r>
              <a:rPr lang="en-US" sz="800" dirty="0" err="1">
                <a:solidFill>
                  <a:srgbClr val="FFFFFF"/>
                </a:solidFill>
                <a:latin typeface="+mn-lt"/>
                <a:ea typeface="ヒラギノ角ゴ ProN W3" charset="0"/>
                <a:cs typeface="Frutiger Next Pro Light"/>
              </a:rPr>
              <a:t>justo</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ullam</a:t>
            </a:r>
            <a:r>
              <a:rPr lang="en-US" sz="800" dirty="0">
                <a:solidFill>
                  <a:srgbClr val="FFFFFF"/>
                </a:solidFill>
                <a:latin typeface="+mn-lt"/>
                <a:ea typeface="ヒラギノ角ゴ ProN W3" charset="0"/>
                <a:cs typeface="Frutiger Next Pro Light"/>
              </a:rPr>
              <a:t> dictum </a:t>
            </a:r>
            <a:r>
              <a:rPr lang="en-US" sz="800" dirty="0" err="1">
                <a:solidFill>
                  <a:srgbClr val="FFFFFF"/>
                </a:solidFill>
                <a:latin typeface="+mn-lt"/>
                <a:ea typeface="ヒラギノ角ゴ ProN W3" charset="0"/>
                <a:cs typeface="Frutiger Next Pro Light"/>
              </a:rPr>
              <a:t>fel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u</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d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moll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retium</a:t>
            </a:r>
            <a:r>
              <a:rPr lang="en-US" sz="800" dirty="0">
                <a:solidFill>
                  <a:srgbClr val="FFFFFF"/>
                </a:solidFill>
                <a:latin typeface="+mn-lt"/>
                <a:ea typeface="ヒラギノ角ゴ ProN W3" charset="0"/>
                <a:cs typeface="Frutiger Next Pro Light"/>
              </a:rPr>
              <a:t>. Integer </a:t>
            </a:r>
            <a:r>
              <a:rPr lang="en-US" sz="800" dirty="0" err="1">
                <a:solidFill>
                  <a:srgbClr val="FFFFFF"/>
                </a:solidFill>
                <a:latin typeface="+mn-lt"/>
                <a:ea typeface="ヒラギノ角ゴ ProN W3" charset="0"/>
                <a:cs typeface="Frutiger Next Pro Light"/>
              </a:rPr>
              <a:t>tincidun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ra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dapib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ivam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lementum</a:t>
            </a:r>
            <a:r>
              <a:rPr lang="en-US" sz="800" dirty="0">
                <a:solidFill>
                  <a:srgbClr val="FFFFFF"/>
                </a:solidFill>
                <a:latin typeface="+mn-lt"/>
                <a:ea typeface="ヒラギノ角ゴ ProN W3" charset="0"/>
                <a:cs typeface="Frutiger Next Pro Light"/>
              </a:rPr>
              <a:t> semper nisi.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ulputat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leifend</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tell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leo</a:t>
            </a:r>
            <a:r>
              <a:rPr lang="en-US" sz="800" dirty="0">
                <a:solidFill>
                  <a:srgbClr val="FFFFFF"/>
                </a:solidFill>
                <a:latin typeface="+mn-lt"/>
                <a:ea typeface="ヒラギノ角ゴ ProN W3" charset="0"/>
                <a:cs typeface="Frutiger Next Pro Light"/>
              </a:rPr>
              <a:t> ligula, </a:t>
            </a:r>
            <a:r>
              <a:rPr lang="en-US" sz="800" dirty="0" err="1">
                <a:solidFill>
                  <a:srgbClr val="FFFFFF"/>
                </a:solidFill>
                <a:latin typeface="+mn-lt"/>
                <a:ea typeface="ヒラギノ角ゴ ProN W3" charset="0"/>
                <a:cs typeface="Frutiger Next Pro Light"/>
              </a:rPr>
              <a:t>porttitor</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u</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nsequat</a:t>
            </a:r>
            <a:r>
              <a:rPr lang="en-US" sz="800" dirty="0">
                <a:solidFill>
                  <a:srgbClr val="FFFFFF"/>
                </a:solidFill>
                <a:latin typeface="+mn-lt"/>
                <a:ea typeface="ヒラギノ角ゴ ProN W3" charset="0"/>
                <a:cs typeface="Frutiger Next Pro Light"/>
              </a:rPr>
              <a:t> vitae, </a:t>
            </a:r>
            <a:r>
              <a:rPr lang="en-US" sz="800" dirty="0" err="1">
                <a:solidFill>
                  <a:srgbClr val="FFFFFF"/>
                </a:solidFill>
                <a:latin typeface="+mn-lt"/>
                <a:ea typeface="ヒラギノ角ゴ ProN W3" charset="0"/>
                <a:cs typeface="Frutiger Next Pro Light"/>
              </a:rPr>
              <a:t>eleifend</a:t>
            </a:r>
            <a:r>
              <a:rPr lang="en-US" sz="800" dirty="0">
                <a:solidFill>
                  <a:srgbClr val="FFFFFF"/>
                </a:solidFill>
                <a:latin typeface="+mn-lt"/>
                <a:ea typeface="ヒラギノ角ゴ ProN W3" charset="0"/>
                <a:cs typeface="Frutiger Next Pro Light"/>
              </a:rPr>
              <a:t> ac, </a:t>
            </a:r>
            <a:r>
              <a:rPr lang="en-US" sz="800" dirty="0" err="1">
                <a:solidFill>
                  <a:srgbClr val="FFFFFF"/>
                </a:solidFill>
                <a:latin typeface="+mn-lt"/>
                <a:ea typeface="ヒラギノ角ゴ ProN W3" charset="0"/>
                <a:cs typeface="Frutiger Next Pro Light"/>
              </a:rPr>
              <a:t>eni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liquam</a:t>
            </a:r>
            <a:r>
              <a:rPr lang="en-US" sz="800" dirty="0">
                <a:solidFill>
                  <a:srgbClr val="FFFFFF"/>
                </a:solidFill>
                <a:latin typeface="+mn-lt"/>
                <a:ea typeface="ヒラギノ角ゴ ProN W3" charset="0"/>
                <a:cs typeface="Frutiger Next Pro Light"/>
              </a:rPr>
              <a:t> lorem ante, </a:t>
            </a:r>
            <a:r>
              <a:rPr lang="en-US" sz="800" dirty="0" err="1">
                <a:solidFill>
                  <a:srgbClr val="FFFFFF"/>
                </a:solidFill>
                <a:latin typeface="+mn-lt"/>
                <a:ea typeface="ヒラギノ角ゴ ProN W3" charset="0"/>
                <a:cs typeface="Frutiger Next Pro Light"/>
              </a:rPr>
              <a:t>dapibus</a:t>
            </a:r>
            <a:r>
              <a:rPr lang="en-US" sz="800" dirty="0">
                <a:solidFill>
                  <a:srgbClr val="FFFFFF"/>
                </a:solidFill>
                <a:latin typeface="+mn-lt"/>
                <a:ea typeface="ヒラギノ角ゴ ProN W3" charset="0"/>
                <a:cs typeface="Frutiger Next Pro Light"/>
              </a:rPr>
              <a:t> in, </a:t>
            </a:r>
            <a:r>
              <a:rPr lang="en-US" sz="800" dirty="0" err="1">
                <a:solidFill>
                  <a:srgbClr val="FFFFFF"/>
                </a:solidFill>
                <a:latin typeface="+mn-lt"/>
                <a:ea typeface="ヒラギノ角ゴ ProN W3" charset="0"/>
                <a:cs typeface="Frutiger Next Pro Light"/>
              </a:rPr>
              <a:t>viverr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qu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feugiat</a:t>
            </a:r>
            <a:r>
              <a:rPr lang="en-US" sz="800" dirty="0">
                <a:solidFill>
                  <a:srgbClr val="FFFFFF"/>
                </a:solidFill>
                <a:latin typeface="+mn-lt"/>
                <a:ea typeface="ヒラギノ角ゴ ProN W3" charset="0"/>
                <a:cs typeface="Frutiger Next Pro Light"/>
              </a:rPr>
              <a:t> a, </a:t>
            </a:r>
            <a:r>
              <a:rPr lang="en-US" sz="800" dirty="0" err="1">
                <a:solidFill>
                  <a:srgbClr val="FFFFFF"/>
                </a:solidFill>
                <a:latin typeface="+mn-lt"/>
                <a:ea typeface="ヒラギノ角ゴ ProN W3" charset="0"/>
                <a:cs typeface="Frutiger Next Pro Light"/>
              </a:rPr>
              <a:t>tellus</a:t>
            </a:r>
            <a:r>
              <a:rPr lang="en-US" sz="800" dirty="0">
                <a:solidFill>
                  <a:srgbClr val="FFFFFF"/>
                </a:solidFill>
                <a:latin typeface="+mn-lt"/>
                <a:ea typeface="ヒラギノ角ゴ ProN W3" charset="0"/>
                <a:cs typeface="Frutiger Next Pro Light"/>
              </a:rPr>
              <a:t>...</a:t>
            </a:r>
            <a:endParaRPr lang="en-US" sz="1100" dirty="0">
              <a:solidFill>
                <a:srgbClr val="FFFFFF"/>
              </a:solidFill>
              <a:latin typeface="+mn-lt"/>
              <a:ea typeface="ヒラギノ角ゴ ProN W3" charset="0"/>
              <a:cs typeface="Frutiger Next Pro Light"/>
            </a:endParaRPr>
          </a:p>
          <a:p>
            <a:pPr>
              <a:lnSpc>
                <a:spcPct val="120000"/>
              </a:lnSpc>
            </a:pPr>
            <a:r>
              <a:rPr lang="en-US" sz="1200" dirty="0">
                <a:solidFill>
                  <a:srgbClr val="92D400"/>
                </a:solidFill>
                <a:latin typeface="Frutiger Next Pro Medium"/>
                <a:cs typeface="Frutiger Next Pro Medium"/>
              </a:rPr>
              <a:t>Solution</a:t>
            </a:r>
          </a:p>
          <a:p>
            <a:pPr>
              <a:lnSpc>
                <a:spcPct val="120000"/>
              </a:lnSpc>
            </a:pPr>
            <a:r>
              <a:rPr lang="en-US" sz="800" dirty="0">
                <a:solidFill>
                  <a:srgbClr val="FFFFFF"/>
                </a:solidFill>
                <a:latin typeface="+mn-lt"/>
                <a:ea typeface="ヒラギノ角ゴ ProN W3" charset="0"/>
                <a:cs typeface="Frutiger Next Pro Light"/>
              </a:rPr>
              <a:t>Lorem ipsum dolor sit </a:t>
            </a:r>
            <a:r>
              <a:rPr lang="en-US" sz="800" dirty="0" err="1">
                <a:solidFill>
                  <a:srgbClr val="FFFFFF"/>
                </a:solidFill>
                <a:latin typeface="+mn-lt"/>
                <a:ea typeface="ヒラギノ角ゴ ProN W3" charset="0"/>
                <a:cs typeface="Frutiger Next Pro Light"/>
              </a:rPr>
              <a:t>ame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nsectetuer</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dipiscing</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li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mmodo</a:t>
            </a:r>
            <a:r>
              <a:rPr lang="en-US" sz="800" dirty="0">
                <a:solidFill>
                  <a:srgbClr val="FFFFFF"/>
                </a:solidFill>
                <a:latin typeface="+mn-lt"/>
                <a:ea typeface="ヒラギノ角ゴ ProN W3" charset="0"/>
                <a:cs typeface="Frutiger Next Pro Light"/>
              </a:rPr>
              <a:t> ligula </a:t>
            </a:r>
            <a:r>
              <a:rPr lang="en-US" sz="800" dirty="0" err="1">
                <a:solidFill>
                  <a:srgbClr val="FFFFFF"/>
                </a:solidFill>
                <a:latin typeface="+mn-lt"/>
                <a:ea typeface="ヒラギノ角ゴ ProN W3" charset="0"/>
                <a:cs typeface="Frutiger Next Pro Light"/>
              </a:rPr>
              <a:t>eget</a:t>
            </a:r>
            <a:r>
              <a:rPr lang="en-US" sz="800" dirty="0">
                <a:solidFill>
                  <a:srgbClr val="FFFFFF"/>
                </a:solidFill>
                <a:latin typeface="+mn-lt"/>
                <a:ea typeface="ヒラギノ角ゴ ProN W3" charset="0"/>
                <a:cs typeface="Frutiger Next Pro Light"/>
              </a:rPr>
              <a:t> dolor.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massa</a:t>
            </a:r>
            <a:r>
              <a:rPr lang="en-US" sz="800" dirty="0">
                <a:solidFill>
                  <a:srgbClr val="FFFFFF"/>
                </a:solidFill>
                <a:latin typeface="+mn-lt"/>
                <a:ea typeface="ヒラギノ角ゴ ProN W3" charset="0"/>
                <a:cs typeface="Frutiger Next Pro Light"/>
              </a:rPr>
              <a:t>. Cum </a:t>
            </a:r>
            <a:r>
              <a:rPr lang="en-US" sz="800" dirty="0" err="1">
                <a:solidFill>
                  <a:srgbClr val="FFFFFF"/>
                </a:solidFill>
                <a:latin typeface="+mn-lt"/>
                <a:ea typeface="ヒラギノ角ゴ ProN W3" charset="0"/>
                <a:cs typeface="Frutiger Next Pro Light"/>
              </a:rPr>
              <a:t>soci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atoqu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natibus</a:t>
            </a:r>
            <a:r>
              <a:rPr lang="en-US" sz="800" dirty="0">
                <a:solidFill>
                  <a:srgbClr val="FFFFFF"/>
                </a:solidFill>
                <a:latin typeface="+mn-lt"/>
                <a:ea typeface="ヒラギノ角ゴ ProN W3" charset="0"/>
                <a:cs typeface="Frutiger Next Pro Light"/>
              </a:rPr>
              <a:t> et </a:t>
            </a:r>
            <a:r>
              <a:rPr lang="en-US" sz="800" dirty="0" err="1">
                <a:solidFill>
                  <a:srgbClr val="FFFFFF"/>
                </a:solidFill>
                <a:latin typeface="+mn-lt"/>
                <a:ea typeface="ヒラギノ角ゴ ProN W3" charset="0"/>
                <a:cs typeface="Frutiger Next Pro Light"/>
              </a:rPr>
              <a:t>magnis</a:t>
            </a:r>
            <a:r>
              <a:rPr lang="en-US" sz="800" dirty="0">
                <a:solidFill>
                  <a:srgbClr val="FFFFFF"/>
                </a:solidFill>
                <a:latin typeface="+mn-lt"/>
                <a:ea typeface="ヒラギノ角ゴ ProN W3" charset="0"/>
                <a:cs typeface="Frutiger Next Pro Light"/>
              </a:rPr>
              <a:t> dis parturient </a:t>
            </a:r>
            <a:r>
              <a:rPr lang="en-US" sz="800" dirty="0" err="1">
                <a:solidFill>
                  <a:srgbClr val="FFFFFF"/>
                </a:solidFill>
                <a:latin typeface="+mn-lt"/>
                <a:ea typeface="ヒラギノ角ゴ ProN W3" charset="0"/>
                <a:cs typeface="Frutiger Next Pro Light"/>
              </a:rPr>
              <a:t>monte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ascetur</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ridiculus</a:t>
            </a:r>
            <a:r>
              <a:rPr lang="en-US" sz="800" dirty="0">
                <a:solidFill>
                  <a:srgbClr val="FFFFFF"/>
                </a:solidFill>
                <a:latin typeface="+mn-lt"/>
                <a:ea typeface="ヒラギノ角ゴ ProN W3" charset="0"/>
                <a:cs typeface="Frutiger Next Pro Light"/>
              </a:rPr>
              <a:t> mus. </a:t>
            </a:r>
            <a:r>
              <a:rPr lang="en-US" sz="800" dirty="0" err="1">
                <a:solidFill>
                  <a:srgbClr val="FFFFFF"/>
                </a:solidFill>
                <a:latin typeface="+mn-lt"/>
                <a:ea typeface="ヒラギノ角ゴ ProN W3" charset="0"/>
                <a:cs typeface="Frutiger Next Pro Light"/>
              </a:rPr>
              <a:t>Donec</a:t>
            </a:r>
            <a:r>
              <a:rPr lang="en-US" sz="800" dirty="0">
                <a:solidFill>
                  <a:srgbClr val="FFFFFF"/>
                </a:solidFill>
                <a:latin typeface="+mn-lt"/>
                <a:ea typeface="ヒラギノ角ゴ ProN W3" charset="0"/>
                <a:cs typeface="Frutiger Next Pro Light"/>
              </a:rPr>
              <a:t> quam </a:t>
            </a:r>
            <a:r>
              <a:rPr lang="en-US" sz="800" dirty="0" err="1">
                <a:solidFill>
                  <a:srgbClr val="FFFFFF"/>
                </a:solidFill>
                <a:latin typeface="+mn-lt"/>
                <a:ea typeface="ヒラギノ角ゴ ProN W3" charset="0"/>
                <a:cs typeface="Frutiger Next Pro Light"/>
              </a:rPr>
              <a:t>fel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ultricie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ec</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llentesqu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u</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retiu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quis</a:t>
            </a:r>
            <a:r>
              <a:rPr lang="en-US" sz="800" dirty="0">
                <a:solidFill>
                  <a:srgbClr val="FFFFFF"/>
                </a:solidFill>
                <a:latin typeface="+mn-lt"/>
                <a:ea typeface="ヒラギノ角ゴ ProN W3" charset="0"/>
                <a:cs typeface="Frutiger Next Pro Light"/>
              </a:rPr>
              <a:t>, sem. </a:t>
            </a:r>
            <a:r>
              <a:rPr lang="en-US" sz="800" dirty="0" err="1">
                <a:solidFill>
                  <a:srgbClr val="FFFFFF"/>
                </a:solidFill>
                <a:latin typeface="+mn-lt"/>
                <a:ea typeface="ヒラギノ角ゴ ProN W3" charset="0"/>
                <a:cs typeface="Frutiger Next Pro Light"/>
              </a:rPr>
              <a:t>Null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nsequa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mass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qu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ni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Donec</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d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justo</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fringill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el</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lique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ec</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ulputat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ge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rcu</a:t>
            </a:r>
            <a:r>
              <a:rPr lang="en-US" sz="800" dirty="0">
                <a:solidFill>
                  <a:srgbClr val="FFFFFF"/>
                </a:solidFill>
                <a:latin typeface="+mn-lt"/>
                <a:ea typeface="ヒラギノ角ゴ ProN W3" charset="0"/>
                <a:cs typeface="Frutiger Next Pro Light"/>
              </a:rPr>
              <a:t>. In </a:t>
            </a:r>
            <a:r>
              <a:rPr lang="en-US" sz="800" dirty="0" err="1">
                <a:solidFill>
                  <a:srgbClr val="FFFFFF"/>
                </a:solidFill>
                <a:latin typeface="+mn-lt"/>
                <a:ea typeface="ヒラギノ角ゴ ProN W3" charset="0"/>
                <a:cs typeface="Frutiger Next Pro Light"/>
              </a:rPr>
              <a:t>eni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justo</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rhonc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u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imperdiet</a:t>
            </a:r>
            <a:r>
              <a:rPr lang="en-US" sz="800" dirty="0">
                <a:solidFill>
                  <a:srgbClr val="FFFFFF"/>
                </a:solidFill>
                <a:latin typeface="+mn-lt"/>
                <a:ea typeface="ヒラギノ角ゴ ProN W3" charset="0"/>
                <a:cs typeface="Frutiger Next Pro Light"/>
              </a:rPr>
              <a:t> a, </a:t>
            </a:r>
            <a:r>
              <a:rPr lang="en-US" sz="800" dirty="0" err="1">
                <a:solidFill>
                  <a:srgbClr val="FFFFFF"/>
                </a:solidFill>
                <a:latin typeface="+mn-lt"/>
                <a:ea typeface="ヒラギノ角ゴ ProN W3" charset="0"/>
                <a:cs typeface="Frutiger Next Pro Light"/>
              </a:rPr>
              <a:t>venenatis</a:t>
            </a:r>
            <a:r>
              <a:rPr lang="en-US" sz="800" dirty="0">
                <a:solidFill>
                  <a:srgbClr val="FFFFFF"/>
                </a:solidFill>
                <a:latin typeface="+mn-lt"/>
                <a:ea typeface="ヒラギノ角ゴ ProN W3" charset="0"/>
                <a:cs typeface="Frutiger Next Pro Light"/>
              </a:rPr>
              <a:t> vitae, </a:t>
            </a:r>
            <a:r>
              <a:rPr lang="en-US" sz="800" dirty="0" err="1">
                <a:solidFill>
                  <a:srgbClr val="FFFFFF"/>
                </a:solidFill>
                <a:latin typeface="+mn-lt"/>
                <a:ea typeface="ヒラギノ角ゴ ProN W3" charset="0"/>
                <a:cs typeface="Frutiger Next Pro Light"/>
              </a:rPr>
              <a:t>justo</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ullam</a:t>
            </a:r>
            <a:r>
              <a:rPr lang="en-US" sz="800" dirty="0">
                <a:solidFill>
                  <a:srgbClr val="FFFFFF"/>
                </a:solidFill>
                <a:latin typeface="+mn-lt"/>
                <a:ea typeface="ヒラギノ角ゴ ProN W3" charset="0"/>
                <a:cs typeface="Frutiger Next Pro Light"/>
              </a:rPr>
              <a:t> dictum </a:t>
            </a:r>
            <a:r>
              <a:rPr lang="en-US" sz="800" dirty="0" err="1">
                <a:solidFill>
                  <a:srgbClr val="FFFFFF"/>
                </a:solidFill>
                <a:latin typeface="+mn-lt"/>
                <a:ea typeface="ヒラギノ角ゴ ProN W3" charset="0"/>
                <a:cs typeface="Frutiger Next Pro Light"/>
              </a:rPr>
              <a:t>fel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u</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d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moll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retium</a:t>
            </a:r>
            <a:r>
              <a:rPr lang="en-US" sz="800" dirty="0">
                <a:solidFill>
                  <a:srgbClr val="FFFFFF"/>
                </a:solidFill>
                <a:latin typeface="+mn-lt"/>
                <a:ea typeface="ヒラギノ角ゴ ProN W3" charset="0"/>
                <a:cs typeface="Frutiger Next Pro Light"/>
              </a:rPr>
              <a:t>. Integer </a:t>
            </a:r>
            <a:r>
              <a:rPr lang="en-US" sz="800" dirty="0" err="1">
                <a:solidFill>
                  <a:srgbClr val="FFFFFF"/>
                </a:solidFill>
                <a:latin typeface="+mn-lt"/>
                <a:ea typeface="ヒラギノ角ゴ ProN W3" charset="0"/>
                <a:cs typeface="Frutiger Next Pro Light"/>
              </a:rPr>
              <a:t>tincidun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ra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dapib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ivam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lementum</a:t>
            </a:r>
            <a:r>
              <a:rPr lang="en-US" sz="800" dirty="0">
                <a:solidFill>
                  <a:srgbClr val="FFFFFF"/>
                </a:solidFill>
                <a:latin typeface="+mn-lt"/>
                <a:ea typeface="ヒラギノ角ゴ ProN W3" charset="0"/>
                <a:cs typeface="Frutiger Next Pro Light"/>
              </a:rPr>
              <a:t> semper nisi.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ulputat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leifend</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tell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leo</a:t>
            </a:r>
            <a:r>
              <a:rPr lang="en-US" sz="800" dirty="0">
                <a:solidFill>
                  <a:srgbClr val="FFFFFF"/>
                </a:solidFill>
                <a:latin typeface="+mn-lt"/>
                <a:ea typeface="ヒラギノ角ゴ ProN W3" charset="0"/>
                <a:cs typeface="Frutiger Next Pro Light"/>
              </a:rPr>
              <a:t> ligula, </a:t>
            </a:r>
            <a:r>
              <a:rPr lang="en-US" sz="800" dirty="0" err="1">
                <a:solidFill>
                  <a:srgbClr val="FFFFFF"/>
                </a:solidFill>
                <a:latin typeface="+mn-lt"/>
                <a:ea typeface="ヒラギノ角ゴ ProN W3" charset="0"/>
                <a:cs typeface="Frutiger Next Pro Light"/>
              </a:rPr>
              <a:t>porttitor</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u</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nsequat</a:t>
            </a:r>
            <a:r>
              <a:rPr lang="en-US" sz="800" dirty="0">
                <a:solidFill>
                  <a:srgbClr val="FFFFFF"/>
                </a:solidFill>
                <a:latin typeface="+mn-lt"/>
                <a:ea typeface="ヒラギノ角ゴ ProN W3" charset="0"/>
                <a:cs typeface="Frutiger Next Pro Light"/>
              </a:rPr>
              <a:t> vitae, </a:t>
            </a:r>
            <a:r>
              <a:rPr lang="en-US" sz="800" dirty="0" err="1">
                <a:solidFill>
                  <a:srgbClr val="FFFFFF"/>
                </a:solidFill>
                <a:latin typeface="+mn-lt"/>
                <a:ea typeface="ヒラギノ角ゴ ProN W3" charset="0"/>
                <a:cs typeface="Frutiger Next Pro Light"/>
              </a:rPr>
              <a:t>eleifend</a:t>
            </a:r>
            <a:r>
              <a:rPr lang="en-US" sz="800" dirty="0">
                <a:solidFill>
                  <a:srgbClr val="FFFFFF"/>
                </a:solidFill>
                <a:latin typeface="+mn-lt"/>
                <a:ea typeface="ヒラギノ角ゴ ProN W3" charset="0"/>
                <a:cs typeface="Frutiger Next Pro Light"/>
              </a:rPr>
              <a:t> ac, </a:t>
            </a:r>
            <a:r>
              <a:rPr lang="en-US" sz="800" dirty="0" err="1">
                <a:solidFill>
                  <a:srgbClr val="FFFFFF"/>
                </a:solidFill>
                <a:latin typeface="+mn-lt"/>
                <a:ea typeface="ヒラギノ角ゴ ProN W3" charset="0"/>
                <a:cs typeface="Frutiger Next Pro Light"/>
              </a:rPr>
              <a:t>eni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liquam</a:t>
            </a:r>
            <a:r>
              <a:rPr lang="en-US" sz="800" dirty="0">
                <a:solidFill>
                  <a:srgbClr val="FFFFFF"/>
                </a:solidFill>
                <a:latin typeface="+mn-lt"/>
                <a:ea typeface="ヒラギノ角ゴ ProN W3" charset="0"/>
                <a:cs typeface="Frutiger Next Pro Light"/>
              </a:rPr>
              <a:t> lorem ante, </a:t>
            </a:r>
            <a:r>
              <a:rPr lang="en-US" sz="800" dirty="0" err="1">
                <a:solidFill>
                  <a:srgbClr val="FFFFFF"/>
                </a:solidFill>
                <a:latin typeface="+mn-lt"/>
                <a:ea typeface="ヒラギノ角ゴ ProN W3" charset="0"/>
                <a:cs typeface="Frutiger Next Pro Light"/>
              </a:rPr>
              <a:t>dapibus</a:t>
            </a:r>
            <a:r>
              <a:rPr lang="en-US" sz="800" dirty="0">
                <a:solidFill>
                  <a:srgbClr val="FFFFFF"/>
                </a:solidFill>
                <a:latin typeface="+mn-lt"/>
                <a:ea typeface="ヒラギノ角ゴ ProN W3" charset="0"/>
                <a:cs typeface="Frutiger Next Pro Light"/>
              </a:rPr>
              <a:t> in, </a:t>
            </a:r>
            <a:r>
              <a:rPr lang="en-US" sz="800" dirty="0" err="1">
                <a:solidFill>
                  <a:srgbClr val="FFFFFF"/>
                </a:solidFill>
                <a:latin typeface="+mn-lt"/>
                <a:ea typeface="ヒラギノ角ゴ ProN W3" charset="0"/>
                <a:cs typeface="Frutiger Next Pro Light"/>
              </a:rPr>
              <a:t>viverr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qu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feugiat</a:t>
            </a:r>
            <a:r>
              <a:rPr lang="en-US" sz="800" dirty="0">
                <a:solidFill>
                  <a:srgbClr val="FFFFFF"/>
                </a:solidFill>
                <a:latin typeface="+mn-lt"/>
                <a:ea typeface="ヒラギノ角ゴ ProN W3" charset="0"/>
                <a:cs typeface="Frutiger Next Pro Light"/>
              </a:rPr>
              <a:t> a, </a:t>
            </a:r>
            <a:r>
              <a:rPr lang="en-US" sz="800" dirty="0" err="1">
                <a:solidFill>
                  <a:srgbClr val="FFFFFF"/>
                </a:solidFill>
                <a:latin typeface="+mn-lt"/>
                <a:ea typeface="ヒラギノ角ゴ ProN W3" charset="0"/>
                <a:cs typeface="Frutiger Next Pro Light"/>
              </a:rPr>
              <a:t>tellus</a:t>
            </a:r>
            <a:r>
              <a:rPr lang="en-US" sz="800" dirty="0">
                <a:solidFill>
                  <a:srgbClr val="FFFFFF"/>
                </a:solidFill>
                <a:latin typeface="+mn-lt"/>
                <a:ea typeface="ヒラギノ角ゴ ProN W3" charset="0"/>
                <a:cs typeface="Frutiger Next Pro Light"/>
              </a:rPr>
              <a:t>...</a:t>
            </a:r>
            <a:endParaRPr lang="en-US" sz="1100" dirty="0">
              <a:solidFill>
                <a:srgbClr val="FFFFFF"/>
              </a:solidFill>
              <a:latin typeface="+mn-lt"/>
              <a:ea typeface="ヒラギノ角ゴ ProN W3" charset="0"/>
              <a:cs typeface="Frutiger Next Pro Light"/>
            </a:endParaRPr>
          </a:p>
          <a:p>
            <a:pPr>
              <a:lnSpc>
                <a:spcPct val="120000"/>
              </a:lnSpc>
            </a:pPr>
            <a:r>
              <a:rPr lang="en-US" sz="1200" dirty="0">
                <a:solidFill>
                  <a:srgbClr val="92D400"/>
                </a:solidFill>
                <a:latin typeface="Frutiger Next Pro Medium"/>
                <a:cs typeface="Frutiger Next Pro Medium"/>
              </a:rPr>
              <a:t>Impact</a:t>
            </a:r>
          </a:p>
          <a:p>
            <a:pPr>
              <a:lnSpc>
                <a:spcPct val="120000"/>
              </a:lnSpc>
            </a:pPr>
            <a:r>
              <a:rPr lang="en-US" sz="800" dirty="0">
                <a:solidFill>
                  <a:srgbClr val="FFFFFF"/>
                </a:solidFill>
                <a:latin typeface="+mn-lt"/>
                <a:ea typeface="ヒラギノ角ゴ ProN W3" charset="0"/>
                <a:cs typeface="Frutiger Next Pro Light"/>
              </a:rPr>
              <a:t>Lorem ipsum dolor sit </a:t>
            </a:r>
            <a:r>
              <a:rPr lang="en-US" sz="800" dirty="0" err="1">
                <a:solidFill>
                  <a:srgbClr val="FFFFFF"/>
                </a:solidFill>
                <a:latin typeface="+mn-lt"/>
                <a:ea typeface="ヒラギノ角ゴ ProN W3" charset="0"/>
                <a:cs typeface="Frutiger Next Pro Light"/>
              </a:rPr>
              <a:t>ame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nsectetuer</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dipiscing</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li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mmodo</a:t>
            </a:r>
            <a:r>
              <a:rPr lang="en-US" sz="800" dirty="0">
                <a:solidFill>
                  <a:srgbClr val="FFFFFF"/>
                </a:solidFill>
                <a:latin typeface="+mn-lt"/>
                <a:ea typeface="ヒラギノ角ゴ ProN W3" charset="0"/>
                <a:cs typeface="Frutiger Next Pro Light"/>
              </a:rPr>
              <a:t> ligula </a:t>
            </a:r>
            <a:r>
              <a:rPr lang="en-US" sz="800" dirty="0" err="1">
                <a:solidFill>
                  <a:srgbClr val="FFFFFF"/>
                </a:solidFill>
                <a:latin typeface="+mn-lt"/>
                <a:ea typeface="ヒラギノ角ゴ ProN W3" charset="0"/>
                <a:cs typeface="Frutiger Next Pro Light"/>
              </a:rPr>
              <a:t>eget</a:t>
            </a:r>
            <a:r>
              <a:rPr lang="en-US" sz="800" dirty="0">
                <a:solidFill>
                  <a:srgbClr val="FFFFFF"/>
                </a:solidFill>
                <a:latin typeface="+mn-lt"/>
                <a:ea typeface="ヒラギノ角ゴ ProN W3" charset="0"/>
                <a:cs typeface="Frutiger Next Pro Light"/>
              </a:rPr>
              <a:t> dolor.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massa</a:t>
            </a:r>
            <a:r>
              <a:rPr lang="en-US" sz="800" dirty="0">
                <a:solidFill>
                  <a:srgbClr val="FFFFFF"/>
                </a:solidFill>
                <a:latin typeface="+mn-lt"/>
                <a:ea typeface="ヒラギノ角ゴ ProN W3" charset="0"/>
                <a:cs typeface="Frutiger Next Pro Light"/>
              </a:rPr>
              <a:t>. Cum </a:t>
            </a:r>
            <a:r>
              <a:rPr lang="en-US" sz="800" dirty="0" err="1">
                <a:solidFill>
                  <a:srgbClr val="FFFFFF"/>
                </a:solidFill>
                <a:latin typeface="+mn-lt"/>
                <a:ea typeface="ヒラギノ角ゴ ProN W3" charset="0"/>
                <a:cs typeface="Frutiger Next Pro Light"/>
              </a:rPr>
              <a:t>soci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atoqu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natibus</a:t>
            </a:r>
            <a:r>
              <a:rPr lang="en-US" sz="800" dirty="0">
                <a:solidFill>
                  <a:srgbClr val="FFFFFF"/>
                </a:solidFill>
                <a:latin typeface="+mn-lt"/>
                <a:ea typeface="ヒラギノ角ゴ ProN W3" charset="0"/>
                <a:cs typeface="Frutiger Next Pro Light"/>
              </a:rPr>
              <a:t> et </a:t>
            </a:r>
            <a:r>
              <a:rPr lang="en-US" sz="800" dirty="0" err="1">
                <a:solidFill>
                  <a:srgbClr val="FFFFFF"/>
                </a:solidFill>
                <a:latin typeface="+mn-lt"/>
                <a:ea typeface="ヒラギノ角ゴ ProN W3" charset="0"/>
                <a:cs typeface="Frutiger Next Pro Light"/>
              </a:rPr>
              <a:t>magnis</a:t>
            </a:r>
            <a:r>
              <a:rPr lang="en-US" sz="800" dirty="0">
                <a:solidFill>
                  <a:srgbClr val="FFFFFF"/>
                </a:solidFill>
                <a:latin typeface="+mn-lt"/>
                <a:ea typeface="ヒラギノ角ゴ ProN W3" charset="0"/>
                <a:cs typeface="Frutiger Next Pro Light"/>
              </a:rPr>
              <a:t> dis parturient </a:t>
            </a:r>
            <a:r>
              <a:rPr lang="en-US" sz="800" dirty="0" err="1">
                <a:solidFill>
                  <a:srgbClr val="FFFFFF"/>
                </a:solidFill>
                <a:latin typeface="+mn-lt"/>
                <a:ea typeface="ヒラギノ角ゴ ProN W3" charset="0"/>
                <a:cs typeface="Frutiger Next Pro Light"/>
              </a:rPr>
              <a:t>monte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ascetur</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ridiculus</a:t>
            </a:r>
            <a:r>
              <a:rPr lang="en-US" sz="800" dirty="0">
                <a:solidFill>
                  <a:srgbClr val="FFFFFF"/>
                </a:solidFill>
                <a:latin typeface="+mn-lt"/>
                <a:ea typeface="ヒラギノ角ゴ ProN W3" charset="0"/>
                <a:cs typeface="Frutiger Next Pro Light"/>
              </a:rPr>
              <a:t> mus. </a:t>
            </a:r>
            <a:r>
              <a:rPr lang="en-US" sz="800" dirty="0" err="1">
                <a:solidFill>
                  <a:srgbClr val="FFFFFF"/>
                </a:solidFill>
                <a:latin typeface="+mn-lt"/>
                <a:ea typeface="ヒラギノ角ゴ ProN W3" charset="0"/>
                <a:cs typeface="Frutiger Next Pro Light"/>
              </a:rPr>
              <a:t>Donec</a:t>
            </a:r>
            <a:r>
              <a:rPr lang="en-US" sz="800" dirty="0">
                <a:solidFill>
                  <a:srgbClr val="FFFFFF"/>
                </a:solidFill>
                <a:latin typeface="+mn-lt"/>
                <a:ea typeface="ヒラギノ角ゴ ProN W3" charset="0"/>
                <a:cs typeface="Frutiger Next Pro Light"/>
              </a:rPr>
              <a:t> quam </a:t>
            </a:r>
            <a:r>
              <a:rPr lang="en-US" sz="800" dirty="0" err="1">
                <a:solidFill>
                  <a:srgbClr val="FFFFFF"/>
                </a:solidFill>
                <a:latin typeface="+mn-lt"/>
                <a:ea typeface="ヒラギノ角ゴ ProN W3" charset="0"/>
                <a:cs typeface="Frutiger Next Pro Light"/>
              </a:rPr>
              <a:t>fel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ultricie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ec</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llentesqu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u</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retiu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quis</a:t>
            </a:r>
            <a:r>
              <a:rPr lang="en-US" sz="800" dirty="0">
                <a:solidFill>
                  <a:srgbClr val="FFFFFF"/>
                </a:solidFill>
                <a:latin typeface="+mn-lt"/>
                <a:ea typeface="ヒラギノ角ゴ ProN W3" charset="0"/>
                <a:cs typeface="Frutiger Next Pro Light"/>
              </a:rPr>
              <a:t>, sem. </a:t>
            </a:r>
            <a:r>
              <a:rPr lang="en-US" sz="800" dirty="0" err="1">
                <a:solidFill>
                  <a:srgbClr val="FFFFFF"/>
                </a:solidFill>
                <a:latin typeface="+mn-lt"/>
                <a:ea typeface="ヒラギノ角ゴ ProN W3" charset="0"/>
                <a:cs typeface="Frutiger Next Pro Light"/>
              </a:rPr>
              <a:t>Null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nsequa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mass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qu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ni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Donec</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d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justo</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fringill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el</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lique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ec</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ulputat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ge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rcu</a:t>
            </a:r>
            <a:r>
              <a:rPr lang="en-US" sz="800" dirty="0">
                <a:solidFill>
                  <a:srgbClr val="FFFFFF"/>
                </a:solidFill>
                <a:latin typeface="+mn-lt"/>
                <a:ea typeface="ヒラギノ角ゴ ProN W3" charset="0"/>
                <a:cs typeface="Frutiger Next Pro Light"/>
              </a:rPr>
              <a:t>. In </a:t>
            </a:r>
            <a:r>
              <a:rPr lang="en-US" sz="800" dirty="0" err="1">
                <a:solidFill>
                  <a:srgbClr val="FFFFFF"/>
                </a:solidFill>
                <a:latin typeface="+mn-lt"/>
                <a:ea typeface="ヒラギノ角ゴ ProN W3" charset="0"/>
                <a:cs typeface="Frutiger Next Pro Light"/>
              </a:rPr>
              <a:t>eni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justo</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rhonc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u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imperdiet</a:t>
            </a:r>
            <a:r>
              <a:rPr lang="en-US" sz="800" dirty="0">
                <a:solidFill>
                  <a:srgbClr val="FFFFFF"/>
                </a:solidFill>
                <a:latin typeface="+mn-lt"/>
                <a:ea typeface="ヒラギノ角ゴ ProN W3" charset="0"/>
                <a:cs typeface="Frutiger Next Pro Light"/>
              </a:rPr>
              <a:t> a, </a:t>
            </a:r>
            <a:r>
              <a:rPr lang="en-US" sz="800" dirty="0" err="1">
                <a:solidFill>
                  <a:srgbClr val="FFFFFF"/>
                </a:solidFill>
                <a:latin typeface="+mn-lt"/>
                <a:ea typeface="ヒラギノ角ゴ ProN W3" charset="0"/>
                <a:cs typeface="Frutiger Next Pro Light"/>
              </a:rPr>
              <a:t>venenatis</a:t>
            </a:r>
            <a:r>
              <a:rPr lang="en-US" sz="800" dirty="0">
                <a:solidFill>
                  <a:srgbClr val="FFFFFF"/>
                </a:solidFill>
                <a:latin typeface="+mn-lt"/>
                <a:ea typeface="ヒラギノ角ゴ ProN W3" charset="0"/>
                <a:cs typeface="Frutiger Next Pro Light"/>
              </a:rPr>
              <a:t> vitae, </a:t>
            </a:r>
            <a:r>
              <a:rPr lang="en-US" sz="800" dirty="0" err="1">
                <a:solidFill>
                  <a:srgbClr val="FFFFFF"/>
                </a:solidFill>
                <a:latin typeface="+mn-lt"/>
                <a:ea typeface="ヒラギノ角ゴ ProN W3" charset="0"/>
                <a:cs typeface="Frutiger Next Pro Light"/>
              </a:rPr>
              <a:t>justo</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Nullam</a:t>
            </a:r>
            <a:r>
              <a:rPr lang="en-US" sz="800" dirty="0">
                <a:solidFill>
                  <a:srgbClr val="FFFFFF"/>
                </a:solidFill>
                <a:latin typeface="+mn-lt"/>
                <a:ea typeface="ヒラギノ角ゴ ProN W3" charset="0"/>
                <a:cs typeface="Frutiger Next Pro Light"/>
              </a:rPr>
              <a:t> dictum </a:t>
            </a:r>
            <a:r>
              <a:rPr lang="en-US" sz="800" dirty="0" err="1">
                <a:solidFill>
                  <a:srgbClr val="FFFFFF"/>
                </a:solidFill>
                <a:latin typeface="+mn-lt"/>
                <a:ea typeface="ヒラギノ角ゴ ProN W3" charset="0"/>
                <a:cs typeface="Frutiger Next Pro Light"/>
              </a:rPr>
              <a:t>fel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u</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ed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moll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pretium</a:t>
            </a:r>
            <a:r>
              <a:rPr lang="en-US" sz="800" dirty="0">
                <a:solidFill>
                  <a:srgbClr val="FFFFFF"/>
                </a:solidFill>
                <a:latin typeface="+mn-lt"/>
                <a:ea typeface="ヒラギノ角ゴ ProN W3" charset="0"/>
                <a:cs typeface="Frutiger Next Pro Light"/>
              </a:rPr>
              <a:t>. Integer </a:t>
            </a:r>
            <a:r>
              <a:rPr lang="en-US" sz="800" dirty="0" err="1">
                <a:solidFill>
                  <a:srgbClr val="FFFFFF"/>
                </a:solidFill>
                <a:latin typeface="+mn-lt"/>
                <a:ea typeface="ヒラギノ角ゴ ProN W3" charset="0"/>
                <a:cs typeface="Frutiger Next Pro Light"/>
              </a:rPr>
              <a:t>tincidunt</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ra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dapib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ivam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lementum</a:t>
            </a:r>
            <a:r>
              <a:rPr lang="en-US" sz="800" dirty="0">
                <a:solidFill>
                  <a:srgbClr val="FFFFFF"/>
                </a:solidFill>
                <a:latin typeface="+mn-lt"/>
                <a:ea typeface="ヒラギノ角ゴ ProN W3" charset="0"/>
                <a:cs typeface="Frutiger Next Pro Light"/>
              </a:rPr>
              <a:t> semper nisi.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vulputate</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leifend</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tellu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enean</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leo</a:t>
            </a:r>
            <a:r>
              <a:rPr lang="en-US" sz="800" dirty="0">
                <a:solidFill>
                  <a:srgbClr val="FFFFFF"/>
                </a:solidFill>
                <a:latin typeface="+mn-lt"/>
                <a:ea typeface="ヒラギノ角ゴ ProN W3" charset="0"/>
                <a:cs typeface="Frutiger Next Pro Light"/>
              </a:rPr>
              <a:t> ligula, </a:t>
            </a:r>
            <a:r>
              <a:rPr lang="en-US" sz="800" dirty="0" err="1">
                <a:solidFill>
                  <a:srgbClr val="FFFFFF"/>
                </a:solidFill>
                <a:latin typeface="+mn-lt"/>
                <a:ea typeface="ヒラギノ角ゴ ProN W3" charset="0"/>
                <a:cs typeface="Frutiger Next Pro Light"/>
              </a:rPr>
              <a:t>porttitor</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eu</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consequat</a:t>
            </a:r>
            <a:r>
              <a:rPr lang="en-US" sz="800" dirty="0">
                <a:solidFill>
                  <a:srgbClr val="FFFFFF"/>
                </a:solidFill>
                <a:latin typeface="+mn-lt"/>
                <a:ea typeface="ヒラギノ角ゴ ProN W3" charset="0"/>
                <a:cs typeface="Frutiger Next Pro Light"/>
              </a:rPr>
              <a:t> vitae, </a:t>
            </a:r>
            <a:r>
              <a:rPr lang="en-US" sz="800" dirty="0" err="1">
                <a:solidFill>
                  <a:srgbClr val="FFFFFF"/>
                </a:solidFill>
                <a:latin typeface="+mn-lt"/>
                <a:ea typeface="ヒラギノ角ゴ ProN W3" charset="0"/>
                <a:cs typeface="Frutiger Next Pro Light"/>
              </a:rPr>
              <a:t>eleifend</a:t>
            </a:r>
            <a:r>
              <a:rPr lang="en-US" sz="800" dirty="0">
                <a:solidFill>
                  <a:srgbClr val="FFFFFF"/>
                </a:solidFill>
                <a:latin typeface="+mn-lt"/>
                <a:ea typeface="ヒラギノ角ゴ ProN W3" charset="0"/>
                <a:cs typeface="Frutiger Next Pro Light"/>
              </a:rPr>
              <a:t> ac, </a:t>
            </a:r>
            <a:r>
              <a:rPr lang="en-US" sz="800" dirty="0" err="1">
                <a:solidFill>
                  <a:srgbClr val="FFFFFF"/>
                </a:solidFill>
                <a:latin typeface="+mn-lt"/>
                <a:ea typeface="ヒラギノ角ゴ ProN W3" charset="0"/>
                <a:cs typeface="Frutiger Next Pro Light"/>
              </a:rPr>
              <a:t>enim</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Aliquam</a:t>
            </a:r>
            <a:r>
              <a:rPr lang="en-US" sz="800" dirty="0">
                <a:solidFill>
                  <a:srgbClr val="FFFFFF"/>
                </a:solidFill>
                <a:latin typeface="+mn-lt"/>
                <a:ea typeface="ヒラギノ角ゴ ProN W3" charset="0"/>
                <a:cs typeface="Frutiger Next Pro Light"/>
              </a:rPr>
              <a:t> lorem ante, </a:t>
            </a:r>
            <a:r>
              <a:rPr lang="en-US" sz="800" dirty="0" err="1">
                <a:solidFill>
                  <a:srgbClr val="FFFFFF"/>
                </a:solidFill>
                <a:latin typeface="+mn-lt"/>
                <a:ea typeface="ヒラギノ角ゴ ProN W3" charset="0"/>
                <a:cs typeface="Frutiger Next Pro Light"/>
              </a:rPr>
              <a:t>dapibus</a:t>
            </a:r>
            <a:r>
              <a:rPr lang="en-US" sz="800" dirty="0">
                <a:solidFill>
                  <a:srgbClr val="FFFFFF"/>
                </a:solidFill>
                <a:latin typeface="+mn-lt"/>
                <a:ea typeface="ヒラギノ角ゴ ProN W3" charset="0"/>
                <a:cs typeface="Frutiger Next Pro Light"/>
              </a:rPr>
              <a:t> in, </a:t>
            </a:r>
            <a:r>
              <a:rPr lang="en-US" sz="800" dirty="0" err="1">
                <a:solidFill>
                  <a:srgbClr val="FFFFFF"/>
                </a:solidFill>
                <a:latin typeface="+mn-lt"/>
                <a:ea typeface="ヒラギノ角ゴ ProN W3" charset="0"/>
                <a:cs typeface="Frutiger Next Pro Light"/>
              </a:rPr>
              <a:t>viverra</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quis</a:t>
            </a:r>
            <a:r>
              <a:rPr lang="en-US" sz="800" dirty="0">
                <a:solidFill>
                  <a:srgbClr val="FFFFFF"/>
                </a:solidFill>
                <a:latin typeface="+mn-lt"/>
                <a:ea typeface="ヒラギノ角ゴ ProN W3" charset="0"/>
                <a:cs typeface="Frutiger Next Pro Light"/>
              </a:rPr>
              <a:t>, </a:t>
            </a:r>
            <a:r>
              <a:rPr lang="en-US" sz="800" dirty="0" err="1">
                <a:solidFill>
                  <a:srgbClr val="FFFFFF"/>
                </a:solidFill>
                <a:latin typeface="+mn-lt"/>
                <a:ea typeface="ヒラギノ角ゴ ProN W3" charset="0"/>
                <a:cs typeface="Frutiger Next Pro Light"/>
              </a:rPr>
              <a:t>feugiat</a:t>
            </a:r>
            <a:r>
              <a:rPr lang="en-US" sz="800" dirty="0">
                <a:solidFill>
                  <a:srgbClr val="FFFFFF"/>
                </a:solidFill>
                <a:latin typeface="+mn-lt"/>
                <a:ea typeface="ヒラギノ角ゴ ProN W3" charset="0"/>
                <a:cs typeface="Frutiger Next Pro Light"/>
              </a:rPr>
              <a:t> a, </a:t>
            </a:r>
            <a:r>
              <a:rPr lang="en-US" sz="800" dirty="0" err="1">
                <a:solidFill>
                  <a:srgbClr val="FFFFFF"/>
                </a:solidFill>
                <a:latin typeface="+mn-lt"/>
                <a:ea typeface="ヒラギノ角ゴ ProN W3" charset="0"/>
                <a:cs typeface="Frutiger Next Pro Light"/>
              </a:rPr>
              <a:t>tellus</a:t>
            </a:r>
            <a:r>
              <a:rPr lang="en-US" sz="800" dirty="0">
                <a:solidFill>
                  <a:srgbClr val="FFFFFF"/>
                </a:solidFill>
                <a:latin typeface="+mn-lt"/>
                <a:ea typeface="ヒラギノ角ゴ ProN W3" charset="0"/>
                <a:cs typeface="Frutiger Next Pro Light"/>
              </a:rPr>
              <a:t>...</a:t>
            </a:r>
            <a:endParaRPr lang="en-US" sz="1100" dirty="0">
              <a:solidFill>
                <a:srgbClr val="FFFFFF"/>
              </a:solidFill>
              <a:latin typeface="+mn-lt"/>
              <a:ea typeface="ヒラギノ角ゴ ProN W3" charset="0"/>
              <a:cs typeface="Frutiger Next Pro Light"/>
            </a:endParaRPr>
          </a:p>
        </p:txBody>
      </p:sp>
    </p:spTree>
    <p:extLst>
      <p:ext uri="{BB962C8B-B14F-4D97-AF65-F5344CB8AC3E}">
        <p14:creationId xmlns:p14="http://schemas.microsoft.com/office/powerpoint/2010/main" val="4228004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ca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4006393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813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2" name="Text Placeholder 3"/>
          <p:cNvSpPr>
            <a:spLocks noGrp="1"/>
          </p:cNvSpPr>
          <p:nvPr>
            <p:ph type="body" sz="quarter" idx="23" hasCustomPrompt="1"/>
          </p:nvPr>
        </p:nvSpPr>
        <p:spPr>
          <a:xfrm>
            <a:off x="558800" y="5237189"/>
            <a:ext cx="5537201" cy="904875"/>
          </a:xfrm>
        </p:spPr>
        <p:txBody>
          <a:bodyPr>
            <a:noAutofit/>
          </a:bodyPr>
          <a:lstStyle>
            <a:lvl1pPr marL="0" indent="0" algn="l">
              <a:buFont typeface="Arial" pitchFamily="34" charset="0"/>
              <a:buNone/>
              <a:defRPr sz="1700">
                <a:solidFill>
                  <a:schemeClr val="bg1">
                    <a:lumMod val="65000"/>
                  </a:schemeClr>
                </a:solidFill>
                <a:latin typeface="Frutiger Next Pro Light" pitchFamily="34" charset="0"/>
              </a:defRPr>
            </a:lvl1pPr>
            <a:lvl2pPr marL="457200" indent="0" algn="ctr">
              <a:buFontTx/>
              <a:buNone/>
              <a:defRPr sz="900">
                <a:solidFill>
                  <a:schemeClr val="bg1">
                    <a:lumMod val="65000"/>
                  </a:schemeClr>
                </a:solidFill>
              </a:defRPr>
            </a:lvl2pPr>
            <a:lvl3pPr marL="914400" indent="0" algn="ctr">
              <a:buFontTx/>
              <a:buNone/>
              <a:defRPr sz="900">
                <a:solidFill>
                  <a:schemeClr val="bg1">
                    <a:lumMod val="65000"/>
                  </a:schemeClr>
                </a:solidFill>
              </a:defRPr>
            </a:lvl3pPr>
            <a:lvl4pPr marL="1371600" indent="0" algn="ctr">
              <a:buFontTx/>
              <a:buNone/>
              <a:defRPr sz="900">
                <a:solidFill>
                  <a:schemeClr val="bg1">
                    <a:lumMod val="65000"/>
                  </a:schemeClr>
                </a:solidFill>
              </a:defRPr>
            </a:lvl4pPr>
            <a:lvl5pPr marL="1828800" indent="0" algn="ctr">
              <a:buFontTx/>
              <a:buNone/>
              <a:defRPr sz="900">
                <a:solidFill>
                  <a:schemeClr val="bg1">
                    <a:lumMod val="65000"/>
                  </a:schemeClr>
                </a:solidFill>
              </a:defRPr>
            </a:lvl5pPr>
          </a:lstStyle>
          <a:p>
            <a:pPr lvl="0"/>
            <a:r>
              <a:rPr lang="en-US" dirty="0"/>
              <a:t>Deloitte Digital</a:t>
            </a:r>
          </a:p>
          <a:p>
            <a:pPr lvl="0"/>
            <a:r>
              <a:rPr lang="en-US" dirty="0" err="1"/>
              <a:t>Rosenheimer</a:t>
            </a:r>
            <a:r>
              <a:rPr lang="en-US" dirty="0"/>
              <a:t> </a:t>
            </a:r>
            <a:r>
              <a:rPr lang="en-US" dirty="0" err="1"/>
              <a:t>Platz</a:t>
            </a:r>
            <a:r>
              <a:rPr lang="en-US" dirty="0"/>
              <a:t> 3</a:t>
            </a:r>
          </a:p>
          <a:p>
            <a:pPr lvl="0"/>
            <a:r>
              <a:rPr lang="en-US" dirty="0"/>
              <a:t>81669 </a:t>
            </a:r>
            <a:r>
              <a:rPr lang="en-US" dirty="0" err="1"/>
              <a:t>München</a:t>
            </a:r>
            <a:endParaRPr lang="en-US" dirty="0"/>
          </a:p>
        </p:txBody>
      </p:sp>
      <p:sp>
        <p:nvSpPr>
          <p:cNvPr id="13" name="Text Placeholder 4"/>
          <p:cNvSpPr>
            <a:spLocks noGrp="1"/>
          </p:cNvSpPr>
          <p:nvPr>
            <p:ph type="body" sz="quarter" idx="27" hasCustomPrompt="1"/>
          </p:nvPr>
        </p:nvSpPr>
        <p:spPr>
          <a:xfrm>
            <a:off x="558800" y="4365625"/>
            <a:ext cx="5537201" cy="850900"/>
          </a:xfrm>
        </p:spPr>
        <p:txBody>
          <a:bodyPr>
            <a:noAutofit/>
          </a:bodyPr>
          <a:lstStyle>
            <a:lvl1pPr marL="0" indent="0">
              <a:buNone/>
              <a:defRPr sz="5400" baseline="0">
                <a:solidFill>
                  <a:schemeClr val="bg1"/>
                </a:solidFill>
              </a:defRPr>
            </a:lvl1pPr>
          </a:lstStyle>
          <a:p>
            <a:pPr lvl="0"/>
            <a:r>
              <a:rPr lang="en-US" dirty="0"/>
              <a:t>Get in touch.</a:t>
            </a:r>
          </a:p>
        </p:txBody>
      </p:sp>
      <p:sp>
        <p:nvSpPr>
          <p:cNvPr id="15" name="Text Placeholder 3"/>
          <p:cNvSpPr>
            <a:spLocks noGrp="1"/>
          </p:cNvSpPr>
          <p:nvPr>
            <p:ph type="body" sz="quarter" idx="29" hasCustomPrompt="1"/>
          </p:nvPr>
        </p:nvSpPr>
        <p:spPr>
          <a:xfrm>
            <a:off x="8567328" y="5209429"/>
            <a:ext cx="3051057" cy="341906"/>
          </a:xfrm>
        </p:spPr>
        <p:txBody>
          <a:bodyPr vert="horz" lIns="36000" tIns="36000" rIns="36000" bIns="36000" rtlCol="0" anchor="ctr">
            <a:normAutofit/>
          </a:bodyPr>
          <a:lstStyle>
            <a:lvl1pPr>
              <a:defRPr lang="en-US" baseline="0" dirty="0">
                <a:solidFill>
                  <a:schemeClr val="bg1"/>
                </a:solidFill>
              </a:defRPr>
            </a:lvl1pPr>
          </a:lstStyle>
          <a:p>
            <a:pPr marL="0" lvl="0" indent="0">
              <a:buNone/>
            </a:pPr>
            <a:r>
              <a:rPr lang="en-US" dirty="0"/>
              <a:t>Phone…</a:t>
            </a:r>
          </a:p>
        </p:txBody>
      </p:sp>
      <p:sp>
        <p:nvSpPr>
          <p:cNvPr id="16" name="Text Placeholder 3"/>
          <p:cNvSpPr>
            <a:spLocks noGrp="1"/>
          </p:cNvSpPr>
          <p:nvPr>
            <p:ph type="body" sz="quarter" idx="30" hasCustomPrompt="1"/>
          </p:nvPr>
        </p:nvSpPr>
        <p:spPr>
          <a:xfrm>
            <a:off x="8567328" y="5600369"/>
            <a:ext cx="3051057" cy="341906"/>
          </a:xfrm>
        </p:spPr>
        <p:txBody>
          <a:bodyPr vert="horz" lIns="36000" tIns="36000" rIns="36000" bIns="36000" rtlCol="0" anchor="ctr">
            <a:normAutofit/>
          </a:bodyPr>
          <a:lstStyle>
            <a:lvl1pPr>
              <a:defRPr lang="en-US" baseline="0" dirty="0">
                <a:solidFill>
                  <a:schemeClr val="bg1"/>
                </a:solidFill>
              </a:defRPr>
            </a:lvl1pPr>
          </a:lstStyle>
          <a:p>
            <a:pPr marL="0" lvl="0" indent="0">
              <a:buNone/>
            </a:pPr>
            <a:r>
              <a:rPr lang="en-US" dirty="0"/>
              <a:t>Mail…</a:t>
            </a:r>
          </a:p>
        </p:txBody>
      </p:sp>
      <p:sp>
        <p:nvSpPr>
          <p:cNvPr id="17" name="Text Placeholder 3"/>
          <p:cNvSpPr>
            <a:spLocks noGrp="1"/>
          </p:cNvSpPr>
          <p:nvPr>
            <p:ph type="body" sz="quarter" idx="28" hasCustomPrompt="1"/>
          </p:nvPr>
        </p:nvSpPr>
        <p:spPr>
          <a:xfrm>
            <a:off x="8057323" y="4731026"/>
            <a:ext cx="3561062" cy="341906"/>
          </a:xfrm>
        </p:spPr>
        <p:txBody>
          <a:bodyPr vert="horz" lIns="36000" tIns="36000" rIns="36000" bIns="36000" rtlCol="0">
            <a:normAutofit/>
          </a:bodyPr>
          <a:lstStyle>
            <a:lvl1pPr>
              <a:defRPr lang="en-US" baseline="0" dirty="0">
                <a:solidFill>
                  <a:schemeClr val="bg1"/>
                </a:solidFill>
              </a:defRPr>
            </a:lvl1pPr>
          </a:lstStyle>
          <a:p>
            <a:pPr marL="0" lvl="0" indent="0">
              <a:buNone/>
            </a:pPr>
            <a:r>
              <a:rPr lang="en-US" dirty="0"/>
              <a:t>Contact Info…</a:t>
            </a:r>
          </a:p>
        </p:txBody>
      </p:sp>
      <p:pic>
        <p:nvPicPr>
          <p:cNvPr id="111670" name="Picture 54"/>
          <p:cNvPicPr>
            <a:picLocks noChangeAspect="1" noChangeArrowheads="1"/>
          </p:cNvPicPr>
          <p:nvPr userDrawn="1"/>
        </p:nvPicPr>
        <p:blipFill rotWithShape="1">
          <a:blip r:embed="rId6" cstate="screen">
            <a:grayscl/>
            <a:extLst>
              <a:ext uri="{28A0092B-C50C-407E-A947-70E740481C1C}">
                <a14:useLocalDpi xmlns:a14="http://schemas.microsoft.com/office/drawing/2010/main"/>
              </a:ext>
            </a:extLst>
          </a:blip>
          <a:srcRect/>
          <a:stretch/>
        </p:blipFill>
        <p:spPr bwMode="auto">
          <a:xfrm>
            <a:off x="0" y="0"/>
            <a:ext cx="12192000" cy="41535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5404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64458861"/>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91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grpSp>
        <p:nvGrpSpPr>
          <p:cNvPr id="25" name="Group 24"/>
          <p:cNvGrpSpPr/>
          <p:nvPr userDrawn="1"/>
        </p:nvGrpSpPr>
        <p:grpSpPr>
          <a:xfrm>
            <a:off x="10251573" y="6015963"/>
            <a:ext cx="1361578" cy="526018"/>
            <a:chOff x="1006476" y="0"/>
            <a:chExt cx="15166973" cy="7211638"/>
          </a:xfrm>
          <a:solidFill>
            <a:schemeClr val="bg1"/>
          </a:solidFill>
        </p:grpSpPr>
        <p:grpSp>
          <p:nvGrpSpPr>
            <p:cNvPr id="26" name="Group 25"/>
            <p:cNvGrpSpPr/>
            <p:nvPr/>
          </p:nvGrpSpPr>
          <p:grpSpPr>
            <a:xfrm>
              <a:off x="1050026" y="0"/>
              <a:ext cx="15123423" cy="2811241"/>
              <a:chOff x="292101" y="403484"/>
              <a:chExt cx="14551023" cy="2704840"/>
            </a:xfrm>
            <a:grpFill/>
          </p:grpSpPr>
          <p:sp>
            <p:nvSpPr>
              <p:cNvPr id="35"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6"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8" name="Rectangle 37"/>
              <p:cNvSpPr/>
              <p:nvPr/>
            </p:nvSpPr>
            <p:spPr>
              <a:xfrm>
                <a:off x="4933950" y="447675"/>
                <a:ext cx="644525" cy="2628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9"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0"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1"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2"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Oval 42"/>
              <p:cNvSpPr/>
              <p:nvPr/>
            </p:nvSpPr>
            <p:spPr>
              <a:xfrm>
                <a:off x="14128749" y="2393949"/>
                <a:ext cx="714375" cy="7143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27" name="Group 26"/>
            <p:cNvGrpSpPr/>
            <p:nvPr/>
          </p:nvGrpSpPr>
          <p:grpSpPr>
            <a:xfrm>
              <a:off x="1006476" y="3535646"/>
              <a:ext cx="11165226" cy="3675992"/>
              <a:chOff x="-1506982" y="2838278"/>
              <a:chExt cx="11165226" cy="3675992"/>
            </a:xfrm>
            <a:grpFill/>
          </p:grpSpPr>
          <p:sp>
            <p:nvSpPr>
              <p:cNvPr id="28" name="Flowchart: Delay 6"/>
              <p:cNvSpPr/>
              <p:nvPr/>
            </p:nvSpPr>
            <p:spPr>
              <a:xfrm>
                <a:off x="-1506982" y="2838278"/>
                <a:ext cx="2373223" cy="2734977"/>
              </a:xfrm>
              <a:custGeom>
                <a:avLst/>
                <a:gdLst/>
                <a:ahLst/>
                <a:cxnLst/>
                <a:rect l="l" t="t" r="r" b="b"/>
                <a:pathLst>
                  <a:path w="2373223" h="2734977">
                    <a:moveTo>
                      <a:pt x="801462" y="542228"/>
                    </a:moveTo>
                    <a:cubicBezTo>
                      <a:pt x="768131" y="541817"/>
                      <a:pt x="760104" y="543372"/>
                      <a:pt x="655025" y="554586"/>
                    </a:cubicBezTo>
                    <a:lnTo>
                      <a:pt x="655025" y="2203302"/>
                    </a:lnTo>
                    <a:cubicBezTo>
                      <a:pt x="784080" y="2203302"/>
                      <a:pt x="817500" y="2209282"/>
                      <a:pt x="944423" y="2203302"/>
                    </a:cubicBezTo>
                    <a:cubicBezTo>
                      <a:pt x="1383490" y="2170407"/>
                      <a:pt x="1679558" y="1856007"/>
                      <a:pt x="1689355" y="1378944"/>
                    </a:cubicBezTo>
                    <a:cubicBezTo>
                      <a:pt x="1699152" y="901881"/>
                      <a:pt x="1339362" y="522496"/>
                      <a:pt x="915214" y="543428"/>
                    </a:cubicBezTo>
                    <a:cubicBezTo>
                      <a:pt x="850568" y="543428"/>
                      <a:pt x="821461" y="542474"/>
                      <a:pt x="801462" y="542228"/>
                    </a:cubicBezTo>
                    <a:close/>
                    <a:moveTo>
                      <a:pt x="809819" y="1363"/>
                    </a:moveTo>
                    <a:cubicBezTo>
                      <a:pt x="1782681" y="-32854"/>
                      <a:pt x="2398497" y="581163"/>
                      <a:pt x="2372427" y="1383107"/>
                    </a:cubicBezTo>
                    <a:cubicBezTo>
                      <a:pt x="2346356" y="2185050"/>
                      <a:pt x="1895110" y="2676861"/>
                      <a:pt x="888030" y="2730632"/>
                    </a:cubicBezTo>
                    <a:cubicBezTo>
                      <a:pt x="596908" y="2740409"/>
                      <a:pt x="296010" y="2730631"/>
                      <a:pt x="0" y="2730631"/>
                    </a:cubicBezTo>
                    <a:lnTo>
                      <a:pt x="0" y="35581"/>
                    </a:lnTo>
                    <a:cubicBezTo>
                      <a:pt x="385628" y="6252"/>
                      <a:pt x="414415" y="1363"/>
                      <a:pt x="809819" y="13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p:nvSpPr>
            <p:spPr>
              <a:xfrm>
                <a:off x="8998170" y="2880935"/>
                <a:ext cx="660074" cy="26923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Rectangle 37"/>
              <p:cNvSpPr/>
              <p:nvPr/>
            </p:nvSpPr>
            <p:spPr>
              <a:xfrm>
                <a:off x="1129670" y="2880934"/>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9"/>
              <p:cNvSpPr/>
              <p:nvPr/>
            </p:nvSpPr>
            <p:spPr>
              <a:xfrm>
                <a:off x="5312408" y="2975994"/>
                <a:ext cx="1405937" cy="2648882"/>
              </a:xfrm>
              <a:custGeom>
                <a:avLst/>
                <a:gdLst/>
                <a:ahLst/>
                <a:cxnLst/>
                <a:rect l="l" t="t" r="r" b="b"/>
                <a:pathLst>
                  <a:path w="1405937" h="2648882">
                    <a:moveTo>
                      <a:pt x="910735" y="0"/>
                    </a:moveTo>
                    <a:lnTo>
                      <a:pt x="910735" y="615204"/>
                    </a:lnTo>
                    <a:lnTo>
                      <a:pt x="1342826" y="615204"/>
                    </a:lnTo>
                    <a:lnTo>
                      <a:pt x="1342826" y="1113749"/>
                    </a:lnTo>
                    <a:lnTo>
                      <a:pt x="910735" y="1113749"/>
                    </a:lnTo>
                    <a:lnTo>
                      <a:pt x="910735" y="1398929"/>
                    </a:lnTo>
                    <a:lnTo>
                      <a:pt x="909291" y="1398770"/>
                    </a:lnTo>
                    <a:lnTo>
                      <a:pt x="909291" y="1852069"/>
                    </a:lnTo>
                    <a:cubicBezTo>
                      <a:pt x="913627" y="1946443"/>
                      <a:pt x="951741" y="2035139"/>
                      <a:pt x="1043315" y="2082050"/>
                    </a:cubicBezTo>
                    <a:cubicBezTo>
                      <a:pt x="1213294" y="2123725"/>
                      <a:pt x="1275245" y="2096758"/>
                      <a:pt x="1405937" y="2067341"/>
                    </a:cubicBezTo>
                    <a:lnTo>
                      <a:pt x="1405937" y="2587949"/>
                    </a:lnTo>
                    <a:cubicBezTo>
                      <a:pt x="1247419" y="2627685"/>
                      <a:pt x="816383" y="2704190"/>
                      <a:pt x="586666" y="2584585"/>
                    </a:cubicBezTo>
                    <a:cubicBezTo>
                      <a:pt x="365715" y="2484384"/>
                      <a:pt x="274877" y="2239548"/>
                      <a:pt x="255234" y="1989810"/>
                    </a:cubicBezTo>
                    <a:lnTo>
                      <a:pt x="256050" y="1989628"/>
                    </a:lnTo>
                    <a:lnTo>
                      <a:pt x="256050" y="1326914"/>
                    </a:lnTo>
                    <a:lnTo>
                      <a:pt x="256049" y="1326914"/>
                    </a:lnTo>
                    <a:lnTo>
                      <a:pt x="256049" y="1113749"/>
                    </a:lnTo>
                    <a:lnTo>
                      <a:pt x="0" y="1113749"/>
                    </a:lnTo>
                    <a:lnTo>
                      <a:pt x="0" y="615204"/>
                    </a:lnTo>
                    <a:lnTo>
                      <a:pt x="256049" y="615204"/>
                    </a:lnTo>
                    <a:lnTo>
                      <a:pt x="256049" y="720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2" name="Rectangle 43"/>
              <p:cNvSpPr/>
              <p:nvPr/>
            </p:nvSpPr>
            <p:spPr>
              <a:xfrm>
                <a:off x="4370090" y="2880935"/>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Oval 15"/>
              <p:cNvSpPr/>
              <p:nvPr/>
            </p:nvSpPr>
            <p:spPr>
              <a:xfrm>
                <a:off x="2021351" y="3531392"/>
                <a:ext cx="2050586" cy="2982878"/>
              </a:xfrm>
              <a:custGeom>
                <a:avLst/>
                <a:gdLst/>
                <a:ahLst/>
                <a:cxnLst/>
                <a:rect l="l" t="t" r="r" b="b"/>
                <a:pathLst>
                  <a:path w="2050586" h="2982878">
                    <a:moveTo>
                      <a:pt x="1051854" y="510196"/>
                    </a:moveTo>
                    <a:cubicBezTo>
                      <a:pt x="818915" y="514146"/>
                      <a:pt x="642809" y="709495"/>
                      <a:pt x="638909" y="1067081"/>
                    </a:cubicBezTo>
                    <a:cubicBezTo>
                      <a:pt x="635009" y="1424667"/>
                      <a:pt x="823791" y="1623966"/>
                      <a:pt x="1051854" y="1623966"/>
                    </a:cubicBezTo>
                    <a:cubicBezTo>
                      <a:pt x="1237304" y="1623966"/>
                      <a:pt x="1389689" y="1483481"/>
                      <a:pt x="1441801" y="1245336"/>
                    </a:cubicBezTo>
                    <a:lnTo>
                      <a:pt x="1441801" y="871896"/>
                    </a:lnTo>
                    <a:cubicBezTo>
                      <a:pt x="1390037" y="636468"/>
                      <a:pt x="1238194" y="507037"/>
                      <a:pt x="1051854" y="510196"/>
                    </a:cubicBezTo>
                    <a:close/>
                    <a:moveTo>
                      <a:pt x="922906" y="62"/>
                    </a:moveTo>
                    <a:cubicBezTo>
                      <a:pt x="1094124" y="2254"/>
                      <a:pt x="1286677" y="67187"/>
                      <a:pt x="1441801" y="211676"/>
                    </a:cubicBezTo>
                    <a:lnTo>
                      <a:pt x="1441801" y="59283"/>
                    </a:lnTo>
                    <a:lnTo>
                      <a:pt x="2050586" y="59283"/>
                    </a:lnTo>
                    <a:lnTo>
                      <a:pt x="2050586" y="2050529"/>
                    </a:lnTo>
                    <a:lnTo>
                      <a:pt x="2049824" y="2050529"/>
                    </a:lnTo>
                    <a:cubicBezTo>
                      <a:pt x="2042228" y="2324966"/>
                      <a:pt x="1914078" y="2586024"/>
                      <a:pt x="1741025" y="2740770"/>
                    </a:cubicBezTo>
                    <a:cubicBezTo>
                      <a:pt x="1565806" y="2897454"/>
                      <a:pt x="1260483" y="2963176"/>
                      <a:pt x="989743" y="2980332"/>
                    </a:cubicBezTo>
                    <a:cubicBezTo>
                      <a:pt x="696029" y="2998261"/>
                      <a:pt x="376391" y="2918595"/>
                      <a:pt x="186431" y="2833390"/>
                    </a:cubicBezTo>
                    <a:lnTo>
                      <a:pt x="315452" y="2340665"/>
                    </a:lnTo>
                    <a:cubicBezTo>
                      <a:pt x="472820" y="2417366"/>
                      <a:pt x="608780" y="2473080"/>
                      <a:pt x="769523" y="2498896"/>
                    </a:cubicBezTo>
                    <a:cubicBezTo>
                      <a:pt x="881706" y="2502874"/>
                      <a:pt x="1108687" y="2496171"/>
                      <a:pt x="1224291" y="2424065"/>
                    </a:cubicBezTo>
                    <a:cubicBezTo>
                      <a:pt x="1349420" y="2349578"/>
                      <a:pt x="1429412" y="2229849"/>
                      <a:pt x="1441713" y="2044829"/>
                    </a:cubicBezTo>
                    <a:cubicBezTo>
                      <a:pt x="1441742" y="2044829"/>
                      <a:pt x="1441772" y="2044829"/>
                      <a:pt x="1441801" y="2044829"/>
                    </a:cubicBezTo>
                    <a:lnTo>
                      <a:pt x="1441801" y="1865142"/>
                    </a:lnTo>
                    <a:cubicBezTo>
                      <a:pt x="1215364" y="2074903"/>
                      <a:pt x="921880" y="2106991"/>
                      <a:pt x="789556" y="2109742"/>
                    </a:cubicBezTo>
                    <a:cubicBezTo>
                      <a:pt x="560506" y="2114505"/>
                      <a:pt x="-3162" y="1870860"/>
                      <a:pt x="14" y="1066808"/>
                    </a:cubicBezTo>
                    <a:cubicBezTo>
                      <a:pt x="3189" y="262756"/>
                      <a:pt x="550982" y="-4699"/>
                      <a:pt x="922906" y="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Teardrop 10"/>
              <p:cNvSpPr/>
              <p:nvPr/>
            </p:nvSpPr>
            <p:spPr>
              <a:xfrm>
                <a:off x="6933888" y="3546707"/>
                <a:ext cx="1819195" cy="2078169"/>
              </a:xfrm>
              <a:custGeom>
                <a:avLst/>
                <a:gdLst/>
                <a:ahLst/>
                <a:cxnLst/>
                <a:rect l="l" t="t" r="r" b="b"/>
                <a:pathLst>
                  <a:path w="1819195" h="2078169">
                    <a:moveTo>
                      <a:pt x="1186796" y="1087595"/>
                    </a:moveTo>
                    <a:cubicBezTo>
                      <a:pt x="1113625" y="1090104"/>
                      <a:pt x="1058299" y="1092613"/>
                      <a:pt x="915050" y="1110177"/>
                    </a:cubicBezTo>
                    <a:cubicBezTo>
                      <a:pt x="712653" y="1132759"/>
                      <a:pt x="611934" y="1254340"/>
                      <a:pt x="610704" y="1401552"/>
                    </a:cubicBezTo>
                    <a:cubicBezTo>
                      <a:pt x="617261" y="1602596"/>
                      <a:pt x="782865" y="1640445"/>
                      <a:pt x="868331" y="1644000"/>
                    </a:cubicBezTo>
                    <a:cubicBezTo>
                      <a:pt x="1009257" y="1644000"/>
                      <a:pt x="1189411" y="1525823"/>
                      <a:pt x="1189411" y="1403702"/>
                    </a:cubicBezTo>
                    <a:close/>
                    <a:moveTo>
                      <a:pt x="918836" y="764"/>
                    </a:moveTo>
                    <a:cubicBezTo>
                      <a:pt x="1160938" y="11084"/>
                      <a:pt x="1410748" y="83418"/>
                      <a:pt x="1561827" y="205882"/>
                    </a:cubicBezTo>
                    <a:cubicBezTo>
                      <a:pt x="1712906" y="328347"/>
                      <a:pt x="1788347" y="549970"/>
                      <a:pt x="1782252" y="771155"/>
                    </a:cubicBezTo>
                    <a:lnTo>
                      <a:pt x="1781486" y="771131"/>
                    </a:lnTo>
                    <a:lnTo>
                      <a:pt x="1781486" y="1794503"/>
                    </a:lnTo>
                    <a:lnTo>
                      <a:pt x="1819195" y="2026546"/>
                    </a:lnTo>
                    <a:lnTo>
                      <a:pt x="1277253" y="2026546"/>
                    </a:lnTo>
                    <a:lnTo>
                      <a:pt x="1242709" y="1813981"/>
                    </a:lnTo>
                    <a:cubicBezTo>
                      <a:pt x="1117714" y="1972717"/>
                      <a:pt x="898491" y="2078169"/>
                      <a:pt x="665318" y="2078169"/>
                    </a:cubicBezTo>
                    <a:cubicBezTo>
                      <a:pt x="444604" y="2069173"/>
                      <a:pt x="16933" y="1973385"/>
                      <a:pt x="0" y="1464587"/>
                    </a:cubicBezTo>
                    <a:cubicBezTo>
                      <a:pt x="3175" y="1092025"/>
                      <a:pt x="263280" y="784330"/>
                      <a:pt x="785969" y="727180"/>
                    </a:cubicBezTo>
                    <a:cubicBezTo>
                      <a:pt x="1029946" y="697865"/>
                      <a:pt x="1110970" y="685122"/>
                      <a:pt x="1192076" y="678143"/>
                    </a:cubicBezTo>
                    <a:cubicBezTo>
                      <a:pt x="1182890" y="518370"/>
                      <a:pt x="1036964" y="440610"/>
                      <a:pt x="899685" y="412566"/>
                    </a:cubicBezTo>
                    <a:cubicBezTo>
                      <a:pt x="608510" y="393798"/>
                      <a:pt x="478098" y="442952"/>
                      <a:pt x="261013" y="553512"/>
                    </a:cubicBezTo>
                    <a:lnTo>
                      <a:pt x="164299" y="163213"/>
                    </a:lnTo>
                    <a:cubicBezTo>
                      <a:pt x="337912" y="93114"/>
                      <a:pt x="656164" y="-9890"/>
                      <a:pt x="918836" y="76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sp>
        <p:nvSpPr>
          <p:cNvPr id="44" name="Text Placeholder 3"/>
          <p:cNvSpPr>
            <a:spLocks noGrp="1"/>
          </p:cNvSpPr>
          <p:nvPr>
            <p:ph type="body" sz="quarter" idx="20" hasCustomPrompt="1"/>
          </p:nvPr>
        </p:nvSpPr>
        <p:spPr>
          <a:xfrm>
            <a:off x="6388922" y="2553669"/>
            <a:ext cx="2481231" cy="252000"/>
          </a:xfrm>
        </p:spPr>
        <p:txBody>
          <a:bodyPr vert="horz" lIns="36000" tIns="36000" rIns="36000" bIns="36000" rtlCol="0">
            <a:noAutofit/>
          </a:bodyPr>
          <a:lstStyle>
            <a:lvl1pPr>
              <a:defRPr lang="en-US" sz="1200" b="1" baseline="0" smtClean="0">
                <a:solidFill>
                  <a:srgbClr val="80BB3B"/>
                </a:solidFill>
              </a:defRPr>
            </a:lvl1pPr>
            <a:lvl2pPr>
              <a:defRPr lang="en-US" smtClean="0"/>
            </a:lvl2pPr>
            <a:lvl3pPr>
              <a:defRPr lang="en-US" smtClean="0"/>
            </a:lvl3pPr>
            <a:lvl4pPr>
              <a:defRPr lang="en-US" smtClean="0"/>
            </a:lvl4pPr>
            <a:lvl5pPr>
              <a:defRPr lang="en-US"/>
            </a:lvl5pPr>
          </a:lstStyle>
          <a:p>
            <a:pPr marL="0" lvl="0" indent="0">
              <a:buNone/>
            </a:pPr>
            <a:r>
              <a:rPr lang="en-US" dirty="0"/>
              <a:t>Name…</a:t>
            </a:r>
          </a:p>
        </p:txBody>
      </p:sp>
      <p:sp>
        <p:nvSpPr>
          <p:cNvPr id="45" name="Text Placeholder 3"/>
          <p:cNvSpPr>
            <a:spLocks noGrp="1"/>
          </p:cNvSpPr>
          <p:nvPr>
            <p:ph type="body" sz="quarter" idx="21" hasCustomPrompt="1"/>
          </p:nvPr>
        </p:nvSpPr>
        <p:spPr>
          <a:xfrm>
            <a:off x="6388922" y="2821268"/>
            <a:ext cx="2481231" cy="468000"/>
          </a:xfrm>
        </p:spPr>
        <p:txBody>
          <a:bodyPr vert="horz" lIns="36000" tIns="36000" rIns="36000" bIns="36000" rtlCol="0">
            <a:noAutofit/>
          </a:bodyPr>
          <a:lstStyle>
            <a:lvl1pPr>
              <a:defRPr lang="en-US" sz="1200" baseline="0" dirty="0"/>
            </a:lvl1pPr>
          </a:lstStyle>
          <a:p>
            <a:pPr marL="0" lvl="0" indent="0">
              <a:buNone/>
            </a:pPr>
            <a:r>
              <a:rPr lang="en-US" dirty="0"/>
              <a:t>Title &amp; Email…</a:t>
            </a:r>
          </a:p>
        </p:txBody>
      </p:sp>
      <p:sp>
        <p:nvSpPr>
          <p:cNvPr id="46" name="Text Placeholder 3"/>
          <p:cNvSpPr>
            <a:spLocks noGrp="1"/>
          </p:cNvSpPr>
          <p:nvPr>
            <p:ph type="body" sz="quarter" idx="22" hasCustomPrompt="1"/>
          </p:nvPr>
        </p:nvSpPr>
        <p:spPr>
          <a:xfrm>
            <a:off x="6388922" y="3412539"/>
            <a:ext cx="2481231" cy="252000"/>
          </a:xfrm>
        </p:spPr>
        <p:txBody>
          <a:bodyPr vert="horz" lIns="36000" tIns="36000" rIns="36000" bIns="36000" rtlCol="0">
            <a:noAutofit/>
          </a:bodyPr>
          <a:lstStyle>
            <a:lvl1pPr>
              <a:defRPr lang="en-US" sz="1200" b="1" baseline="0" smtClean="0">
                <a:solidFill>
                  <a:srgbClr val="80BB3B"/>
                </a:solidFill>
              </a:defRPr>
            </a:lvl1pPr>
            <a:lvl2pPr>
              <a:defRPr lang="en-US" smtClean="0"/>
            </a:lvl2pPr>
            <a:lvl3pPr>
              <a:defRPr lang="en-US" smtClean="0"/>
            </a:lvl3pPr>
            <a:lvl4pPr>
              <a:defRPr lang="en-US" smtClean="0"/>
            </a:lvl4pPr>
            <a:lvl5pPr>
              <a:defRPr lang="en-US"/>
            </a:lvl5pPr>
          </a:lstStyle>
          <a:p>
            <a:pPr marL="0" lvl="0" indent="0">
              <a:buNone/>
            </a:pPr>
            <a:r>
              <a:rPr lang="en-US" dirty="0"/>
              <a:t>Name…</a:t>
            </a:r>
          </a:p>
        </p:txBody>
      </p:sp>
      <p:sp>
        <p:nvSpPr>
          <p:cNvPr id="47" name="Text Placeholder 3"/>
          <p:cNvSpPr>
            <a:spLocks noGrp="1"/>
          </p:cNvSpPr>
          <p:nvPr>
            <p:ph type="body" sz="quarter" idx="23" hasCustomPrompt="1"/>
          </p:nvPr>
        </p:nvSpPr>
        <p:spPr>
          <a:xfrm>
            <a:off x="6388922" y="3680138"/>
            <a:ext cx="2481231" cy="468000"/>
          </a:xfrm>
        </p:spPr>
        <p:txBody>
          <a:bodyPr vert="horz" lIns="36000" tIns="36000" rIns="36000" bIns="36000" rtlCol="0">
            <a:noAutofit/>
          </a:bodyPr>
          <a:lstStyle>
            <a:lvl1pPr>
              <a:defRPr lang="en-US" sz="1200" baseline="0" dirty="0"/>
            </a:lvl1pPr>
          </a:lstStyle>
          <a:p>
            <a:pPr marL="0" lvl="0" indent="0">
              <a:buNone/>
            </a:pPr>
            <a:r>
              <a:rPr lang="en-US" dirty="0"/>
              <a:t>Title &amp; Email…</a:t>
            </a:r>
          </a:p>
        </p:txBody>
      </p:sp>
      <p:sp>
        <p:nvSpPr>
          <p:cNvPr id="48" name="Text Placeholder 3"/>
          <p:cNvSpPr>
            <a:spLocks noGrp="1"/>
          </p:cNvSpPr>
          <p:nvPr>
            <p:ph type="body" sz="quarter" idx="24" hasCustomPrompt="1"/>
          </p:nvPr>
        </p:nvSpPr>
        <p:spPr>
          <a:xfrm>
            <a:off x="9131920" y="2553669"/>
            <a:ext cx="2481231" cy="252000"/>
          </a:xfrm>
        </p:spPr>
        <p:txBody>
          <a:bodyPr vert="horz" lIns="36000" tIns="36000" rIns="36000" bIns="36000" rtlCol="0">
            <a:noAutofit/>
          </a:bodyPr>
          <a:lstStyle>
            <a:lvl1pPr>
              <a:defRPr lang="en-US" sz="1200" b="1" baseline="0" smtClean="0">
                <a:solidFill>
                  <a:srgbClr val="80BB3B"/>
                </a:solidFill>
              </a:defRPr>
            </a:lvl1pPr>
            <a:lvl2pPr>
              <a:defRPr lang="en-US" smtClean="0"/>
            </a:lvl2pPr>
            <a:lvl3pPr>
              <a:defRPr lang="en-US" smtClean="0"/>
            </a:lvl3pPr>
            <a:lvl4pPr>
              <a:defRPr lang="en-US" smtClean="0"/>
            </a:lvl4pPr>
            <a:lvl5pPr>
              <a:defRPr lang="en-US"/>
            </a:lvl5pPr>
          </a:lstStyle>
          <a:p>
            <a:pPr marL="0" lvl="0" indent="0">
              <a:buNone/>
            </a:pPr>
            <a:r>
              <a:rPr lang="en-US" dirty="0"/>
              <a:t>Name…</a:t>
            </a:r>
          </a:p>
        </p:txBody>
      </p:sp>
      <p:sp>
        <p:nvSpPr>
          <p:cNvPr id="49" name="Text Placeholder 3"/>
          <p:cNvSpPr>
            <a:spLocks noGrp="1"/>
          </p:cNvSpPr>
          <p:nvPr>
            <p:ph type="body" sz="quarter" idx="25" hasCustomPrompt="1"/>
          </p:nvPr>
        </p:nvSpPr>
        <p:spPr>
          <a:xfrm>
            <a:off x="9131920" y="2821268"/>
            <a:ext cx="2481231" cy="468000"/>
          </a:xfrm>
        </p:spPr>
        <p:txBody>
          <a:bodyPr vert="horz" lIns="36000" tIns="36000" rIns="36000" bIns="36000" rtlCol="0">
            <a:noAutofit/>
          </a:bodyPr>
          <a:lstStyle>
            <a:lvl1pPr>
              <a:defRPr lang="en-US" sz="1200" baseline="0" dirty="0"/>
            </a:lvl1pPr>
          </a:lstStyle>
          <a:p>
            <a:pPr marL="0" lvl="0" indent="0">
              <a:buNone/>
            </a:pPr>
            <a:r>
              <a:rPr lang="en-US" dirty="0"/>
              <a:t>Title &amp; Email…</a:t>
            </a:r>
          </a:p>
        </p:txBody>
      </p:sp>
      <p:sp>
        <p:nvSpPr>
          <p:cNvPr id="50" name="Text Placeholder 3"/>
          <p:cNvSpPr>
            <a:spLocks noGrp="1"/>
          </p:cNvSpPr>
          <p:nvPr>
            <p:ph type="body" sz="quarter" idx="26" hasCustomPrompt="1"/>
          </p:nvPr>
        </p:nvSpPr>
        <p:spPr>
          <a:xfrm>
            <a:off x="9131920" y="3412539"/>
            <a:ext cx="2481231" cy="252000"/>
          </a:xfrm>
        </p:spPr>
        <p:txBody>
          <a:bodyPr vert="horz" lIns="36000" tIns="36000" rIns="36000" bIns="36000" rtlCol="0">
            <a:noAutofit/>
          </a:bodyPr>
          <a:lstStyle>
            <a:lvl1pPr>
              <a:defRPr lang="en-US" sz="1200" b="1" baseline="0" smtClean="0">
                <a:solidFill>
                  <a:srgbClr val="80BB3B"/>
                </a:solidFill>
              </a:defRPr>
            </a:lvl1pPr>
            <a:lvl2pPr>
              <a:defRPr lang="en-US" smtClean="0"/>
            </a:lvl2pPr>
            <a:lvl3pPr>
              <a:defRPr lang="en-US" smtClean="0"/>
            </a:lvl3pPr>
            <a:lvl4pPr>
              <a:defRPr lang="en-US" smtClean="0"/>
            </a:lvl4pPr>
            <a:lvl5pPr>
              <a:defRPr lang="en-US"/>
            </a:lvl5pPr>
          </a:lstStyle>
          <a:p>
            <a:pPr marL="0" lvl="0" indent="0">
              <a:buNone/>
            </a:pPr>
            <a:r>
              <a:rPr lang="en-US" dirty="0"/>
              <a:t>Name…</a:t>
            </a:r>
          </a:p>
        </p:txBody>
      </p:sp>
      <p:sp>
        <p:nvSpPr>
          <p:cNvPr id="51" name="Text Placeholder 3"/>
          <p:cNvSpPr>
            <a:spLocks noGrp="1"/>
          </p:cNvSpPr>
          <p:nvPr>
            <p:ph type="body" sz="quarter" idx="27" hasCustomPrompt="1"/>
          </p:nvPr>
        </p:nvSpPr>
        <p:spPr>
          <a:xfrm>
            <a:off x="9131920" y="3680138"/>
            <a:ext cx="2481231" cy="468000"/>
          </a:xfrm>
        </p:spPr>
        <p:txBody>
          <a:bodyPr vert="horz" lIns="36000" tIns="36000" rIns="36000" bIns="36000" rtlCol="0">
            <a:noAutofit/>
          </a:bodyPr>
          <a:lstStyle>
            <a:lvl1pPr>
              <a:defRPr lang="en-US" sz="1200" baseline="0" dirty="0"/>
            </a:lvl1pPr>
          </a:lstStyle>
          <a:p>
            <a:pPr marL="0" lvl="0" indent="0">
              <a:buNone/>
            </a:pPr>
            <a:r>
              <a:rPr lang="en-US" dirty="0"/>
              <a:t>Title &amp; Email…</a:t>
            </a:r>
          </a:p>
        </p:txBody>
      </p:sp>
      <p:sp>
        <p:nvSpPr>
          <p:cNvPr id="52" name="Text Placeholder 7"/>
          <p:cNvSpPr>
            <a:spLocks noGrp="1"/>
          </p:cNvSpPr>
          <p:nvPr>
            <p:ph type="body" sz="quarter" idx="28" hasCustomPrompt="1"/>
          </p:nvPr>
        </p:nvSpPr>
        <p:spPr>
          <a:xfrm>
            <a:off x="553847" y="3087679"/>
            <a:ext cx="5233446" cy="360000"/>
          </a:xfrm>
        </p:spPr>
        <p:txBody>
          <a:bodyPr vert="horz" lIns="36000" tIns="36000" rIns="36000" bIns="36000" rtlCol="0">
            <a:noAutofit/>
          </a:bodyPr>
          <a:lstStyle>
            <a:lvl1pPr>
              <a:defRPr lang="en-US" sz="1800" smtClean="0">
                <a:solidFill>
                  <a:schemeClr val="bg1">
                    <a:lumMod val="65000"/>
                  </a:schemeClr>
                </a:solidFill>
              </a:defRPr>
            </a:lvl1pPr>
            <a:lvl2pPr>
              <a:defRPr lang="en-US" smtClean="0"/>
            </a:lvl2pPr>
            <a:lvl3pPr>
              <a:defRPr lang="en-US" smtClean="0"/>
            </a:lvl3pPr>
            <a:lvl4pPr>
              <a:defRPr lang="en-US" smtClean="0"/>
            </a:lvl4pPr>
            <a:lvl5pPr>
              <a:defRPr lang="en-US"/>
            </a:lvl5pPr>
          </a:lstStyle>
          <a:p>
            <a:pPr marL="0" lvl="0" indent="0">
              <a:buNone/>
            </a:pPr>
            <a:r>
              <a:rPr lang="en-US" dirty="0"/>
              <a:t>Subtitle…</a:t>
            </a:r>
          </a:p>
        </p:txBody>
      </p:sp>
      <p:sp>
        <p:nvSpPr>
          <p:cNvPr id="53" name="Text Placeholder 9"/>
          <p:cNvSpPr>
            <a:spLocks noGrp="1"/>
          </p:cNvSpPr>
          <p:nvPr>
            <p:ph type="body" sz="quarter" idx="29" hasCustomPrompt="1"/>
          </p:nvPr>
        </p:nvSpPr>
        <p:spPr>
          <a:xfrm>
            <a:off x="553847" y="2475679"/>
            <a:ext cx="5233446" cy="612000"/>
          </a:xfrm>
        </p:spPr>
        <p:txBody>
          <a:bodyPr vert="horz" lIns="36000" tIns="36000" rIns="36000" bIns="36000" rtlCol="0">
            <a:noAutofit/>
          </a:bodyPr>
          <a:lstStyle>
            <a:lvl1pPr>
              <a:defRPr lang="en-US" sz="3600" baseline="0" dirty="0" smtClean="0"/>
            </a:lvl1pPr>
            <a:lvl2pPr>
              <a:defRPr lang="en-US" dirty="0" smtClean="0"/>
            </a:lvl2pPr>
            <a:lvl3pPr>
              <a:defRPr lang="en-US" dirty="0" smtClean="0"/>
            </a:lvl3pPr>
            <a:lvl4pPr>
              <a:defRPr lang="en-US" dirty="0" smtClean="0"/>
            </a:lvl4pPr>
            <a:lvl5pPr>
              <a:defRPr lang="en-US" dirty="0"/>
            </a:lvl5pPr>
          </a:lstStyle>
          <a:p>
            <a:pPr marL="0" lvl="0" indent="0">
              <a:buNone/>
            </a:pPr>
            <a:r>
              <a:rPr lang="en-US" dirty="0"/>
              <a:t>Title…</a:t>
            </a:r>
          </a:p>
        </p:txBody>
      </p:sp>
      <p:sp>
        <p:nvSpPr>
          <p:cNvPr id="54" name="Title 1"/>
          <p:cNvSpPr>
            <a:spLocks noGrp="1"/>
          </p:cNvSpPr>
          <p:nvPr>
            <p:ph type="title" hasCustomPrompt="1"/>
          </p:nvPr>
        </p:nvSpPr>
        <p:spPr>
          <a:xfrm>
            <a:off x="553847" y="540000"/>
            <a:ext cx="11078308" cy="468000"/>
          </a:xfrm>
        </p:spPr>
        <p:txBody>
          <a:bodyPr/>
          <a:lstStyle>
            <a:lvl1pPr>
              <a:defRPr>
                <a:solidFill>
                  <a:srgbClr val="FFFFFF"/>
                </a:solidFill>
              </a:defRPr>
            </a:lvl1pPr>
          </a:lstStyle>
          <a:p>
            <a:r>
              <a:rPr lang="en-US" dirty="0"/>
              <a:t>Structural Title...</a:t>
            </a:r>
          </a:p>
        </p:txBody>
      </p:sp>
      <p:sp>
        <p:nvSpPr>
          <p:cNvPr id="55" name="Text Placeholder 5"/>
          <p:cNvSpPr>
            <a:spLocks noGrp="1"/>
          </p:cNvSpPr>
          <p:nvPr>
            <p:ph type="body" sz="quarter" idx="13"/>
          </p:nvPr>
        </p:nvSpPr>
        <p:spPr>
          <a:xfrm>
            <a:off x="553846" y="1008000"/>
            <a:ext cx="11078306" cy="720000"/>
          </a:xfrm>
        </p:spPr>
        <p:txBody>
          <a:bodyPr tIns="108000">
            <a:noAutofit/>
          </a:bodyPr>
          <a:lstStyle>
            <a:lvl1pPr marL="0" indent="0">
              <a:buNone/>
              <a:defRPr sz="1600" baseline="0">
                <a:solidFill>
                  <a:schemeClr val="accent5"/>
                </a:solidFill>
              </a:defRPr>
            </a:lvl1pPr>
          </a:lstStyle>
          <a:p>
            <a:pPr lvl="0"/>
            <a:r>
              <a:rPr lang="en-US" dirty="0"/>
              <a:t>Click to edit Master text styles</a:t>
            </a:r>
          </a:p>
        </p:txBody>
      </p:sp>
      <p:cxnSp>
        <p:nvCxnSpPr>
          <p:cNvPr id="56" name="Straight Connector 55"/>
          <p:cNvCxnSpPr/>
          <p:nvPr userDrawn="1"/>
        </p:nvCxnSpPr>
        <p:spPr>
          <a:xfrm>
            <a:off x="6088874" y="2563140"/>
            <a:ext cx="0" cy="158400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04444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798949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01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955" y="1589"/>
                        <a:ext cx="1953" cy="1587"/>
                      </a:xfrm>
                      <a:prstGeom prst="rect">
                        <a:avLst/>
                      </a:prstGeom>
                    </p:spPr>
                  </p:pic>
                </p:oleObj>
              </mc:Fallback>
            </mc:AlternateContent>
          </a:graphicData>
        </a:graphic>
      </p:graphicFrame>
      <p:grpSp>
        <p:nvGrpSpPr>
          <p:cNvPr id="25" name="Group 24"/>
          <p:cNvGrpSpPr/>
          <p:nvPr userDrawn="1"/>
        </p:nvGrpSpPr>
        <p:grpSpPr>
          <a:xfrm>
            <a:off x="10251573" y="6015963"/>
            <a:ext cx="1361578" cy="526018"/>
            <a:chOff x="1006476" y="0"/>
            <a:chExt cx="15166973" cy="7211638"/>
          </a:xfrm>
          <a:solidFill>
            <a:schemeClr val="bg1"/>
          </a:solidFill>
        </p:grpSpPr>
        <p:grpSp>
          <p:nvGrpSpPr>
            <p:cNvPr id="26" name="Group 25"/>
            <p:cNvGrpSpPr/>
            <p:nvPr/>
          </p:nvGrpSpPr>
          <p:grpSpPr>
            <a:xfrm>
              <a:off x="1050026" y="0"/>
              <a:ext cx="15123423" cy="2811241"/>
              <a:chOff x="292101" y="403484"/>
              <a:chExt cx="14551023" cy="2704840"/>
            </a:xfrm>
            <a:grpFill/>
          </p:grpSpPr>
          <p:sp>
            <p:nvSpPr>
              <p:cNvPr id="35"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6"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7"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8" name="Rectangle 37"/>
              <p:cNvSpPr/>
              <p:nvPr/>
            </p:nvSpPr>
            <p:spPr>
              <a:xfrm>
                <a:off x="4933950" y="447675"/>
                <a:ext cx="644525" cy="2628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9"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0"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1"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2"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3" name="Oval 42"/>
              <p:cNvSpPr/>
              <p:nvPr/>
            </p:nvSpPr>
            <p:spPr>
              <a:xfrm>
                <a:off x="14128749" y="2393949"/>
                <a:ext cx="714375" cy="7143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27" name="Group 26"/>
            <p:cNvGrpSpPr/>
            <p:nvPr/>
          </p:nvGrpSpPr>
          <p:grpSpPr>
            <a:xfrm>
              <a:off x="1006476" y="3535646"/>
              <a:ext cx="11165226" cy="3675992"/>
              <a:chOff x="-1506982" y="2838278"/>
              <a:chExt cx="11165226" cy="3675992"/>
            </a:xfrm>
            <a:grpFill/>
          </p:grpSpPr>
          <p:sp>
            <p:nvSpPr>
              <p:cNvPr id="28" name="Flowchart: Delay 6"/>
              <p:cNvSpPr/>
              <p:nvPr/>
            </p:nvSpPr>
            <p:spPr>
              <a:xfrm>
                <a:off x="-1506982" y="2838278"/>
                <a:ext cx="2373223" cy="2734977"/>
              </a:xfrm>
              <a:custGeom>
                <a:avLst/>
                <a:gdLst/>
                <a:ahLst/>
                <a:cxnLst/>
                <a:rect l="l" t="t" r="r" b="b"/>
                <a:pathLst>
                  <a:path w="2373223" h="2734977">
                    <a:moveTo>
                      <a:pt x="801462" y="542228"/>
                    </a:moveTo>
                    <a:cubicBezTo>
                      <a:pt x="768131" y="541817"/>
                      <a:pt x="760104" y="543372"/>
                      <a:pt x="655025" y="554586"/>
                    </a:cubicBezTo>
                    <a:lnTo>
                      <a:pt x="655025" y="2203302"/>
                    </a:lnTo>
                    <a:cubicBezTo>
                      <a:pt x="784080" y="2203302"/>
                      <a:pt x="817500" y="2209282"/>
                      <a:pt x="944423" y="2203302"/>
                    </a:cubicBezTo>
                    <a:cubicBezTo>
                      <a:pt x="1383490" y="2170407"/>
                      <a:pt x="1679558" y="1856007"/>
                      <a:pt x="1689355" y="1378944"/>
                    </a:cubicBezTo>
                    <a:cubicBezTo>
                      <a:pt x="1699152" y="901881"/>
                      <a:pt x="1339362" y="522496"/>
                      <a:pt x="915214" y="543428"/>
                    </a:cubicBezTo>
                    <a:cubicBezTo>
                      <a:pt x="850568" y="543428"/>
                      <a:pt x="821461" y="542474"/>
                      <a:pt x="801462" y="542228"/>
                    </a:cubicBezTo>
                    <a:close/>
                    <a:moveTo>
                      <a:pt x="809819" y="1363"/>
                    </a:moveTo>
                    <a:cubicBezTo>
                      <a:pt x="1782681" y="-32854"/>
                      <a:pt x="2398497" y="581163"/>
                      <a:pt x="2372427" y="1383107"/>
                    </a:cubicBezTo>
                    <a:cubicBezTo>
                      <a:pt x="2346356" y="2185050"/>
                      <a:pt x="1895110" y="2676861"/>
                      <a:pt x="888030" y="2730632"/>
                    </a:cubicBezTo>
                    <a:cubicBezTo>
                      <a:pt x="596908" y="2740409"/>
                      <a:pt x="296010" y="2730631"/>
                      <a:pt x="0" y="2730631"/>
                    </a:cubicBezTo>
                    <a:lnTo>
                      <a:pt x="0" y="35581"/>
                    </a:lnTo>
                    <a:cubicBezTo>
                      <a:pt x="385628" y="6252"/>
                      <a:pt x="414415" y="1363"/>
                      <a:pt x="809819" y="13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p:nvSpPr>
            <p:spPr>
              <a:xfrm>
                <a:off x="8998170" y="2880935"/>
                <a:ext cx="660074" cy="26923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0" name="Rectangle 37"/>
              <p:cNvSpPr/>
              <p:nvPr/>
            </p:nvSpPr>
            <p:spPr>
              <a:xfrm>
                <a:off x="1129670" y="2880934"/>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9"/>
              <p:cNvSpPr/>
              <p:nvPr/>
            </p:nvSpPr>
            <p:spPr>
              <a:xfrm>
                <a:off x="5312408" y="2975994"/>
                <a:ext cx="1405937" cy="2648882"/>
              </a:xfrm>
              <a:custGeom>
                <a:avLst/>
                <a:gdLst/>
                <a:ahLst/>
                <a:cxnLst/>
                <a:rect l="l" t="t" r="r" b="b"/>
                <a:pathLst>
                  <a:path w="1405937" h="2648882">
                    <a:moveTo>
                      <a:pt x="910735" y="0"/>
                    </a:moveTo>
                    <a:lnTo>
                      <a:pt x="910735" y="615204"/>
                    </a:lnTo>
                    <a:lnTo>
                      <a:pt x="1342826" y="615204"/>
                    </a:lnTo>
                    <a:lnTo>
                      <a:pt x="1342826" y="1113749"/>
                    </a:lnTo>
                    <a:lnTo>
                      <a:pt x="910735" y="1113749"/>
                    </a:lnTo>
                    <a:lnTo>
                      <a:pt x="910735" y="1398929"/>
                    </a:lnTo>
                    <a:lnTo>
                      <a:pt x="909291" y="1398770"/>
                    </a:lnTo>
                    <a:lnTo>
                      <a:pt x="909291" y="1852069"/>
                    </a:lnTo>
                    <a:cubicBezTo>
                      <a:pt x="913627" y="1946443"/>
                      <a:pt x="951741" y="2035139"/>
                      <a:pt x="1043315" y="2082050"/>
                    </a:cubicBezTo>
                    <a:cubicBezTo>
                      <a:pt x="1213294" y="2123725"/>
                      <a:pt x="1275245" y="2096758"/>
                      <a:pt x="1405937" y="2067341"/>
                    </a:cubicBezTo>
                    <a:lnTo>
                      <a:pt x="1405937" y="2587949"/>
                    </a:lnTo>
                    <a:cubicBezTo>
                      <a:pt x="1247419" y="2627685"/>
                      <a:pt x="816383" y="2704190"/>
                      <a:pt x="586666" y="2584585"/>
                    </a:cubicBezTo>
                    <a:cubicBezTo>
                      <a:pt x="365715" y="2484384"/>
                      <a:pt x="274877" y="2239548"/>
                      <a:pt x="255234" y="1989810"/>
                    </a:cubicBezTo>
                    <a:lnTo>
                      <a:pt x="256050" y="1989628"/>
                    </a:lnTo>
                    <a:lnTo>
                      <a:pt x="256050" y="1326914"/>
                    </a:lnTo>
                    <a:lnTo>
                      <a:pt x="256049" y="1326914"/>
                    </a:lnTo>
                    <a:lnTo>
                      <a:pt x="256049" y="1113749"/>
                    </a:lnTo>
                    <a:lnTo>
                      <a:pt x="0" y="1113749"/>
                    </a:lnTo>
                    <a:lnTo>
                      <a:pt x="0" y="615204"/>
                    </a:lnTo>
                    <a:lnTo>
                      <a:pt x="256049" y="615204"/>
                    </a:lnTo>
                    <a:lnTo>
                      <a:pt x="256049" y="720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2" name="Rectangle 43"/>
              <p:cNvSpPr/>
              <p:nvPr/>
            </p:nvSpPr>
            <p:spPr>
              <a:xfrm>
                <a:off x="4370090" y="2880935"/>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Oval 15"/>
              <p:cNvSpPr/>
              <p:nvPr/>
            </p:nvSpPr>
            <p:spPr>
              <a:xfrm>
                <a:off x="2021351" y="3531392"/>
                <a:ext cx="2050586" cy="2982878"/>
              </a:xfrm>
              <a:custGeom>
                <a:avLst/>
                <a:gdLst/>
                <a:ahLst/>
                <a:cxnLst/>
                <a:rect l="l" t="t" r="r" b="b"/>
                <a:pathLst>
                  <a:path w="2050586" h="2982878">
                    <a:moveTo>
                      <a:pt x="1051854" y="510196"/>
                    </a:moveTo>
                    <a:cubicBezTo>
                      <a:pt x="818915" y="514146"/>
                      <a:pt x="642809" y="709495"/>
                      <a:pt x="638909" y="1067081"/>
                    </a:cubicBezTo>
                    <a:cubicBezTo>
                      <a:pt x="635009" y="1424667"/>
                      <a:pt x="823791" y="1623966"/>
                      <a:pt x="1051854" y="1623966"/>
                    </a:cubicBezTo>
                    <a:cubicBezTo>
                      <a:pt x="1237304" y="1623966"/>
                      <a:pt x="1389689" y="1483481"/>
                      <a:pt x="1441801" y="1245336"/>
                    </a:cubicBezTo>
                    <a:lnTo>
                      <a:pt x="1441801" y="871896"/>
                    </a:lnTo>
                    <a:cubicBezTo>
                      <a:pt x="1390037" y="636468"/>
                      <a:pt x="1238194" y="507037"/>
                      <a:pt x="1051854" y="510196"/>
                    </a:cubicBezTo>
                    <a:close/>
                    <a:moveTo>
                      <a:pt x="922906" y="62"/>
                    </a:moveTo>
                    <a:cubicBezTo>
                      <a:pt x="1094124" y="2254"/>
                      <a:pt x="1286677" y="67187"/>
                      <a:pt x="1441801" y="211676"/>
                    </a:cubicBezTo>
                    <a:lnTo>
                      <a:pt x="1441801" y="59283"/>
                    </a:lnTo>
                    <a:lnTo>
                      <a:pt x="2050586" y="59283"/>
                    </a:lnTo>
                    <a:lnTo>
                      <a:pt x="2050586" y="2050529"/>
                    </a:lnTo>
                    <a:lnTo>
                      <a:pt x="2049824" y="2050529"/>
                    </a:lnTo>
                    <a:cubicBezTo>
                      <a:pt x="2042228" y="2324966"/>
                      <a:pt x="1914078" y="2586024"/>
                      <a:pt x="1741025" y="2740770"/>
                    </a:cubicBezTo>
                    <a:cubicBezTo>
                      <a:pt x="1565806" y="2897454"/>
                      <a:pt x="1260483" y="2963176"/>
                      <a:pt x="989743" y="2980332"/>
                    </a:cubicBezTo>
                    <a:cubicBezTo>
                      <a:pt x="696029" y="2998261"/>
                      <a:pt x="376391" y="2918595"/>
                      <a:pt x="186431" y="2833390"/>
                    </a:cubicBezTo>
                    <a:lnTo>
                      <a:pt x="315452" y="2340665"/>
                    </a:lnTo>
                    <a:cubicBezTo>
                      <a:pt x="472820" y="2417366"/>
                      <a:pt x="608780" y="2473080"/>
                      <a:pt x="769523" y="2498896"/>
                    </a:cubicBezTo>
                    <a:cubicBezTo>
                      <a:pt x="881706" y="2502874"/>
                      <a:pt x="1108687" y="2496171"/>
                      <a:pt x="1224291" y="2424065"/>
                    </a:cubicBezTo>
                    <a:cubicBezTo>
                      <a:pt x="1349420" y="2349578"/>
                      <a:pt x="1429412" y="2229849"/>
                      <a:pt x="1441713" y="2044829"/>
                    </a:cubicBezTo>
                    <a:cubicBezTo>
                      <a:pt x="1441742" y="2044829"/>
                      <a:pt x="1441772" y="2044829"/>
                      <a:pt x="1441801" y="2044829"/>
                    </a:cubicBezTo>
                    <a:lnTo>
                      <a:pt x="1441801" y="1865142"/>
                    </a:lnTo>
                    <a:cubicBezTo>
                      <a:pt x="1215364" y="2074903"/>
                      <a:pt x="921880" y="2106991"/>
                      <a:pt x="789556" y="2109742"/>
                    </a:cubicBezTo>
                    <a:cubicBezTo>
                      <a:pt x="560506" y="2114505"/>
                      <a:pt x="-3162" y="1870860"/>
                      <a:pt x="14" y="1066808"/>
                    </a:cubicBezTo>
                    <a:cubicBezTo>
                      <a:pt x="3189" y="262756"/>
                      <a:pt x="550982" y="-4699"/>
                      <a:pt x="922906" y="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4" name="Teardrop 10"/>
              <p:cNvSpPr/>
              <p:nvPr/>
            </p:nvSpPr>
            <p:spPr>
              <a:xfrm>
                <a:off x="6933888" y="3546707"/>
                <a:ext cx="1819195" cy="2078169"/>
              </a:xfrm>
              <a:custGeom>
                <a:avLst/>
                <a:gdLst/>
                <a:ahLst/>
                <a:cxnLst/>
                <a:rect l="l" t="t" r="r" b="b"/>
                <a:pathLst>
                  <a:path w="1819195" h="2078169">
                    <a:moveTo>
                      <a:pt x="1186796" y="1087595"/>
                    </a:moveTo>
                    <a:cubicBezTo>
                      <a:pt x="1113625" y="1090104"/>
                      <a:pt x="1058299" y="1092613"/>
                      <a:pt x="915050" y="1110177"/>
                    </a:cubicBezTo>
                    <a:cubicBezTo>
                      <a:pt x="712653" y="1132759"/>
                      <a:pt x="611934" y="1254340"/>
                      <a:pt x="610704" y="1401552"/>
                    </a:cubicBezTo>
                    <a:cubicBezTo>
                      <a:pt x="617261" y="1602596"/>
                      <a:pt x="782865" y="1640445"/>
                      <a:pt x="868331" y="1644000"/>
                    </a:cubicBezTo>
                    <a:cubicBezTo>
                      <a:pt x="1009257" y="1644000"/>
                      <a:pt x="1189411" y="1525823"/>
                      <a:pt x="1189411" y="1403702"/>
                    </a:cubicBezTo>
                    <a:close/>
                    <a:moveTo>
                      <a:pt x="918836" y="764"/>
                    </a:moveTo>
                    <a:cubicBezTo>
                      <a:pt x="1160938" y="11084"/>
                      <a:pt x="1410748" y="83418"/>
                      <a:pt x="1561827" y="205882"/>
                    </a:cubicBezTo>
                    <a:cubicBezTo>
                      <a:pt x="1712906" y="328347"/>
                      <a:pt x="1788347" y="549970"/>
                      <a:pt x="1782252" y="771155"/>
                    </a:cubicBezTo>
                    <a:lnTo>
                      <a:pt x="1781486" y="771131"/>
                    </a:lnTo>
                    <a:lnTo>
                      <a:pt x="1781486" y="1794503"/>
                    </a:lnTo>
                    <a:lnTo>
                      <a:pt x="1819195" y="2026546"/>
                    </a:lnTo>
                    <a:lnTo>
                      <a:pt x="1277253" y="2026546"/>
                    </a:lnTo>
                    <a:lnTo>
                      <a:pt x="1242709" y="1813981"/>
                    </a:lnTo>
                    <a:cubicBezTo>
                      <a:pt x="1117714" y="1972717"/>
                      <a:pt x="898491" y="2078169"/>
                      <a:pt x="665318" y="2078169"/>
                    </a:cubicBezTo>
                    <a:cubicBezTo>
                      <a:pt x="444604" y="2069173"/>
                      <a:pt x="16933" y="1973385"/>
                      <a:pt x="0" y="1464587"/>
                    </a:cubicBezTo>
                    <a:cubicBezTo>
                      <a:pt x="3175" y="1092025"/>
                      <a:pt x="263280" y="784330"/>
                      <a:pt x="785969" y="727180"/>
                    </a:cubicBezTo>
                    <a:cubicBezTo>
                      <a:pt x="1029946" y="697865"/>
                      <a:pt x="1110970" y="685122"/>
                      <a:pt x="1192076" y="678143"/>
                    </a:cubicBezTo>
                    <a:cubicBezTo>
                      <a:pt x="1182890" y="518370"/>
                      <a:pt x="1036964" y="440610"/>
                      <a:pt x="899685" y="412566"/>
                    </a:cubicBezTo>
                    <a:cubicBezTo>
                      <a:pt x="608510" y="393798"/>
                      <a:pt x="478098" y="442952"/>
                      <a:pt x="261013" y="553512"/>
                    </a:cubicBezTo>
                    <a:lnTo>
                      <a:pt x="164299" y="163213"/>
                    </a:lnTo>
                    <a:cubicBezTo>
                      <a:pt x="337912" y="93114"/>
                      <a:pt x="656164" y="-9890"/>
                      <a:pt x="918836" y="76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sp>
        <p:nvSpPr>
          <p:cNvPr id="44" name="Text Placeholder 3"/>
          <p:cNvSpPr>
            <a:spLocks noGrp="1"/>
          </p:cNvSpPr>
          <p:nvPr>
            <p:ph type="body" sz="quarter" idx="20" hasCustomPrompt="1"/>
          </p:nvPr>
        </p:nvSpPr>
        <p:spPr>
          <a:xfrm>
            <a:off x="553846" y="4749458"/>
            <a:ext cx="2640000" cy="252000"/>
          </a:xfrm>
        </p:spPr>
        <p:txBody>
          <a:bodyPr vert="horz" lIns="36000" tIns="36000" rIns="36000" bIns="36000" rtlCol="0">
            <a:noAutofit/>
          </a:bodyPr>
          <a:lstStyle>
            <a:lvl1pPr>
              <a:defRPr lang="en-US" sz="1200" b="1" baseline="0" smtClean="0">
                <a:solidFill>
                  <a:srgbClr val="80BB3B"/>
                </a:solidFill>
              </a:defRPr>
            </a:lvl1pPr>
            <a:lvl2pPr>
              <a:defRPr lang="en-US" smtClean="0"/>
            </a:lvl2pPr>
            <a:lvl3pPr>
              <a:defRPr lang="en-US" smtClean="0"/>
            </a:lvl3pPr>
            <a:lvl4pPr>
              <a:defRPr lang="en-US" smtClean="0"/>
            </a:lvl4pPr>
            <a:lvl5pPr>
              <a:defRPr lang="en-US"/>
            </a:lvl5pPr>
          </a:lstStyle>
          <a:p>
            <a:pPr marL="0" lvl="0" indent="0">
              <a:buNone/>
            </a:pPr>
            <a:r>
              <a:rPr lang="en-US" dirty="0"/>
              <a:t>Name…</a:t>
            </a:r>
          </a:p>
        </p:txBody>
      </p:sp>
      <p:sp>
        <p:nvSpPr>
          <p:cNvPr id="45" name="Text Placeholder 3"/>
          <p:cNvSpPr>
            <a:spLocks noGrp="1"/>
          </p:cNvSpPr>
          <p:nvPr>
            <p:ph type="body" sz="quarter" idx="21" hasCustomPrompt="1"/>
          </p:nvPr>
        </p:nvSpPr>
        <p:spPr>
          <a:xfrm>
            <a:off x="553846" y="5017057"/>
            <a:ext cx="2640000" cy="468000"/>
          </a:xfrm>
        </p:spPr>
        <p:txBody>
          <a:bodyPr vert="horz" lIns="36000" tIns="36000" rIns="36000" bIns="36000" rtlCol="0">
            <a:noAutofit/>
          </a:bodyPr>
          <a:lstStyle>
            <a:lvl1pPr>
              <a:defRPr lang="en-US" sz="1200" baseline="0" dirty="0"/>
            </a:lvl1pPr>
          </a:lstStyle>
          <a:p>
            <a:pPr marL="0" lvl="0" indent="0">
              <a:buNone/>
            </a:pPr>
            <a:r>
              <a:rPr lang="en-US" dirty="0"/>
              <a:t>Title &amp; Email…</a:t>
            </a:r>
          </a:p>
        </p:txBody>
      </p:sp>
      <p:sp>
        <p:nvSpPr>
          <p:cNvPr id="46" name="Text Placeholder 3"/>
          <p:cNvSpPr>
            <a:spLocks noGrp="1"/>
          </p:cNvSpPr>
          <p:nvPr>
            <p:ph type="body" sz="quarter" idx="22" hasCustomPrompt="1"/>
          </p:nvPr>
        </p:nvSpPr>
        <p:spPr>
          <a:xfrm>
            <a:off x="553846" y="5608328"/>
            <a:ext cx="2640000" cy="252000"/>
          </a:xfrm>
        </p:spPr>
        <p:txBody>
          <a:bodyPr vert="horz" lIns="36000" tIns="36000" rIns="36000" bIns="36000" rtlCol="0">
            <a:noAutofit/>
          </a:bodyPr>
          <a:lstStyle>
            <a:lvl1pPr>
              <a:defRPr lang="en-US" sz="1200" b="1" baseline="0" smtClean="0">
                <a:solidFill>
                  <a:srgbClr val="80BB3B"/>
                </a:solidFill>
              </a:defRPr>
            </a:lvl1pPr>
            <a:lvl2pPr>
              <a:defRPr lang="en-US" smtClean="0"/>
            </a:lvl2pPr>
            <a:lvl3pPr>
              <a:defRPr lang="en-US" smtClean="0"/>
            </a:lvl3pPr>
            <a:lvl4pPr>
              <a:defRPr lang="en-US" smtClean="0"/>
            </a:lvl4pPr>
            <a:lvl5pPr>
              <a:defRPr lang="en-US"/>
            </a:lvl5pPr>
          </a:lstStyle>
          <a:p>
            <a:pPr marL="0" lvl="0" indent="0">
              <a:buNone/>
            </a:pPr>
            <a:r>
              <a:rPr lang="en-US" dirty="0"/>
              <a:t>Name…</a:t>
            </a:r>
          </a:p>
        </p:txBody>
      </p:sp>
      <p:sp>
        <p:nvSpPr>
          <p:cNvPr id="47" name="Text Placeholder 3"/>
          <p:cNvSpPr>
            <a:spLocks noGrp="1"/>
          </p:cNvSpPr>
          <p:nvPr>
            <p:ph type="body" sz="quarter" idx="23" hasCustomPrompt="1"/>
          </p:nvPr>
        </p:nvSpPr>
        <p:spPr>
          <a:xfrm>
            <a:off x="553846" y="5875927"/>
            <a:ext cx="2640000" cy="468000"/>
          </a:xfrm>
        </p:spPr>
        <p:txBody>
          <a:bodyPr vert="horz" lIns="36000" tIns="36000" rIns="36000" bIns="36000" rtlCol="0">
            <a:noAutofit/>
          </a:bodyPr>
          <a:lstStyle>
            <a:lvl1pPr>
              <a:defRPr lang="en-US" sz="1200" baseline="0" dirty="0"/>
            </a:lvl1pPr>
          </a:lstStyle>
          <a:p>
            <a:pPr marL="0" lvl="0" indent="0">
              <a:buNone/>
            </a:pPr>
            <a:r>
              <a:rPr lang="en-US" dirty="0"/>
              <a:t>Title &amp; Email…</a:t>
            </a:r>
          </a:p>
        </p:txBody>
      </p:sp>
      <p:sp>
        <p:nvSpPr>
          <p:cNvPr id="48" name="Text Placeholder 3"/>
          <p:cNvSpPr>
            <a:spLocks noGrp="1"/>
          </p:cNvSpPr>
          <p:nvPr>
            <p:ph type="body" sz="quarter" idx="24" hasCustomPrompt="1"/>
          </p:nvPr>
        </p:nvSpPr>
        <p:spPr>
          <a:xfrm>
            <a:off x="3433846" y="4749458"/>
            <a:ext cx="2640000" cy="252000"/>
          </a:xfrm>
        </p:spPr>
        <p:txBody>
          <a:bodyPr vert="horz" lIns="36000" tIns="36000" rIns="36000" bIns="36000" rtlCol="0">
            <a:noAutofit/>
          </a:bodyPr>
          <a:lstStyle>
            <a:lvl1pPr>
              <a:defRPr lang="en-US" sz="1200" b="1" baseline="0" smtClean="0">
                <a:solidFill>
                  <a:srgbClr val="80BB3B"/>
                </a:solidFill>
              </a:defRPr>
            </a:lvl1pPr>
            <a:lvl2pPr>
              <a:defRPr lang="en-US" smtClean="0"/>
            </a:lvl2pPr>
            <a:lvl3pPr>
              <a:defRPr lang="en-US" smtClean="0"/>
            </a:lvl3pPr>
            <a:lvl4pPr>
              <a:defRPr lang="en-US" smtClean="0"/>
            </a:lvl4pPr>
            <a:lvl5pPr>
              <a:defRPr lang="en-US"/>
            </a:lvl5pPr>
          </a:lstStyle>
          <a:p>
            <a:pPr marL="0" lvl="0" indent="0">
              <a:buNone/>
            </a:pPr>
            <a:r>
              <a:rPr lang="en-US" dirty="0"/>
              <a:t>Name…</a:t>
            </a:r>
          </a:p>
        </p:txBody>
      </p:sp>
      <p:sp>
        <p:nvSpPr>
          <p:cNvPr id="49" name="Text Placeholder 3"/>
          <p:cNvSpPr>
            <a:spLocks noGrp="1"/>
          </p:cNvSpPr>
          <p:nvPr>
            <p:ph type="body" sz="quarter" idx="25" hasCustomPrompt="1"/>
          </p:nvPr>
        </p:nvSpPr>
        <p:spPr>
          <a:xfrm>
            <a:off x="3433846" y="5017057"/>
            <a:ext cx="2640000" cy="468000"/>
          </a:xfrm>
        </p:spPr>
        <p:txBody>
          <a:bodyPr vert="horz" lIns="36000" tIns="36000" rIns="36000" bIns="36000" rtlCol="0">
            <a:noAutofit/>
          </a:bodyPr>
          <a:lstStyle>
            <a:lvl1pPr>
              <a:defRPr lang="en-US" sz="1200" baseline="0" dirty="0"/>
            </a:lvl1pPr>
          </a:lstStyle>
          <a:p>
            <a:pPr marL="0" lvl="0" indent="0">
              <a:buNone/>
            </a:pPr>
            <a:r>
              <a:rPr lang="en-US" dirty="0"/>
              <a:t>Title &amp; Email…</a:t>
            </a:r>
          </a:p>
        </p:txBody>
      </p:sp>
      <p:sp>
        <p:nvSpPr>
          <p:cNvPr id="50" name="Text Placeholder 3"/>
          <p:cNvSpPr>
            <a:spLocks noGrp="1"/>
          </p:cNvSpPr>
          <p:nvPr>
            <p:ph type="body" sz="quarter" idx="26" hasCustomPrompt="1"/>
          </p:nvPr>
        </p:nvSpPr>
        <p:spPr>
          <a:xfrm>
            <a:off x="3433846" y="5608328"/>
            <a:ext cx="2640000" cy="252000"/>
          </a:xfrm>
        </p:spPr>
        <p:txBody>
          <a:bodyPr vert="horz" lIns="36000" tIns="36000" rIns="36000" bIns="36000" rtlCol="0">
            <a:noAutofit/>
          </a:bodyPr>
          <a:lstStyle>
            <a:lvl1pPr>
              <a:defRPr lang="en-US" sz="1200" b="1" baseline="0" smtClean="0">
                <a:solidFill>
                  <a:srgbClr val="80BB3B"/>
                </a:solidFill>
              </a:defRPr>
            </a:lvl1pPr>
            <a:lvl2pPr>
              <a:defRPr lang="en-US" smtClean="0"/>
            </a:lvl2pPr>
            <a:lvl3pPr>
              <a:defRPr lang="en-US" smtClean="0"/>
            </a:lvl3pPr>
            <a:lvl4pPr>
              <a:defRPr lang="en-US" smtClean="0"/>
            </a:lvl4pPr>
            <a:lvl5pPr>
              <a:defRPr lang="en-US"/>
            </a:lvl5pPr>
          </a:lstStyle>
          <a:p>
            <a:pPr marL="0" lvl="0" indent="0">
              <a:buNone/>
            </a:pPr>
            <a:r>
              <a:rPr lang="en-US" dirty="0"/>
              <a:t>Name…</a:t>
            </a:r>
          </a:p>
        </p:txBody>
      </p:sp>
      <p:sp>
        <p:nvSpPr>
          <p:cNvPr id="51" name="Text Placeholder 3"/>
          <p:cNvSpPr>
            <a:spLocks noGrp="1"/>
          </p:cNvSpPr>
          <p:nvPr>
            <p:ph type="body" sz="quarter" idx="27" hasCustomPrompt="1"/>
          </p:nvPr>
        </p:nvSpPr>
        <p:spPr>
          <a:xfrm>
            <a:off x="3433846" y="5875927"/>
            <a:ext cx="2640000" cy="468000"/>
          </a:xfrm>
        </p:spPr>
        <p:txBody>
          <a:bodyPr vert="horz" lIns="36000" tIns="36000" rIns="36000" bIns="36000" rtlCol="0">
            <a:noAutofit/>
          </a:bodyPr>
          <a:lstStyle>
            <a:lvl1pPr>
              <a:defRPr lang="en-US" sz="1200" baseline="0" dirty="0"/>
            </a:lvl1pPr>
          </a:lstStyle>
          <a:p>
            <a:pPr marL="0" lvl="0" indent="0">
              <a:buNone/>
            </a:pPr>
            <a:r>
              <a:rPr lang="en-US" dirty="0"/>
              <a:t>Title &amp; Email…</a:t>
            </a:r>
          </a:p>
        </p:txBody>
      </p:sp>
      <p:sp>
        <p:nvSpPr>
          <p:cNvPr id="54" name="Text Placeholder 7"/>
          <p:cNvSpPr>
            <a:spLocks noGrp="1"/>
          </p:cNvSpPr>
          <p:nvPr>
            <p:ph type="body" sz="quarter" idx="28" hasCustomPrompt="1"/>
          </p:nvPr>
        </p:nvSpPr>
        <p:spPr>
          <a:xfrm>
            <a:off x="553846" y="4148138"/>
            <a:ext cx="5544108" cy="360000"/>
          </a:xfrm>
        </p:spPr>
        <p:txBody>
          <a:bodyPr vert="horz" lIns="36000" tIns="36000" rIns="36000" bIns="36000" rtlCol="0">
            <a:noAutofit/>
          </a:bodyPr>
          <a:lstStyle>
            <a:lvl1pPr>
              <a:defRPr lang="en-US" sz="1800" smtClean="0">
                <a:solidFill>
                  <a:schemeClr val="bg1">
                    <a:lumMod val="65000"/>
                  </a:schemeClr>
                </a:solidFill>
              </a:defRPr>
            </a:lvl1pPr>
            <a:lvl2pPr>
              <a:defRPr lang="en-US" smtClean="0"/>
            </a:lvl2pPr>
            <a:lvl3pPr>
              <a:defRPr lang="en-US" smtClean="0"/>
            </a:lvl3pPr>
            <a:lvl4pPr>
              <a:defRPr lang="en-US" smtClean="0"/>
            </a:lvl4pPr>
            <a:lvl5pPr>
              <a:defRPr lang="en-US"/>
            </a:lvl5pPr>
          </a:lstStyle>
          <a:p>
            <a:pPr marL="0" lvl="0" indent="0">
              <a:buNone/>
            </a:pPr>
            <a:r>
              <a:rPr lang="en-US" dirty="0"/>
              <a:t>Contact Us</a:t>
            </a:r>
          </a:p>
        </p:txBody>
      </p:sp>
      <p:sp>
        <p:nvSpPr>
          <p:cNvPr id="55" name="Text Placeholder 9"/>
          <p:cNvSpPr>
            <a:spLocks noGrp="1"/>
          </p:cNvSpPr>
          <p:nvPr>
            <p:ph type="body" sz="quarter" idx="29" hasCustomPrompt="1"/>
          </p:nvPr>
        </p:nvSpPr>
        <p:spPr>
          <a:xfrm>
            <a:off x="553846" y="3240088"/>
            <a:ext cx="11078306" cy="900000"/>
          </a:xfrm>
        </p:spPr>
        <p:txBody>
          <a:bodyPr vert="horz" lIns="36000" tIns="36000" rIns="36000" bIns="36000" rtlCol="0">
            <a:noAutofit/>
          </a:bodyPr>
          <a:lstStyle>
            <a:lvl1pPr>
              <a:defRPr lang="en-US" sz="5800" baseline="0" dirty="0" smtClean="0"/>
            </a:lvl1pPr>
            <a:lvl2pPr>
              <a:defRPr lang="en-US" dirty="0" smtClean="0"/>
            </a:lvl2pPr>
            <a:lvl3pPr>
              <a:defRPr lang="en-US" dirty="0" smtClean="0"/>
            </a:lvl3pPr>
            <a:lvl4pPr>
              <a:defRPr lang="en-US" dirty="0" smtClean="0"/>
            </a:lvl4pPr>
            <a:lvl5pPr>
              <a:defRPr lang="en-US" dirty="0"/>
            </a:lvl5pPr>
          </a:lstStyle>
          <a:p>
            <a:pPr marL="0" lvl="0" indent="0">
              <a:buNone/>
            </a:pPr>
            <a:r>
              <a:rPr lang="en-US" dirty="0"/>
              <a:t>Thank You.</a:t>
            </a:r>
          </a:p>
        </p:txBody>
      </p:sp>
    </p:spTree>
    <p:extLst>
      <p:ext uri="{BB962C8B-B14F-4D97-AF65-F5344CB8AC3E}">
        <p14:creationId xmlns:p14="http://schemas.microsoft.com/office/powerpoint/2010/main" val="1812218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tro w/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25443115"/>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120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7" name="Picture Placeholder 4"/>
          <p:cNvSpPr>
            <a:spLocks noGrp="1"/>
          </p:cNvSpPr>
          <p:nvPr>
            <p:ph type="pic" sz="quarter" idx="10"/>
          </p:nvPr>
        </p:nvSpPr>
        <p:spPr>
          <a:xfrm>
            <a:off x="0" y="0"/>
            <a:ext cx="12192000" cy="6858000"/>
          </a:xfrm>
        </p:spPr>
        <p:txBody>
          <a:bodyPr/>
          <a:lstStyle>
            <a:lvl1pPr marL="0" indent="0">
              <a:buNone/>
              <a:defRPr/>
            </a:lvl1pPr>
          </a:lstStyle>
          <a:p>
            <a:endParaRPr lang="en-US" dirty="0"/>
          </a:p>
        </p:txBody>
      </p:sp>
      <p:sp>
        <p:nvSpPr>
          <p:cNvPr id="10" name="Text Placeholder 9"/>
          <p:cNvSpPr>
            <a:spLocks noGrp="1"/>
          </p:cNvSpPr>
          <p:nvPr>
            <p:ph type="body" sz="quarter" idx="13" hasCustomPrompt="1"/>
          </p:nvPr>
        </p:nvSpPr>
        <p:spPr>
          <a:xfrm>
            <a:off x="553846" y="2354263"/>
            <a:ext cx="11076923" cy="793750"/>
          </a:xfrm>
        </p:spPr>
        <p:txBody>
          <a:bodyPr>
            <a:normAutofit/>
          </a:bodyPr>
          <a:lstStyle>
            <a:lvl1pPr marL="0" indent="0">
              <a:buNone/>
              <a:defRPr sz="44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a:t>
            </a:r>
          </a:p>
        </p:txBody>
      </p:sp>
      <p:sp>
        <p:nvSpPr>
          <p:cNvPr id="3" name="Text Placeholder 2"/>
          <p:cNvSpPr>
            <a:spLocks noGrp="1"/>
          </p:cNvSpPr>
          <p:nvPr>
            <p:ph type="body" sz="quarter" idx="14" hasCustomPrompt="1"/>
          </p:nvPr>
        </p:nvSpPr>
        <p:spPr>
          <a:xfrm>
            <a:off x="553846" y="3168000"/>
            <a:ext cx="11076923" cy="980138"/>
          </a:xfrm>
        </p:spPr>
        <p:txBody>
          <a:bodyPr/>
          <a:lstStyle>
            <a:lvl1pPr marL="0" indent="0">
              <a:buFont typeface="Arial" panose="020B0604020202020204" pitchFamily="34" charset="0"/>
              <a:buNone/>
              <a:defRPr sz="1800">
                <a:solidFill>
                  <a:schemeClr val="bg1"/>
                </a:solidFill>
                <a:latin typeface="Frutiger Next Pro Bold" pitchFamily="34" charset="0"/>
              </a:defRPr>
            </a:lvl1pPr>
          </a:lstStyle>
          <a:p>
            <a:pPr lvl="0"/>
            <a:r>
              <a:rPr lang="en-US" dirty="0"/>
              <a:t>Introduction</a:t>
            </a:r>
          </a:p>
        </p:txBody>
      </p:sp>
    </p:spTree>
    <p:extLst>
      <p:ext uri="{BB962C8B-B14F-4D97-AF65-F5344CB8AC3E}">
        <p14:creationId xmlns:p14="http://schemas.microsoft.com/office/powerpoint/2010/main" val="760330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pter w/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63018251"/>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222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4" name="Rectangle 3"/>
          <p:cNvSpPr/>
          <p:nvPr userDrawn="1"/>
        </p:nvSpPr>
        <p:spPr>
          <a:xfrm>
            <a:off x="2" y="2"/>
            <a:ext cx="12191999" cy="68579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Frutiger Next Pro Light" pitchFamily="34" charset="0"/>
            </a:endParaRPr>
          </a:p>
        </p:txBody>
      </p:sp>
      <p:sp>
        <p:nvSpPr>
          <p:cNvPr id="5" name="Picture Placeholder 4"/>
          <p:cNvSpPr>
            <a:spLocks noGrp="1"/>
          </p:cNvSpPr>
          <p:nvPr>
            <p:ph type="pic" sz="quarter" idx="10"/>
          </p:nvPr>
        </p:nvSpPr>
        <p:spPr>
          <a:xfrm>
            <a:off x="-1" y="0"/>
            <a:ext cx="12192000" cy="6858000"/>
          </a:xfrm>
        </p:spPr>
        <p:txBody>
          <a:bodyPr/>
          <a:lstStyle>
            <a:lvl1pPr marL="0" indent="0">
              <a:buNone/>
              <a:defRPr/>
            </a:lvl1pPr>
          </a:lstStyle>
          <a:p>
            <a:endParaRPr lang="en-US" dirty="0"/>
          </a:p>
        </p:txBody>
      </p:sp>
      <p:sp>
        <p:nvSpPr>
          <p:cNvPr id="3" name="Title 1"/>
          <p:cNvSpPr>
            <a:spLocks noGrp="1"/>
          </p:cNvSpPr>
          <p:nvPr>
            <p:ph type="title" hasCustomPrompt="1"/>
          </p:nvPr>
        </p:nvSpPr>
        <p:spPr>
          <a:xfrm>
            <a:off x="553846" y="3001350"/>
            <a:ext cx="11059584" cy="1146788"/>
          </a:xfrm>
        </p:spPr>
        <p:txBody>
          <a:bodyPr>
            <a:noAutofit/>
          </a:bodyPr>
          <a:lstStyle>
            <a:lvl1pPr algn="ctr">
              <a:defRPr sz="4000" b="0" baseline="0">
                <a:solidFill>
                  <a:schemeClr val="bg1"/>
                </a:solidFill>
              </a:defRPr>
            </a:lvl1pPr>
          </a:lstStyle>
          <a:p>
            <a:r>
              <a:rPr lang="en-US" dirty="0"/>
              <a:t>Title.</a:t>
            </a:r>
          </a:p>
        </p:txBody>
      </p:sp>
    </p:spTree>
    <p:extLst>
      <p:ext uri="{BB962C8B-B14F-4D97-AF65-F5344CB8AC3E}">
        <p14:creationId xmlns:p14="http://schemas.microsoft.com/office/powerpoint/2010/main" val="1584196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Green separato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9830319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3253"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955" y="1589"/>
                        <a:ext cx="1953" cy="1587"/>
                      </a:xfrm>
                      <a:prstGeom prst="rect">
                        <a:avLst/>
                      </a:prstGeom>
                    </p:spPr>
                  </p:pic>
                </p:oleObj>
              </mc:Fallback>
            </mc:AlternateContent>
          </a:graphicData>
        </a:graphic>
      </p:graphicFrame>
      <p:pic>
        <p:nvPicPr>
          <p:cNvPr id="4" name="Picture 3" descr="Green.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0"/>
            <a:ext cx="12192000" cy="6929082"/>
          </a:xfrm>
          <a:prstGeom prst="rect">
            <a:avLst/>
          </a:prstGeom>
        </p:spPr>
      </p:pic>
      <p:sp>
        <p:nvSpPr>
          <p:cNvPr id="5" name="Title 1"/>
          <p:cNvSpPr>
            <a:spLocks noGrp="1"/>
          </p:cNvSpPr>
          <p:nvPr>
            <p:ph type="title" hasCustomPrompt="1"/>
          </p:nvPr>
        </p:nvSpPr>
        <p:spPr>
          <a:xfrm>
            <a:off x="553846" y="2860767"/>
            <a:ext cx="11078306" cy="1287372"/>
          </a:xfrm>
        </p:spPr>
        <p:txBody>
          <a:bodyPr anchor="b">
            <a:noAutofit/>
          </a:bodyPr>
          <a:lstStyle>
            <a:lvl1pPr>
              <a:defRPr sz="4000" b="0">
                <a:solidFill>
                  <a:schemeClr val="bg1"/>
                </a:solidFill>
              </a:defRPr>
            </a:lvl1pPr>
          </a:lstStyle>
          <a:p>
            <a:r>
              <a:rPr lang="en-US" dirty="0"/>
              <a:t>Title up to two lines, </a:t>
            </a:r>
            <a:br>
              <a:rPr lang="en-US" dirty="0"/>
            </a:br>
            <a:r>
              <a:rPr lang="en-US" dirty="0"/>
              <a:t>ending with a dot.</a:t>
            </a:r>
          </a:p>
        </p:txBody>
      </p:sp>
    </p:spTree>
    <p:extLst>
      <p:ext uri="{BB962C8B-B14F-4D97-AF65-F5344CB8AC3E}">
        <p14:creationId xmlns:p14="http://schemas.microsoft.com/office/powerpoint/2010/main" val="2965420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in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5736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6"/>
          <p:cNvGrpSpPr/>
          <p:nvPr userDrawn="1"/>
        </p:nvGrpSpPr>
        <p:grpSpPr>
          <a:xfrm>
            <a:off x="3782401" y="2775600"/>
            <a:ext cx="4616212" cy="1646198"/>
            <a:chOff x="5308813" y="4773157"/>
            <a:chExt cx="3462159" cy="1646198"/>
          </a:xfrm>
        </p:grpSpPr>
        <p:sp>
          <p:nvSpPr>
            <p:cNvPr id="8" name="Chord 11"/>
            <p:cNvSpPr/>
            <p:nvPr/>
          </p:nvSpPr>
          <p:spPr>
            <a:xfrm rot="5400000">
              <a:off x="6106247" y="3975723"/>
              <a:ext cx="1646198" cy="3241066"/>
            </a:xfrm>
            <a:custGeom>
              <a:avLst/>
              <a:gdLst/>
              <a:ahLst/>
              <a:cxnLst/>
              <a:rect l="l" t="t" r="r" b="b"/>
              <a:pathLst>
                <a:path w="1646198" h="3241066">
                  <a:moveTo>
                    <a:pt x="1217059" y="1043362"/>
                  </a:moveTo>
                  <a:cubicBezTo>
                    <a:pt x="1217631" y="1060064"/>
                    <a:pt x="1218204" y="1072694"/>
                    <a:pt x="1222214" y="1105393"/>
                  </a:cubicBezTo>
                  <a:cubicBezTo>
                    <a:pt x="1227368" y="1151594"/>
                    <a:pt x="1255122" y="1174585"/>
                    <a:pt x="1288726" y="1174866"/>
                  </a:cubicBezTo>
                  <a:cubicBezTo>
                    <a:pt x="1334618" y="1173369"/>
                    <a:pt x="1343258" y="1135567"/>
                    <a:pt x="1344069" y="1116058"/>
                  </a:cubicBezTo>
                  <a:cubicBezTo>
                    <a:pt x="1344069" y="1083888"/>
                    <a:pt x="1317093" y="1042765"/>
                    <a:pt x="1289216" y="1042765"/>
                  </a:cubicBezTo>
                  <a:close/>
                  <a:moveTo>
                    <a:pt x="1081760" y="2195548"/>
                  </a:moveTo>
                  <a:cubicBezTo>
                    <a:pt x="1082662" y="2248722"/>
                    <a:pt x="1127254" y="2288921"/>
                    <a:pt x="1208880" y="2289811"/>
                  </a:cubicBezTo>
                  <a:cubicBezTo>
                    <a:pt x="1290506" y="2290702"/>
                    <a:pt x="1336000" y="2247608"/>
                    <a:pt x="1336000" y="2195548"/>
                  </a:cubicBezTo>
                  <a:cubicBezTo>
                    <a:pt x="1336000" y="2153216"/>
                    <a:pt x="1303931" y="2118431"/>
                    <a:pt x="1249570" y="2106535"/>
                  </a:cubicBezTo>
                  <a:lnTo>
                    <a:pt x="1164325" y="2106535"/>
                  </a:lnTo>
                  <a:cubicBezTo>
                    <a:pt x="1110584" y="2118351"/>
                    <a:pt x="1081039" y="2153012"/>
                    <a:pt x="1081760" y="2195548"/>
                  </a:cubicBezTo>
                  <a:close/>
                  <a:moveTo>
                    <a:pt x="976852" y="1896174"/>
                  </a:moveTo>
                  <a:lnTo>
                    <a:pt x="976852" y="1745772"/>
                  </a:lnTo>
                  <a:lnTo>
                    <a:pt x="1431393" y="1745772"/>
                  </a:lnTo>
                  <a:lnTo>
                    <a:pt x="1431393" y="1896174"/>
                  </a:lnTo>
                  <a:close/>
                  <a:moveTo>
                    <a:pt x="976852" y="2635865"/>
                  </a:moveTo>
                  <a:lnTo>
                    <a:pt x="976852" y="2485463"/>
                  </a:lnTo>
                  <a:lnTo>
                    <a:pt x="1431393" y="2485463"/>
                  </a:lnTo>
                  <a:lnTo>
                    <a:pt x="1431393" y="2635865"/>
                  </a:lnTo>
                  <a:close/>
                  <a:moveTo>
                    <a:pt x="968968" y="1104529"/>
                  </a:moveTo>
                  <a:cubicBezTo>
                    <a:pt x="971324" y="1049264"/>
                    <a:pt x="987836" y="992240"/>
                    <a:pt x="1015790" y="957754"/>
                  </a:cubicBezTo>
                  <a:cubicBezTo>
                    <a:pt x="1043745" y="923267"/>
                    <a:pt x="1094335" y="906046"/>
                    <a:pt x="1144825" y="907437"/>
                  </a:cubicBezTo>
                  <a:lnTo>
                    <a:pt x="1144820" y="907612"/>
                  </a:lnTo>
                  <a:lnTo>
                    <a:pt x="1378424" y="907612"/>
                  </a:lnTo>
                  <a:lnTo>
                    <a:pt x="1431393" y="899004"/>
                  </a:lnTo>
                  <a:lnTo>
                    <a:pt x="1431393" y="1022713"/>
                  </a:lnTo>
                  <a:lnTo>
                    <a:pt x="1382871" y="1030598"/>
                  </a:lnTo>
                  <a:cubicBezTo>
                    <a:pt x="1419105" y="1059131"/>
                    <a:pt x="1443177" y="1109173"/>
                    <a:pt x="1443177" y="1162399"/>
                  </a:cubicBezTo>
                  <a:cubicBezTo>
                    <a:pt x="1441123" y="1212782"/>
                    <a:pt x="1419258" y="1310406"/>
                    <a:pt x="1303115" y="1314271"/>
                  </a:cubicBezTo>
                  <a:cubicBezTo>
                    <a:pt x="1218070" y="1313546"/>
                    <a:pt x="1147833" y="1254172"/>
                    <a:pt x="1134787" y="1134858"/>
                  </a:cubicBezTo>
                  <a:cubicBezTo>
                    <a:pt x="1128095" y="1079166"/>
                    <a:pt x="1125186" y="1060671"/>
                    <a:pt x="1123593" y="1042156"/>
                  </a:cubicBezTo>
                  <a:cubicBezTo>
                    <a:pt x="1087122" y="1044253"/>
                    <a:pt x="1069372" y="1077564"/>
                    <a:pt x="1062970" y="1108900"/>
                  </a:cubicBezTo>
                  <a:cubicBezTo>
                    <a:pt x="1058686" y="1175367"/>
                    <a:pt x="1069906" y="1205136"/>
                    <a:pt x="1095144" y="1254690"/>
                  </a:cubicBezTo>
                  <a:lnTo>
                    <a:pt x="1006050" y="1276767"/>
                  </a:lnTo>
                  <a:cubicBezTo>
                    <a:pt x="990049" y="1237136"/>
                    <a:pt x="966536" y="1164489"/>
                    <a:pt x="968968" y="1104529"/>
                  </a:cubicBezTo>
                  <a:close/>
                  <a:moveTo>
                    <a:pt x="965312" y="2224984"/>
                  </a:moveTo>
                  <a:cubicBezTo>
                    <a:pt x="965812" y="2185899"/>
                    <a:pt x="980634" y="2141945"/>
                    <a:pt x="1013617" y="2106535"/>
                  </a:cubicBezTo>
                  <a:lnTo>
                    <a:pt x="978830" y="2106535"/>
                  </a:lnTo>
                  <a:lnTo>
                    <a:pt x="978830" y="1967568"/>
                  </a:lnTo>
                  <a:lnTo>
                    <a:pt x="1433371" y="1967568"/>
                  </a:lnTo>
                  <a:lnTo>
                    <a:pt x="1433371" y="1967742"/>
                  </a:lnTo>
                  <a:cubicBezTo>
                    <a:pt x="1496017" y="1969476"/>
                    <a:pt x="1555608" y="1998729"/>
                    <a:pt x="1590932" y="2038232"/>
                  </a:cubicBezTo>
                  <a:cubicBezTo>
                    <a:pt x="1626698" y="2078229"/>
                    <a:pt x="1641700" y="2147925"/>
                    <a:pt x="1645617" y="2209727"/>
                  </a:cubicBezTo>
                  <a:cubicBezTo>
                    <a:pt x="1649709" y="2276773"/>
                    <a:pt x="1631524" y="2349736"/>
                    <a:pt x="1612074" y="2393098"/>
                  </a:cubicBezTo>
                  <a:lnTo>
                    <a:pt x="1499600" y="2363647"/>
                  </a:lnTo>
                  <a:cubicBezTo>
                    <a:pt x="1517109" y="2327724"/>
                    <a:pt x="1529826" y="2296689"/>
                    <a:pt x="1535719" y="2259996"/>
                  </a:cubicBezTo>
                  <a:cubicBezTo>
                    <a:pt x="1536628" y="2234388"/>
                    <a:pt x="1535097" y="2182575"/>
                    <a:pt x="1518638" y="2156186"/>
                  </a:cubicBezTo>
                  <a:cubicBezTo>
                    <a:pt x="1501635" y="2127623"/>
                    <a:pt x="1474304" y="2109363"/>
                    <a:pt x="1432070" y="2106555"/>
                  </a:cubicBezTo>
                  <a:cubicBezTo>
                    <a:pt x="1432070" y="2106549"/>
                    <a:pt x="1432070" y="2106542"/>
                    <a:pt x="1432070" y="2106535"/>
                  </a:cubicBezTo>
                  <a:lnTo>
                    <a:pt x="1391053" y="2106535"/>
                  </a:lnTo>
                  <a:cubicBezTo>
                    <a:pt x="1438935" y="2158224"/>
                    <a:pt x="1446259" y="2225218"/>
                    <a:pt x="1446887" y="2255423"/>
                  </a:cubicBezTo>
                  <a:cubicBezTo>
                    <a:pt x="1447975" y="2307708"/>
                    <a:pt x="1392358" y="2436377"/>
                    <a:pt x="1208817" y="2435652"/>
                  </a:cubicBezTo>
                  <a:cubicBezTo>
                    <a:pt x="1025277" y="2434927"/>
                    <a:pt x="964225" y="2309882"/>
                    <a:pt x="965312" y="2224984"/>
                  </a:cubicBezTo>
                  <a:close/>
                  <a:moveTo>
                    <a:pt x="930855" y="3058116"/>
                  </a:moveTo>
                  <a:cubicBezTo>
                    <a:pt x="930761" y="3065725"/>
                    <a:pt x="931116" y="3067557"/>
                    <a:pt x="933676" y="3091543"/>
                  </a:cubicBezTo>
                  <a:lnTo>
                    <a:pt x="1310028" y="3091543"/>
                  </a:lnTo>
                  <a:cubicBezTo>
                    <a:pt x="1310028" y="3062084"/>
                    <a:pt x="1311393" y="3054455"/>
                    <a:pt x="1310028" y="3025483"/>
                  </a:cubicBezTo>
                  <a:cubicBezTo>
                    <a:pt x="1302519" y="2925257"/>
                    <a:pt x="1230751" y="2857673"/>
                    <a:pt x="1121852" y="2855437"/>
                  </a:cubicBezTo>
                  <a:cubicBezTo>
                    <a:pt x="1012953" y="2853201"/>
                    <a:pt x="926351" y="2935330"/>
                    <a:pt x="931129" y="3032150"/>
                  </a:cubicBezTo>
                  <a:cubicBezTo>
                    <a:pt x="931129" y="3046907"/>
                    <a:pt x="930911" y="3053551"/>
                    <a:pt x="930855" y="3058116"/>
                  </a:cubicBezTo>
                  <a:close/>
                  <a:moveTo>
                    <a:pt x="838517" y="1476513"/>
                  </a:moveTo>
                  <a:lnTo>
                    <a:pt x="978949" y="1476513"/>
                  </a:lnTo>
                  <a:lnTo>
                    <a:pt x="978949" y="1377880"/>
                  </a:lnTo>
                  <a:lnTo>
                    <a:pt x="1092752" y="1377880"/>
                  </a:lnTo>
                  <a:lnTo>
                    <a:pt x="1092752" y="1476513"/>
                  </a:lnTo>
                  <a:lnTo>
                    <a:pt x="1157850" y="1476513"/>
                  </a:lnTo>
                  <a:lnTo>
                    <a:pt x="1157813" y="1476843"/>
                  </a:lnTo>
                  <a:lnTo>
                    <a:pt x="1261288" y="1476843"/>
                  </a:lnTo>
                  <a:cubicBezTo>
                    <a:pt x="1282830" y="1475853"/>
                    <a:pt x="1303077" y="1467152"/>
                    <a:pt x="1313785" y="1446249"/>
                  </a:cubicBezTo>
                  <a:cubicBezTo>
                    <a:pt x="1323298" y="1407448"/>
                    <a:pt x="1317143" y="1393306"/>
                    <a:pt x="1310428" y="1363473"/>
                  </a:cubicBezTo>
                  <a:lnTo>
                    <a:pt x="1429267" y="1363473"/>
                  </a:lnTo>
                  <a:cubicBezTo>
                    <a:pt x="1438337" y="1399658"/>
                    <a:pt x="1455801" y="1498051"/>
                    <a:pt x="1428499" y="1550488"/>
                  </a:cubicBezTo>
                  <a:cubicBezTo>
                    <a:pt x="1405626" y="1600925"/>
                    <a:pt x="1349737" y="1621660"/>
                    <a:pt x="1292730" y="1626144"/>
                  </a:cubicBezTo>
                  <a:lnTo>
                    <a:pt x="1292688" y="1625958"/>
                  </a:lnTo>
                  <a:lnTo>
                    <a:pt x="1141411" y="1625958"/>
                  </a:lnTo>
                  <a:lnTo>
                    <a:pt x="1092752" y="1625958"/>
                  </a:lnTo>
                  <a:lnTo>
                    <a:pt x="1092752" y="1684406"/>
                  </a:lnTo>
                  <a:lnTo>
                    <a:pt x="978949" y="1684406"/>
                  </a:lnTo>
                  <a:lnTo>
                    <a:pt x="978949" y="1625958"/>
                  </a:lnTo>
                  <a:lnTo>
                    <a:pt x="854956" y="1625958"/>
                  </a:lnTo>
                  <a:close/>
                  <a:moveTo>
                    <a:pt x="816818" y="843059"/>
                  </a:moveTo>
                  <a:lnTo>
                    <a:pt x="816818" y="692384"/>
                  </a:lnTo>
                  <a:lnTo>
                    <a:pt x="1431393" y="692384"/>
                  </a:lnTo>
                  <a:lnTo>
                    <a:pt x="1431393" y="843059"/>
                  </a:lnTo>
                  <a:close/>
                  <a:moveTo>
                    <a:pt x="816818" y="1899508"/>
                  </a:moveTo>
                  <a:lnTo>
                    <a:pt x="816818" y="1749106"/>
                  </a:lnTo>
                  <a:lnTo>
                    <a:pt x="935732" y="1749106"/>
                  </a:lnTo>
                  <a:lnTo>
                    <a:pt x="935732" y="1899508"/>
                  </a:lnTo>
                  <a:close/>
                  <a:moveTo>
                    <a:pt x="816818" y="2639199"/>
                  </a:moveTo>
                  <a:lnTo>
                    <a:pt x="816818" y="2488797"/>
                  </a:lnTo>
                  <a:lnTo>
                    <a:pt x="935732" y="2488797"/>
                  </a:lnTo>
                  <a:lnTo>
                    <a:pt x="935732" y="2639199"/>
                  </a:lnTo>
                  <a:close/>
                  <a:moveTo>
                    <a:pt x="807392" y="3056209"/>
                  </a:moveTo>
                  <a:cubicBezTo>
                    <a:pt x="799581" y="2834134"/>
                    <a:pt x="939743" y="2693561"/>
                    <a:pt x="1122802" y="2699512"/>
                  </a:cubicBezTo>
                  <a:cubicBezTo>
                    <a:pt x="1305861" y="2705464"/>
                    <a:pt x="1418127" y="2808469"/>
                    <a:pt x="1430401" y="3038355"/>
                  </a:cubicBezTo>
                  <a:cubicBezTo>
                    <a:pt x="1432633" y="3104810"/>
                    <a:pt x="1430401" y="3173496"/>
                    <a:pt x="1430401" y="3241066"/>
                  </a:cubicBezTo>
                  <a:lnTo>
                    <a:pt x="815203" y="3241066"/>
                  </a:lnTo>
                  <a:cubicBezTo>
                    <a:pt x="808508" y="3153039"/>
                    <a:pt x="807392" y="3146467"/>
                    <a:pt x="807392" y="3056209"/>
                  </a:cubicBezTo>
                  <a:close/>
                  <a:moveTo>
                    <a:pt x="277319" y="1667638"/>
                  </a:moveTo>
                  <a:cubicBezTo>
                    <a:pt x="278214" y="1713801"/>
                    <a:pt x="322476" y="1748700"/>
                    <a:pt x="403497" y="1749473"/>
                  </a:cubicBezTo>
                  <a:cubicBezTo>
                    <a:pt x="484518" y="1750246"/>
                    <a:pt x="529674" y="1712834"/>
                    <a:pt x="529674" y="1667638"/>
                  </a:cubicBezTo>
                  <a:cubicBezTo>
                    <a:pt x="529674" y="1622442"/>
                    <a:pt x="481535" y="1587156"/>
                    <a:pt x="403497" y="1585803"/>
                  </a:cubicBezTo>
                  <a:cubicBezTo>
                    <a:pt x="322476" y="1585996"/>
                    <a:pt x="276424" y="1621476"/>
                    <a:pt x="277319" y="1667638"/>
                  </a:cubicBezTo>
                  <a:close/>
                  <a:moveTo>
                    <a:pt x="268712" y="215456"/>
                  </a:moveTo>
                  <a:cubicBezTo>
                    <a:pt x="268896" y="256534"/>
                    <a:pt x="304278" y="289736"/>
                    <a:pt x="347846" y="289714"/>
                  </a:cubicBezTo>
                  <a:lnTo>
                    <a:pt x="347253" y="140569"/>
                  </a:lnTo>
                  <a:cubicBezTo>
                    <a:pt x="303657" y="140856"/>
                    <a:pt x="268528" y="174351"/>
                    <a:pt x="268712" y="215456"/>
                  </a:cubicBezTo>
                  <a:close/>
                  <a:moveTo>
                    <a:pt x="268712" y="2414900"/>
                  </a:moveTo>
                  <a:cubicBezTo>
                    <a:pt x="268896" y="2455978"/>
                    <a:pt x="304278" y="2489180"/>
                    <a:pt x="347846" y="2489158"/>
                  </a:cubicBezTo>
                  <a:lnTo>
                    <a:pt x="347253" y="2340014"/>
                  </a:lnTo>
                  <a:cubicBezTo>
                    <a:pt x="303657" y="2340300"/>
                    <a:pt x="268528" y="2373795"/>
                    <a:pt x="268712" y="2414900"/>
                  </a:cubicBezTo>
                  <a:close/>
                  <a:moveTo>
                    <a:pt x="172060" y="1359711"/>
                  </a:moveTo>
                  <a:lnTo>
                    <a:pt x="172060" y="1206797"/>
                  </a:lnTo>
                  <a:lnTo>
                    <a:pt x="634189" y="1206797"/>
                  </a:lnTo>
                  <a:lnTo>
                    <a:pt x="634189" y="1359711"/>
                  </a:lnTo>
                  <a:close/>
                  <a:moveTo>
                    <a:pt x="163022" y="1666309"/>
                  </a:moveTo>
                  <a:cubicBezTo>
                    <a:pt x="161327" y="1531346"/>
                    <a:pt x="248546" y="1427617"/>
                    <a:pt x="401996" y="1427052"/>
                  </a:cubicBezTo>
                  <a:cubicBezTo>
                    <a:pt x="549796" y="1431007"/>
                    <a:pt x="640970" y="1534171"/>
                    <a:pt x="640970" y="1666309"/>
                  </a:cubicBezTo>
                  <a:cubicBezTo>
                    <a:pt x="640970" y="1798446"/>
                    <a:pt x="555445" y="1907825"/>
                    <a:pt x="401996" y="1905565"/>
                  </a:cubicBezTo>
                  <a:cubicBezTo>
                    <a:pt x="248546" y="1903305"/>
                    <a:pt x="164717" y="1801271"/>
                    <a:pt x="163022" y="1666309"/>
                  </a:cubicBezTo>
                  <a:close/>
                  <a:moveTo>
                    <a:pt x="162567" y="219668"/>
                  </a:moveTo>
                  <a:cubicBezTo>
                    <a:pt x="161194" y="181485"/>
                    <a:pt x="168463" y="141841"/>
                    <a:pt x="185008" y="106623"/>
                  </a:cubicBezTo>
                  <a:cubicBezTo>
                    <a:pt x="222873" y="40259"/>
                    <a:pt x="290907" y="-17619"/>
                    <a:pt x="449496" y="4979"/>
                  </a:cubicBezTo>
                  <a:lnTo>
                    <a:pt x="449010" y="286976"/>
                  </a:lnTo>
                  <a:cubicBezTo>
                    <a:pt x="549031" y="265113"/>
                    <a:pt x="530041" y="129942"/>
                    <a:pt x="505989" y="50458"/>
                  </a:cubicBezTo>
                  <a:lnTo>
                    <a:pt x="611070" y="27013"/>
                  </a:lnTo>
                  <a:cubicBezTo>
                    <a:pt x="640447" y="82943"/>
                    <a:pt x="652876" y="219096"/>
                    <a:pt x="624629" y="291409"/>
                  </a:cubicBezTo>
                  <a:cubicBezTo>
                    <a:pt x="604414" y="341383"/>
                    <a:pt x="562993" y="415354"/>
                    <a:pt x="448760" y="431637"/>
                  </a:cubicBezTo>
                  <a:cubicBezTo>
                    <a:pt x="448759" y="431770"/>
                    <a:pt x="448759" y="431902"/>
                    <a:pt x="448759" y="432034"/>
                  </a:cubicBezTo>
                  <a:cubicBezTo>
                    <a:pt x="312766" y="450254"/>
                    <a:pt x="228491" y="383457"/>
                    <a:pt x="191982" y="323951"/>
                  </a:cubicBezTo>
                  <a:cubicBezTo>
                    <a:pt x="173957" y="294574"/>
                    <a:pt x="163941" y="257851"/>
                    <a:pt x="162567" y="219668"/>
                  </a:cubicBezTo>
                  <a:close/>
                  <a:moveTo>
                    <a:pt x="162567" y="2419112"/>
                  </a:moveTo>
                  <a:cubicBezTo>
                    <a:pt x="161194" y="2380929"/>
                    <a:pt x="168463" y="2341285"/>
                    <a:pt x="185008" y="2306067"/>
                  </a:cubicBezTo>
                  <a:cubicBezTo>
                    <a:pt x="222873" y="2239703"/>
                    <a:pt x="290907" y="2181825"/>
                    <a:pt x="449496" y="2204423"/>
                  </a:cubicBezTo>
                  <a:lnTo>
                    <a:pt x="449010" y="2486420"/>
                  </a:lnTo>
                  <a:cubicBezTo>
                    <a:pt x="549031" y="2464557"/>
                    <a:pt x="530041" y="2329387"/>
                    <a:pt x="505989" y="2249903"/>
                  </a:cubicBezTo>
                  <a:lnTo>
                    <a:pt x="611070" y="2226457"/>
                  </a:lnTo>
                  <a:cubicBezTo>
                    <a:pt x="640447" y="2282387"/>
                    <a:pt x="652876" y="2418540"/>
                    <a:pt x="624629" y="2490853"/>
                  </a:cubicBezTo>
                  <a:cubicBezTo>
                    <a:pt x="604414" y="2540827"/>
                    <a:pt x="562993" y="2614798"/>
                    <a:pt x="448760" y="2631081"/>
                  </a:cubicBezTo>
                  <a:cubicBezTo>
                    <a:pt x="448759" y="2631214"/>
                    <a:pt x="448759" y="2631346"/>
                    <a:pt x="448759" y="2631478"/>
                  </a:cubicBezTo>
                  <a:cubicBezTo>
                    <a:pt x="312766" y="2649698"/>
                    <a:pt x="228491" y="2582901"/>
                    <a:pt x="191982" y="2523395"/>
                  </a:cubicBezTo>
                  <a:cubicBezTo>
                    <a:pt x="173957" y="2494018"/>
                    <a:pt x="163941" y="2457295"/>
                    <a:pt x="162567" y="2419112"/>
                  </a:cubicBezTo>
                  <a:close/>
                  <a:moveTo>
                    <a:pt x="125334" y="3045870"/>
                  </a:moveTo>
                  <a:cubicBezTo>
                    <a:pt x="125239" y="3053574"/>
                    <a:pt x="125599" y="3055429"/>
                    <a:pt x="128191" y="3079718"/>
                  </a:cubicBezTo>
                  <a:lnTo>
                    <a:pt x="509286" y="3079718"/>
                  </a:lnTo>
                  <a:cubicBezTo>
                    <a:pt x="509286" y="3049887"/>
                    <a:pt x="510668" y="3042162"/>
                    <a:pt x="509286" y="3012825"/>
                  </a:cubicBezTo>
                  <a:cubicBezTo>
                    <a:pt x="501682" y="2911336"/>
                    <a:pt x="429010" y="2842901"/>
                    <a:pt x="318739" y="2840636"/>
                  </a:cubicBezTo>
                  <a:cubicBezTo>
                    <a:pt x="208467" y="2838372"/>
                    <a:pt x="120773" y="2921536"/>
                    <a:pt x="125612" y="3019576"/>
                  </a:cubicBezTo>
                  <a:cubicBezTo>
                    <a:pt x="125612" y="3034519"/>
                    <a:pt x="125391" y="3041247"/>
                    <a:pt x="125334" y="3045870"/>
                  </a:cubicBezTo>
                  <a:close/>
                  <a:moveTo>
                    <a:pt x="30070" y="579629"/>
                  </a:moveTo>
                  <a:lnTo>
                    <a:pt x="171850" y="579629"/>
                  </a:lnTo>
                  <a:lnTo>
                    <a:pt x="171850" y="480198"/>
                  </a:lnTo>
                  <a:lnTo>
                    <a:pt x="286746" y="480198"/>
                  </a:lnTo>
                  <a:lnTo>
                    <a:pt x="286746" y="579629"/>
                  </a:lnTo>
                  <a:lnTo>
                    <a:pt x="352468" y="579629"/>
                  </a:lnTo>
                  <a:lnTo>
                    <a:pt x="352431" y="579961"/>
                  </a:lnTo>
                  <a:lnTo>
                    <a:pt x="456898" y="579961"/>
                  </a:lnTo>
                  <a:cubicBezTo>
                    <a:pt x="478648" y="578963"/>
                    <a:pt x="499089" y="570193"/>
                    <a:pt x="509901" y="549120"/>
                  </a:cubicBezTo>
                  <a:cubicBezTo>
                    <a:pt x="519505" y="510005"/>
                    <a:pt x="513291" y="495749"/>
                    <a:pt x="506511" y="465675"/>
                  </a:cubicBezTo>
                  <a:lnTo>
                    <a:pt x="626491" y="465675"/>
                  </a:lnTo>
                  <a:cubicBezTo>
                    <a:pt x="635648" y="502152"/>
                    <a:pt x="653280" y="601340"/>
                    <a:pt x="625715" y="654202"/>
                  </a:cubicBezTo>
                  <a:cubicBezTo>
                    <a:pt x="602623" y="705046"/>
                    <a:pt x="546198" y="725949"/>
                    <a:pt x="488643" y="730469"/>
                  </a:cubicBezTo>
                  <a:lnTo>
                    <a:pt x="488601" y="730282"/>
                  </a:lnTo>
                  <a:lnTo>
                    <a:pt x="335896" y="730282"/>
                  </a:lnTo>
                  <a:lnTo>
                    <a:pt x="286746" y="730282"/>
                  </a:lnTo>
                  <a:lnTo>
                    <a:pt x="286746" y="789203"/>
                  </a:lnTo>
                  <a:lnTo>
                    <a:pt x="171850" y="789203"/>
                  </a:lnTo>
                  <a:lnTo>
                    <a:pt x="171850" y="730282"/>
                  </a:lnTo>
                  <a:lnTo>
                    <a:pt x="46642" y="730282"/>
                  </a:lnTo>
                  <a:close/>
                  <a:moveTo>
                    <a:pt x="30070" y="933498"/>
                  </a:moveTo>
                  <a:lnTo>
                    <a:pt x="171850" y="933498"/>
                  </a:lnTo>
                  <a:lnTo>
                    <a:pt x="171850" y="834067"/>
                  </a:lnTo>
                  <a:lnTo>
                    <a:pt x="286746" y="834067"/>
                  </a:lnTo>
                  <a:lnTo>
                    <a:pt x="286746" y="933498"/>
                  </a:lnTo>
                  <a:lnTo>
                    <a:pt x="352468" y="933498"/>
                  </a:lnTo>
                  <a:lnTo>
                    <a:pt x="352431" y="933830"/>
                  </a:lnTo>
                  <a:lnTo>
                    <a:pt x="456898" y="933830"/>
                  </a:lnTo>
                  <a:cubicBezTo>
                    <a:pt x="478648" y="932832"/>
                    <a:pt x="499089" y="924062"/>
                    <a:pt x="509901" y="902989"/>
                  </a:cubicBezTo>
                  <a:cubicBezTo>
                    <a:pt x="519505" y="863874"/>
                    <a:pt x="513291" y="849618"/>
                    <a:pt x="506511" y="819544"/>
                  </a:cubicBezTo>
                  <a:lnTo>
                    <a:pt x="626491" y="819544"/>
                  </a:lnTo>
                  <a:cubicBezTo>
                    <a:pt x="635648" y="856021"/>
                    <a:pt x="653280" y="955209"/>
                    <a:pt x="625715" y="1008071"/>
                  </a:cubicBezTo>
                  <a:cubicBezTo>
                    <a:pt x="602623" y="1058915"/>
                    <a:pt x="546198" y="1079818"/>
                    <a:pt x="488643" y="1084338"/>
                  </a:cubicBezTo>
                  <a:lnTo>
                    <a:pt x="488601" y="1084151"/>
                  </a:lnTo>
                  <a:lnTo>
                    <a:pt x="335896" y="1084151"/>
                  </a:lnTo>
                  <a:lnTo>
                    <a:pt x="286746" y="1084151"/>
                  </a:lnTo>
                  <a:lnTo>
                    <a:pt x="286746" y="1143072"/>
                  </a:lnTo>
                  <a:lnTo>
                    <a:pt x="171850" y="1143072"/>
                  </a:lnTo>
                  <a:lnTo>
                    <a:pt x="171850" y="1084151"/>
                  </a:lnTo>
                  <a:lnTo>
                    <a:pt x="46642" y="1084151"/>
                  </a:lnTo>
                  <a:close/>
                  <a:moveTo>
                    <a:pt x="10484" y="2129850"/>
                  </a:moveTo>
                  <a:lnTo>
                    <a:pt x="10484" y="1976937"/>
                  </a:lnTo>
                  <a:lnTo>
                    <a:pt x="634189" y="1976937"/>
                  </a:lnTo>
                  <a:lnTo>
                    <a:pt x="634189" y="2129850"/>
                  </a:lnTo>
                  <a:close/>
                  <a:moveTo>
                    <a:pt x="9354" y="1363100"/>
                  </a:moveTo>
                  <a:lnTo>
                    <a:pt x="9354" y="1210187"/>
                  </a:lnTo>
                  <a:lnTo>
                    <a:pt x="130253" y="1210187"/>
                  </a:lnTo>
                  <a:lnTo>
                    <a:pt x="130253" y="1363100"/>
                  </a:lnTo>
                  <a:close/>
                  <a:moveTo>
                    <a:pt x="315" y="3043938"/>
                  </a:moveTo>
                  <a:cubicBezTo>
                    <a:pt x="-7594" y="2819064"/>
                    <a:pt x="134334" y="2676721"/>
                    <a:pt x="319701" y="2682747"/>
                  </a:cubicBezTo>
                  <a:cubicBezTo>
                    <a:pt x="505067" y="2688773"/>
                    <a:pt x="618748" y="2793077"/>
                    <a:pt x="631177" y="3025860"/>
                  </a:cubicBezTo>
                  <a:cubicBezTo>
                    <a:pt x="633436" y="3093152"/>
                    <a:pt x="631176" y="3162703"/>
                    <a:pt x="631176" y="3231125"/>
                  </a:cubicBezTo>
                  <a:lnTo>
                    <a:pt x="8225" y="3231125"/>
                  </a:lnTo>
                  <a:cubicBezTo>
                    <a:pt x="1445" y="3141988"/>
                    <a:pt x="315" y="3135334"/>
                    <a:pt x="315" y="304393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Oval 8"/>
            <p:cNvSpPr/>
            <p:nvPr/>
          </p:nvSpPr>
          <p:spPr>
            <a:xfrm>
              <a:off x="8601487" y="5245394"/>
              <a:ext cx="169485" cy="16948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extLst>
      <p:ext uri="{BB962C8B-B14F-4D97-AF65-F5344CB8AC3E}">
        <p14:creationId xmlns:p14="http://schemas.microsoft.com/office/powerpoint/2010/main" val="354118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823541652"/>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5301"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955" y="1589"/>
                        <a:ext cx="1953" cy="1587"/>
                      </a:xfrm>
                      <a:prstGeom prst="rect">
                        <a:avLst/>
                      </a:prstGeom>
                    </p:spPr>
                  </p:pic>
                </p:oleObj>
              </mc:Fallback>
            </mc:AlternateContent>
          </a:graphicData>
        </a:graphic>
      </p:graphicFrame>
    </p:spTree>
    <p:extLst>
      <p:ext uri="{BB962C8B-B14F-4D97-AF65-F5344CB8AC3E}">
        <p14:creationId xmlns:p14="http://schemas.microsoft.com/office/powerpoint/2010/main" val="103184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2376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99696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D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34211644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6325"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hasCustomPrompt="1"/>
          </p:nvPr>
        </p:nvSpPr>
        <p:spPr>
          <a:xfrm>
            <a:off x="553847" y="540000"/>
            <a:ext cx="11078308" cy="468000"/>
          </a:xfrm>
        </p:spPr>
        <p:txBody>
          <a:bodyPr/>
          <a:lstStyle>
            <a:lvl1pPr>
              <a:defRPr>
                <a:solidFill>
                  <a:srgbClr val="FFFFFF"/>
                </a:solidFill>
              </a:defRPr>
            </a:lvl1pPr>
          </a:lstStyle>
          <a:p>
            <a:r>
              <a:rPr lang="en-US" dirty="0"/>
              <a:t>Structural Title...</a:t>
            </a:r>
          </a:p>
        </p:txBody>
      </p:sp>
      <p:sp>
        <p:nvSpPr>
          <p:cNvPr id="3" name="Text Placeholder 5"/>
          <p:cNvSpPr>
            <a:spLocks noGrp="1"/>
          </p:cNvSpPr>
          <p:nvPr>
            <p:ph type="body" sz="quarter" idx="13"/>
          </p:nvPr>
        </p:nvSpPr>
        <p:spPr>
          <a:xfrm>
            <a:off x="553846" y="1008000"/>
            <a:ext cx="11078306" cy="720000"/>
          </a:xfrm>
        </p:spPr>
        <p:txBody>
          <a:bodyPr tIns="108000">
            <a:noAutofit/>
          </a:bodyPr>
          <a:lstStyle>
            <a:lvl1pPr marL="0" indent="0">
              <a:buNone/>
              <a:defRPr sz="1600" baseline="0">
                <a:solidFill>
                  <a:schemeClr val="accent5"/>
                </a:solidFill>
              </a:defRPr>
            </a:lvl1pPr>
          </a:lstStyle>
          <a:p>
            <a:pPr lvl="0"/>
            <a:r>
              <a:rPr lang="en-US" dirty="0"/>
              <a:t>Click to edit Master text styles</a:t>
            </a:r>
          </a:p>
        </p:txBody>
      </p:sp>
      <p:sp>
        <p:nvSpPr>
          <p:cNvPr id="15" name="Footer Placeholder 4"/>
          <p:cNvSpPr>
            <a:spLocks noGrp="1"/>
          </p:cNvSpPr>
          <p:nvPr>
            <p:ph type="ftr" sz="quarter" idx="3"/>
          </p:nvPr>
        </p:nvSpPr>
        <p:spPr>
          <a:xfrm>
            <a:off x="6096004" y="6578600"/>
            <a:ext cx="5541103" cy="180000"/>
          </a:xfrm>
          <a:prstGeom prst="rect">
            <a:avLst/>
          </a:prstGeom>
        </p:spPr>
        <p:txBody>
          <a:bodyPr vert="horz" lIns="91440" tIns="45720" rIns="91440" bIns="45720" rtlCol="0" anchor="ctr"/>
          <a:lstStyle>
            <a:lvl1pPr algn="r">
              <a:defRPr sz="800" b="0">
                <a:solidFill>
                  <a:schemeClr val="bg1">
                    <a:lumMod val="85000"/>
                  </a:schemeClr>
                </a:solidFill>
                <a:latin typeface="+mn-lt"/>
              </a:defRPr>
            </a:lvl1pPr>
          </a:lstStyle>
          <a:p>
            <a:r>
              <a:rPr lang="en-US" dirty="0"/>
              <a:t>Deloitte Digital Germany Template A4 | 05/2015</a:t>
            </a:r>
          </a:p>
        </p:txBody>
      </p:sp>
      <p:sp>
        <p:nvSpPr>
          <p:cNvPr id="16" name="TextBox 15"/>
          <p:cNvSpPr txBox="1"/>
          <p:nvPr userDrawn="1"/>
        </p:nvSpPr>
        <p:spPr>
          <a:xfrm>
            <a:off x="561365" y="312912"/>
            <a:ext cx="816496" cy="230832"/>
          </a:xfrm>
          <a:prstGeom prst="rect">
            <a:avLst/>
          </a:prstGeom>
          <a:noFill/>
        </p:spPr>
        <p:txBody>
          <a:bodyPr wrap="none" lIns="36000" tIns="45720" rIns="36000" bIns="4572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bg1">
                    <a:lumMod val="85000"/>
                  </a:schemeClr>
                </a:solidFill>
                <a:latin typeface="+mj-lt"/>
                <a:cs typeface="Open Sans" panose="020B0606030504020204" pitchFamily="34" charset="0"/>
              </a:rPr>
              <a:t>Deloitte Digital</a:t>
            </a:r>
          </a:p>
        </p:txBody>
      </p:sp>
      <p:sp>
        <p:nvSpPr>
          <p:cNvPr id="17" name="TextBox 16"/>
          <p:cNvSpPr txBox="1"/>
          <p:nvPr userDrawn="1"/>
        </p:nvSpPr>
        <p:spPr>
          <a:xfrm>
            <a:off x="11304511" y="312912"/>
            <a:ext cx="325730" cy="230832"/>
          </a:xfrm>
          <a:prstGeom prst="rect">
            <a:avLst/>
          </a:prstGeom>
          <a:noFill/>
        </p:spPr>
        <p:txBody>
          <a:bodyPr wrap="none" lIns="91440" tIns="45720" rIns="91440" bIns="45720" rtlCol="0">
            <a:spAutoFit/>
          </a:bodyPr>
          <a:lstStyle/>
          <a:p>
            <a:pPr algn="r"/>
            <a:fld id="{B10D5614-B734-4280-8F57-1D4947433C97}" type="slidenum">
              <a:rPr lang="en-US" sz="900" smtClean="0">
                <a:solidFill>
                  <a:schemeClr val="bg1">
                    <a:lumMod val="85000"/>
                  </a:schemeClr>
                </a:solidFill>
                <a:latin typeface="+mn-lt"/>
                <a:cs typeface="Open Sans" panose="020B0606030504020204" pitchFamily="34" charset="0"/>
              </a:rPr>
              <a:pPr algn="r"/>
              <a:t>‹#›</a:t>
            </a:fld>
            <a:endParaRPr lang="en-US" sz="900" dirty="0">
              <a:solidFill>
                <a:schemeClr val="bg1">
                  <a:lumMod val="85000"/>
                </a:schemeClr>
              </a:solidFill>
              <a:latin typeface="+mn-lt"/>
              <a:cs typeface="Open Sans" panose="020B0606030504020204" pitchFamily="34" charset="0"/>
            </a:endParaRPr>
          </a:p>
        </p:txBody>
      </p:sp>
      <p:cxnSp>
        <p:nvCxnSpPr>
          <p:cNvPr id="20" name="Straight Connector 19"/>
          <p:cNvCxnSpPr/>
          <p:nvPr userDrawn="1"/>
        </p:nvCxnSpPr>
        <p:spPr>
          <a:xfrm flipH="1">
            <a:off x="553846" y="540000"/>
            <a:ext cx="11078306" cy="0"/>
          </a:xfrm>
          <a:prstGeom prst="line">
            <a:avLst/>
          </a:prstGeom>
          <a:ln w="3175"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617234" y="1737207"/>
            <a:ext cx="3377023" cy="4500000"/>
            <a:chOff x="501502" y="1737207"/>
            <a:chExt cx="2743831" cy="4500000"/>
          </a:xfrm>
        </p:grpSpPr>
        <p:sp>
          <p:nvSpPr>
            <p:cNvPr id="10" name="Rectangle 7"/>
            <p:cNvSpPr>
              <a:spLocks noChangeArrowheads="1"/>
            </p:cNvSpPr>
            <p:nvPr/>
          </p:nvSpPr>
          <p:spPr bwMode="gray">
            <a:xfrm>
              <a:off x="501502" y="1737207"/>
              <a:ext cx="2743831" cy="4500000"/>
            </a:xfrm>
            <a:prstGeom prst="rect">
              <a:avLst/>
            </a:prstGeom>
            <a:noFill/>
            <a:ln w="6350" algn="ctr">
              <a:noFill/>
              <a:miter lim="800000"/>
              <a:headEnd/>
              <a:tailEnd/>
            </a:ln>
          </p:spPr>
          <p:txBody>
            <a:bodyPr lIns="72000" tIns="36000" rIns="0" bIns="36000"/>
            <a:lstStyle/>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defRPr/>
              </a:pPr>
              <a:r>
                <a:rPr lang="en-US" sz="1000" b="1" dirty="0">
                  <a:solidFill>
                    <a:schemeClr val="bg1"/>
                  </a:solidFill>
                  <a:latin typeface="Frutiger Next Pro Light" panose="020B0303040204020203" pitchFamily="34" charset="0"/>
                  <a:cs typeface="Open Sans" panose="020B0606030504020204" pitchFamily="34" charset="0"/>
                </a:rPr>
                <a:t>Summary of experience</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External Partner A.T. Kearney Lab</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Co-Founder: German Silicon Valley Accelerator</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Serial Entrepreneur/ Angel Investor</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Exec Dir: LMU Entrepreneurship Center</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Board Director: Avanquest Software (AVQ), Carpooling.com</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32 years of operational &amp; entrepreneurial experience</a:t>
              </a:r>
            </a:p>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
              </a:r>
              <a:br>
                <a:rPr lang="en-US" sz="1000" b="1" dirty="0">
                  <a:solidFill>
                    <a:schemeClr val="bg1"/>
                  </a:solidFill>
                  <a:latin typeface="Frutiger Next Pro Light" panose="020B0303040204020203" pitchFamily="34" charset="0"/>
                  <a:cs typeface="Open Sans" panose="020B0606030504020204" pitchFamily="34" charset="0"/>
                </a:rPr>
              </a:br>
              <a:endParaRPr lang="en-US" sz="1000" b="1" dirty="0">
                <a:solidFill>
                  <a:schemeClr val="bg1"/>
                </a:solidFill>
                <a:latin typeface="Frutiger Next Pro Light" panose="020B0303040204020203" pitchFamily="34" charset="0"/>
                <a:cs typeface="Open Sans" panose="020B0606030504020204" pitchFamily="34" charset="0"/>
              </a:endParaRPr>
            </a:p>
          </p:txBody>
        </p:sp>
        <p:pic>
          <p:nvPicPr>
            <p:cNvPr id="11" name="Picture 335" descr="C:\Users\jgropp\AppData\Local\Temp\LCFEM\{A22255FD-FE21-4F2F-9EF9-9F62C481CFF8}\Andy Goldstein 1.jpg"/>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539210" y="1910313"/>
              <a:ext cx="987931" cy="996645"/>
            </a:xfrm>
            <a:custGeom>
              <a:avLst/>
              <a:gdLst/>
              <a:ahLst/>
              <a:cxnLst/>
              <a:rect l="l" t="t" r="r" b="b"/>
              <a:pathLst>
                <a:path w="1197180" h="1197180">
                  <a:moveTo>
                    <a:pt x="598590" y="0"/>
                  </a:moveTo>
                  <a:cubicBezTo>
                    <a:pt x="929182" y="0"/>
                    <a:pt x="1197180" y="267998"/>
                    <a:pt x="1197180" y="598590"/>
                  </a:cubicBezTo>
                  <a:cubicBezTo>
                    <a:pt x="1197180" y="929182"/>
                    <a:pt x="929182" y="1197180"/>
                    <a:pt x="598590" y="1197180"/>
                  </a:cubicBezTo>
                  <a:cubicBezTo>
                    <a:pt x="267998" y="1197180"/>
                    <a:pt x="0" y="929182"/>
                    <a:pt x="0" y="598590"/>
                  </a:cubicBezTo>
                  <a:cubicBezTo>
                    <a:pt x="0" y="267998"/>
                    <a:pt x="267998" y="0"/>
                    <a:pt x="598590" y="0"/>
                  </a:cubicBezTo>
                  <a:close/>
                </a:path>
              </a:pathLst>
            </a:custGeom>
            <a:ln w="28575">
              <a:solidFill>
                <a:schemeClr val="accent5"/>
              </a:solidFill>
            </a:ln>
            <a:extLst>
              <a:ext uri="{909E8E84-426E-40DD-AFC4-6F175D3DCCD1}">
                <a14:hiddenFill xmlns:a14="http://schemas.microsoft.com/office/drawing/2010/main">
                  <a:solidFill>
                    <a:srgbClr val="FFFFFF"/>
                  </a:solidFill>
                </a14:hiddenFill>
              </a:ext>
            </a:extLst>
          </p:spPr>
        </p:pic>
        <p:sp>
          <p:nvSpPr>
            <p:cNvPr id="12" name="Rectangle 11"/>
            <p:cNvSpPr/>
            <p:nvPr/>
          </p:nvSpPr>
          <p:spPr>
            <a:xfrm>
              <a:off x="1574356" y="1989589"/>
              <a:ext cx="1503575" cy="584775"/>
            </a:xfrm>
            <a:prstGeom prst="rect">
              <a:avLst/>
            </a:prstGeom>
          </p:spPr>
          <p:txBody>
            <a:bodyPr wrap="square">
              <a:spAutoFit/>
            </a:bodyPr>
            <a:lstStyle/>
            <a:p>
              <a:pPr marL="0" lvl="1" defTabSz="723900" eaLnBrk="0" hangingPunct="0">
                <a:lnSpc>
                  <a:spcPct val="90000"/>
                </a:lnSpc>
                <a:spcBef>
                  <a:spcPts val="600"/>
                </a:spcBef>
                <a:defRPr/>
              </a:pPr>
              <a:r>
                <a:rPr lang="en-US" sz="1000" b="1" dirty="0">
                  <a:solidFill>
                    <a:srgbClr val="92D400"/>
                  </a:solidFill>
                  <a:latin typeface="Frutiger Next Pro Light" panose="020B0303040204020203" pitchFamily="34" charset="0"/>
                  <a:cs typeface="Open Sans" panose="020B0606030504020204" pitchFamily="34" charset="0"/>
                </a:rPr>
                <a:t>Andy Goldstein</a:t>
              </a:r>
            </a:p>
            <a:p>
              <a:pPr marL="0" lvl="1" defTabSz="7239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Co-Founder and Managing Director Deloitte Digital GmbH</a:t>
              </a:r>
            </a:p>
          </p:txBody>
        </p:sp>
      </p:grpSp>
      <p:grpSp>
        <p:nvGrpSpPr>
          <p:cNvPr id="13" name="Group 12"/>
          <p:cNvGrpSpPr/>
          <p:nvPr userDrawn="1"/>
        </p:nvGrpSpPr>
        <p:grpSpPr>
          <a:xfrm>
            <a:off x="4002282" y="1737207"/>
            <a:ext cx="3312852" cy="4500000"/>
            <a:chOff x="3245334" y="1737207"/>
            <a:chExt cx="2691692" cy="4500000"/>
          </a:xfrm>
        </p:grpSpPr>
        <p:sp>
          <p:nvSpPr>
            <p:cNvPr id="14" name="Rectangle 7"/>
            <p:cNvSpPr>
              <a:spLocks noChangeArrowheads="1"/>
            </p:cNvSpPr>
            <p:nvPr/>
          </p:nvSpPr>
          <p:spPr bwMode="gray">
            <a:xfrm>
              <a:off x="3245334" y="1737207"/>
              <a:ext cx="2691692" cy="4500000"/>
            </a:xfrm>
            <a:prstGeom prst="rect">
              <a:avLst/>
            </a:prstGeom>
            <a:noFill/>
            <a:ln w="6350" algn="ctr">
              <a:noFill/>
              <a:miter lim="800000"/>
              <a:headEnd/>
              <a:tailEnd/>
            </a:ln>
          </p:spPr>
          <p:txBody>
            <a:bodyPr lIns="72000" tIns="36000" rIns="72000" bIns="36000"/>
            <a:lstStyle/>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tabLst>
                  <a:tab pos="812800" algn="l"/>
                </a:tabLst>
                <a:defRPr/>
              </a:pPr>
              <a:r>
                <a:rPr lang="en-US" sz="1000" dirty="0">
                  <a:solidFill>
                    <a:schemeClr val="bg1"/>
                  </a:solidFill>
                  <a:latin typeface="Frutiger Next Pro Light" panose="020B0303040204020203" pitchFamily="34" charset="0"/>
                  <a:cs typeface="Open Sans" panose="020B0606030504020204" pitchFamily="34" charset="0"/>
                </a:rPr>
                <a:t>	</a:t>
              </a:r>
              <a:endParaRPr lang="en-US" sz="1000" b="1"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	</a:t>
              </a: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defRPr/>
              </a:pPr>
              <a:r>
                <a:rPr lang="en-US" sz="1000" b="1" dirty="0">
                  <a:solidFill>
                    <a:schemeClr val="bg1"/>
                  </a:solidFill>
                  <a:latin typeface="Frutiger Next Pro Light" panose="020B0303040204020203" pitchFamily="34" charset="0"/>
                  <a:cs typeface="Open Sans" panose="020B0606030504020204" pitchFamily="34" charset="0"/>
                </a:rPr>
                <a:t>Summary of experience</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External Partner A.T. Kearney Lab</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COO Heilemann &amp; Co., MP Catagonia Capital, CMO &amp; Member of Executive Board Von Roll, SVP Oerlikon</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Marketing &amp; Consulting roles at BCG, BBDO and J&amp;J</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Co-Founder &amp; MD of award winning media startup</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20 years of consulting, operational &amp; entrepreneurial experience </a:t>
              </a:r>
            </a:p>
            <a:p>
              <a:pPr marL="0" lvl="1" eaLnBrk="0" hangingPunct="0">
                <a:lnSpc>
                  <a:spcPct val="90000"/>
                </a:lnSpc>
                <a:spcBef>
                  <a:spcPts val="600"/>
                </a:spcBef>
                <a:buSzPct val="100000"/>
                <a:defRPr/>
              </a:pPr>
              <a:endParaRPr lang="en-US" sz="600" b="1" dirty="0">
                <a:solidFill>
                  <a:schemeClr val="bg1"/>
                </a:solidFill>
                <a:latin typeface="Frutiger Next Pro Light" panose="020B0303040204020203" pitchFamily="34" charset="0"/>
                <a:cs typeface="Arial" pitchFamily="34" charset="0"/>
              </a:endParaRPr>
            </a:p>
          </p:txBody>
        </p:sp>
        <p:pic>
          <p:nvPicPr>
            <p:cNvPr id="18" name="Picture 333" descr="C:\Users\jgropp\AppData\Local\Temp\LCFEM\{4ED2DACD-DBD0-4333-96A0-E2F0DBCD1550}\Andreas Harting.jp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4000"/>
                      </a14:imgEffect>
                    </a14:imgLayer>
                  </a14:imgProps>
                </a:ext>
                <a:ext uri="{28A0092B-C50C-407E-A947-70E740481C1C}">
                  <a14:useLocalDpi xmlns:a14="http://schemas.microsoft.com/office/drawing/2010/main"/>
                </a:ext>
              </a:extLst>
            </a:blip>
            <a:srcRect/>
            <a:stretch/>
          </p:blipFill>
          <p:spPr bwMode="auto">
            <a:xfrm>
              <a:off x="3345591" y="1910313"/>
              <a:ext cx="987425" cy="996950"/>
            </a:xfrm>
            <a:custGeom>
              <a:avLst/>
              <a:gdLst/>
              <a:ahLst/>
              <a:cxnLst/>
              <a:rect l="l" t="t" r="r" b="b"/>
              <a:pathLst>
                <a:path w="1197180" h="1197180">
                  <a:moveTo>
                    <a:pt x="598590" y="0"/>
                  </a:moveTo>
                  <a:cubicBezTo>
                    <a:pt x="929182" y="0"/>
                    <a:pt x="1197180" y="267998"/>
                    <a:pt x="1197180" y="598590"/>
                  </a:cubicBezTo>
                  <a:cubicBezTo>
                    <a:pt x="1197180" y="929182"/>
                    <a:pt x="929182" y="1197180"/>
                    <a:pt x="598590" y="1197180"/>
                  </a:cubicBezTo>
                  <a:cubicBezTo>
                    <a:pt x="267998" y="1197180"/>
                    <a:pt x="0" y="929182"/>
                    <a:pt x="0" y="598590"/>
                  </a:cubicBezTo>
                  <a:cubicBezTo>
                    <a:pt x="0" y="267998"/>
                    <a:pt x="267998" y="0"/>
                    <a:pt x="598590" y="0"/>
                  </a:cubicBezTo>
                  <a:close/>
                </a:path>
              </a:pathLst>
            </a:custGeom>
            <a:ln w="28575">
              <a:solidFill>
                <a:schemeClr val="accent5"/>
              </a:solidFill>
            </a:ln>
            <a:extLst>
              <a:ext uri="{909E8E84-426E-40DD-AFC4-6F175D3DCCD1}">
                <a14:hiddenFill xmlns:a14="http://schemas.microsoft.com/office/drawing/2010/main">
                  <a:solidFill>
                    <a:srgbClr val="FFFFFF"/>
                  </a:solidFill>
                </a14:hiddenFill>
              </a:ext>
            </a:extLst>
          </p:spPr>
        </p:pic>
        <p:sp>
          <p:nvSpPr>
            <p:cNvPr id="19" name="Rectangle 18"/>
            <p:cNvSpPr/>
            <p:nvPr/>
          </p:nvSpPr>
          <p:spPr>
            <a:xfrm>
              <a:off x="4374119" y="1989589"/>
              <a:ext cx="1503575" cy="584775"/>
            </a:xfrm>
            <a:prstGeom prst="rect">
              <a:avLst/>
            </a:prstGeom>
          </p:spPr>
          <p:txBody>
            <a:bodyPr wrap="square">
              <a:spAutoFit/>
            </a:bodyPr>
            <a:lstStyle/>
            <a:p>
              <a:pPr marL="0" lvl="1" defTabSz="723900" eaLnBrk="0" hangingPunct="0">
                <a:lnSpc>
                  <a:spcPct val="90000"/>
                </a:lnSpc>
                <a:spcBef>
                  <a:spcPts val="600"/>
                </a:spcBef>
                <a:defRPr/>
              </a:pPr>
              <a:r>
                <a:rPr lang="en-US" sz="1000" b="1" dirty="0">
                  <a:solidFill>
                    <a:srgbClr val="92D400"/>
                  </a:solidFill>
                  <a:latin typeface="Frutiger Next Pro Light" panose="020B0303040204020203" pitchFamily="34" charset="0"/>
                  <a:cs typeface="Open Sans" panose="020B0606030504020204" pitchFamily="34" charset="0"/>
                </a:rPr>
                <a:t>Andreas Harting </a:t>
              </a:r>
            </a:p>
            <a:p>
              <a:pPr marL="0" lvl="1" defTabSz="7239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Co-Founder and Managing Director Deloitte Digital GmbH</a:t>
              </a:r>
            </a:p>
          </p:txBody>
        </p:sp>
      </p:grpSp>
      <p:grpSp>
        <p:nvGrpSpPr>
          <p:cNvPr id="21" name="Group 20"/>
          <p:cNvGrpSpPr/>
          <p:nvPr userDrawn="1"/>
        </p:nvGrpSpPr>
        <p:grpSpPr>
          <a:xfrm>
            <a:off x="7415978" y="1737207"/>
            <a:ext cx="3312852" cy="4500000"/>
            <a:chOff x="6063190" y="1737207"/>
            <a:chExt cx="2691692" cy="4500000"/>
          </a:xfrm>
        </p:grpSpPr>
        <p:sp>
          <p:nvSpPr>
            <p:cNvPr id="22" name="Rectangle 7"/>
            <p:cNvSpPr>
              <a:spLocks noChangeArrowheads="1"/>
            </p:cNvSpPr>
            <p:nvPr/>
          </p:nvSpPr>
          <p:spPr bwMode="gray">
            <a:xfrm>
              <a:off x="6063190" y="1737207"/>
              <a:ext cx="2691692" cy="4500000"/>
            </a:xfrm>
            <a:prstGeom prst="rect">
              <a:avLst/>
            </a:prstGeom>
            <a:noFill/>
            <a:ln w="6350" algn="ctr">
              <a:noFill/>
              <a:miter lim="800000"/>
              <a:headEnd/>
              <a:tailEnd/>
            </a:ln>
          </p:spPr>
          <p:txBody>
            <a:bodyPr lIns="72000" tIns="36000" rIns="0" bIns="36000"/>
            <a:lstStyle/>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	</a:t>
              </a:r>
              <a:r>
                <a:rPr lang="en-US" sz="1000" b="1" dirty="0">
                  <a:solidFill>
                    <a:schemeClr val="bg1"/>
                  </a:solidFill>
                  <a:latin typeface="Frutiger Next Pro Light" panose="020B0303040204020203" pitchFamily="34" charset="0"/>
                  <a:cs typeface="Open Sans" panose="020B0606030504020204" pitchFamily="34" charset="0"/>
                </a:rPr>
                <a:t> </a:t>
              </a:r>
            </a:p>
            <a:p>
              <a:pPr marL="0" lvl="1" defTabSz="812800" eaLnBrk="0" hangingPunct="0">
                <a:lnSpc>
                  <a:spcPct val="90000"/>
                </a:lnSpc>
                <a:spcBef>
                  <a:spcPts val="600"/>
                </a:spcBef>
                <a:defRPr/>
              </a:pPr>
              <a:endParaRPr lang="en-US" sz="1000" b="1"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endParaRPr lang="en-US" sz="1000" b="1"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endParaRPr lang="en-US" sz="1000" b="1"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endParaRPr lang="en-US" sz="16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defRPr/>
              </a:pPr>
              <a:r>
                <a:rPr lang="en-US" sz="1000" b="1" dirty="0">
                  <a:solidFill>
                    <a:schemeClr val="bg1"/>
                  </a:solidFill>
                  <a:latin typeface="Frutiger Next Pro Light" panose="020B0303040204020203" pitchFamily="34" charset="0"/>
                  <a:cs typeface="Open Sans" panose="020B0606030504020204" pitchFamily="34" charset="0"/>
                </a:rPr>
                <a:t>Summary of experience</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Expert in Salesforce.com and E2E CRM implementation in large scale, international projects</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Consulting roles in digital marketing, telecommunications &amp; automotive</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Certified Project Management Professional (PMP)</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More than 14 years of experience in CRM consulting</a:t>
              </a:r>
            </a:p>
            <a:p>
              <a:pPr marL="81010" lvl="1" indent="-81010" eaLnBrk="0" hangingPunct="0">
                <a:lnSpc>
                  <a:spcPct val="90000"/>
                </a:lnSpc>
                <a:spcBef>
                  <a:spcPts val="600"/>
                </a:spcBef>
                <a:buSzPct val="100000"/>
                <a:buFont typeface="Arial"/>
                <a:buChar char="•"/>
                <a:defRPr/>
              </a:pPr>
              <a:endParaRPr lang="en-US" sz="1000" b="1"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
              </a:r>
              <a:br>
                <a:rPr lang="en-US" sz="1000" b="1" dirty="0">
                  <a:solidFill>
                    <a:schemeClr val="bg1"/>
                  </a:solidFill>
                  <a:latin typeface="Frutiger Next Pro Light" panose="020B0303040204020203" pitchFamily="34" charset="0"/>
                  <a:cs typeface="Open Sans" panose="020B0606030504020204" pitchFamily="34" charset="0"/>
                </a:rPr>
              </a:br>
              <a:r>
                <a:rPr lang="en-US" sz="1000" b="1" dirty="0">
                  <a:solidFill>
                    <a:schemeClr val="bg1"/>
                  </a:solidFill>
                  <a:latin typeface="Frutiger Next Pro Light" panose="020B0303040204020203" pitchFamily="34" charset="0"/>
                  <a:cs typeface="Open Sans" panose="020B0606030504020204" pitchFamily="34" charset="0"/>
                </a:rPr>
                <a:t/>
              </a:r>
              <a:br>
                <a:rPr lang="en-US" sz="1000" b="1" dirty="0">
                  <a:solidFill>
                    <a:schemeClr val="bg1"/>
                  </a:solidFill>
                  <a:latin typeface="Frutiger Next Pro Light" panose="020B0303040204020203" pitchFamily="34" charset="0"/>
                  <a:cs typeface="Open Sans" panose="020B0606030504020204" pitchFamily="34" charset="0"/>
                </a:rPr>
              </a:br>
              <a:endParaRPr lang="en-US" sz="1000" dirty="0">
                <a:solidFill>
                  <a:schemeClr val="bg1"/>
                </a:solidFill>
                <a:latin typeface="Frutiger Next Pro Light" panose="020B0303040204020203" pitchFamily="34" charset="0"/>
                <a:cs typeface="Open Sans" panose="020B0606030504020204" pitchFamily="34" charset="0"/>
              </a:endParaRPr>
            </a:p>
          </p:txBody>
        </p:sp>
        <p:pic>
          <p:nvPicPr>
            <p:cNvPr id="23" name="Picture 334"/>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6070296" y="1910313"/>
              <a:ext cx="973213" cy="996950"/>
            </a:xfrm>
            <a:custGeom>
              <a:avLst/>
              <a:gdLst/>
              <a:ahLst/>
              <a:cxnLst/>
              <a:rect l="l" t="t" r="r" b="b"/>
              <a:pathLst>
                <a:path w="1197180" h="1197180">
                  <a:moveTo>
                    <a:pt x="598590" y="0"/>
                  </a:moveTo>
                  <a:cubicBezTo>
                    <a:pt x="929182" y="0"/>
                    <a:pt x="1197180" y="267998"/>
                    <a:pt x="1197180" y="598590"/>
                  </a:cubicBezTo>
                  <a:cubicBezTo>
                    <a:pt x="1197180" y="929182"/>
                    <a:pt x="929182" y="1197180"/>
                    <a:pt x="598590" y="1197180"/>
                  </a:cubicBezTo>
                  <a:cubicBezTo>
                    <a:pt x="267998" y="1197180"/>
                    <a:pt x="0" y="929182"/>
                    <a:pt x="0" y="598590"/>
                  </a:cubicBezTo>
                  <a:cubicBezTo>
                    <a:pt x="0" y="267998"/>
                    <a:pt x="267998" y="0"/>
                    <a:pt x="598590" y="0"/>
                  </a:cubicBezTo>
                  <a:close/>
                </a:path>
              </a:pathLst>
            </a:custGeom>
            <a:ln w="28575">
              <a:solidFill>
                <a:schemeClr val="accent5"/>
              </a:solidFill>
            </a:ln>
            <a:extLst>
              <a:ext uri="{909E8E84-426E-40DD-AFC4-6F175D3DCCD1}">
                <a14:hiddenFill xmlns:a14="http://schemas.microsoft.com/office/drawing/2010/main">
                  <a:solidFill>
                    <a:srgbClr val="FFFFFF"/>
                  </a:solidFill>
                </a14:hiddenFill>
              </a:ext>
            </a:extLst>
          </p:spPr>
        </p:pic>
        <p:sp>
          <p:nvSpPr>
            <p:cNvPr id="24" name="Rectangle 23"/>
            <p:cNvSpPr/>
            <p:nvPr/>
          </p:nvSpPr>
          <p:spPr>
            <a:xfrm>
              <a:off x="7098382" y="1989589"/>
              <a:ext cx="1503575" cy="584775"/>
            </a:xfrm>
            <a:prstGeom prst="rect">
              <a:avLst/>
            </a:prstGeom>
          </p:spPr>
          <p:txBody>
            <a:bodyPr wrap="square">
              <a:spAutoFit/>
            </a:bodyPr>
            <a:lstStyle/>
            <a:p>
              <a:pPr marL="0" lvl="1" defTabSz="723900" eaLnBrk="0" hangingPunct="0">
                <a:lnSpc>
                  <a:spcPct val="90000"/>
                </a:lnSpc>
                <a:spcBef>
                  <a:spcPts val="600"/>
                </a:spcBef>
                <a:defRPr/>
              </a:pPr>
              <a:r>
                <a:rPr lang="en-US" sz="1000" b="1" dirty="0">
                  <a:solidFill>
                    <a:srgbClr val="92D400"/>
                  </a:solidFill>
                  <a:latin typeface="Frutiger Next Pro Light" panose="020B0303040204020203" pitchFamily="34" charset="0"/>
                  <a:cs typeface="Open Sans" panose="020B0606030504020204" pitchFamily="34" charset="0"/>
                </a:rPr>
                <a:t>Christian Eissner</a:t>
              </a:r>
            </a:p>
            <a:p>
              <a:pPr marL="0" lvl="1" defTabSz="7239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Partner</a:t>
              </a:r>
              <a:br>
                <a:rPr lang="en-US" sz="1000" dirty="0">
                  <a:solidFill>
                    <a:schemeClr val="bg1"/>
                  </a:solidFill>
                  <a:latin typeface="Frutiger Next Pro Light" panose="020B0303040204020203" pitchFamily="34" charset="0"/>
                  <a:cs typeface="Open Sans" panose="020B0606030504020204" pitchFamily="34" charset="0"/>
                </a:rPr>
              </a:br>
              <a:r>
                <a:rPr lang="en-US" sz="1000" dirty="0">
                  <a:solidFill>
                    <a:schemeClr val="bg1"/>
                  </a:solidFill>
                  <a:latin typeface="Frutiger Next Pro Light" panose="020B0303040204020203" pitchFamily="34" charset="0"/>
                  <a:cs typeface="Open Sans" panose="020B0606030504020204" pitchFamily="34" charset="0"/>
                </a:rPr>
                <a:t>Customer, Channel &amp; Digital</a:t>
              </a:r>
            </a:p>
          </p:txBody>
        </p:sp>
      </p:grpSp>
      <p:sp>
        <p:nvSpPr>
          <p:cNvPr id="25" name="TextBox 24"/>
          <p:cNvSpPr txBox="1"/>
          <p:nvPr userDrawn="1"/>
        </p:nvSpPr>
        <p:spPr>
          <a:xfrm>
            <a:off x="663643" y="5067313"/>
            <a:ext cx="2722449" cy="1169894"/>
          </a:xfrm>
          <a:prstGeom prst="rect">
            <a:avLst/>
          </a:prstGeom>
        </p:spPr>
        <p:txBody>
          <a:bodyPr vert="horz" wrap="square" lIns="91440" tIns="45720" rIns="91440" bIns="45720" rtlCol="0" anchor="ctr">
            <a:normAutofit/>
          </a:bodyPr>
          <a:lstStyle/>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Areas of expertise</a:t>
            </a:r>
            <a:endParaRPr lang="en-US" sz="1000" dirty="0">
              <a:solidFill>
                <a:schemeClr val="bg1"/>
              </a:solidFill>
              <a:latin typeface="Frutiger Next Pro Light" panose="020B0303040204020203" pitchFamily="34" charset="0"/>
              <a:cs typeface="Open Sans" panose="020B0606030504020204" pitchFamily="34" charset="0"/>
            </a:endParaRP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Acceleration &amp; Entrepreneurship</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Digital Transformation</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Startup Incubation</a:t>
            </a:r>
          </a:p>
        </p:txBody>
      </p:sp>
      <p:sp>
        <p:nvSpPr>
          <p:cNvPr id="26" name="TextBox 25"/>
          <p:cNvSpPr txBox="1"/>
          <p:nvPr userDrawn="1"/>
        </p:nvSpPr>
        <p:spPr>
          <a:xfrm>
            <a:off x="3994256" y="5067313"/>
            <a:ext cx="2722449" cy="1169894"/>
          </a:xfrm>
          <a:prstGeom prst="rect">
            <a:avLst/>
          </a:prstGeom>
        </p:spPr>
        <p:txBody>
          <a:bodyPr vert="horz" wrap="square" lIns="91440" tIns="45720" rIns="91440" bIns="45720" rtlCol="0" anchor="ctr">
            <a:normAutofit/>
          </a:bodyPr>
          <a:lstStyle/>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Areas of expertise</a:t>
            </a:r>
            <a:endParaRPr lang="en-US" sz="1000" dirty="0">
              <a:solidFill>
                <a:schemeClr val="bg1"/>
              </a:solidFill>
              <a:latin typeface="Frutiger Next Pro Light" panose="020B0303040204020203" pitchFamily="34" charset="0"/>
              <a:cs typeface="Open Sans" panose="020B0606030504020204" pitchFamily="34" charset="0"/>
            </a:endParaRP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Business &amp; Digital Transformation</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Global Marketing &amp; Sales</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Venture Capital &amp; Startups</a:t>
            </a:r>
          </a:p>
        </p:txBody>
      </p:sp>
      <p:sp>
        <p:nvSpPr>
          <p:cNvPr id="27" name="TextBox 26"/>
          <p:cNvSpPr txBox="1"/>
          <p:nvPr userDrawn="1"/>
        </p:nvSpPr>
        <p:spPr>
          <a:xfrm>
            <a:off x="7415978" y="5067313"/>
            <a:ext cx="2722449" cy="1169894"/>
          </a:xfrm>
          <a:prstGeom prst="rect">
            <a:avLst/>
          </a:prstGeom>
        </p:spPr>
        <p:txBody>
          <a:bodyPr vert="horz" wrap="square" lIns="91440" tIns="45720" rIns="91440" bIns="45720" rtlCol="0" anchor="ctr">
            <a:normAutofit/>
          </a:bodyPr>
          <a:lstStyle/>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Areas of expertise</a:t>
            </a:r>
            <a:endParaRPr lang="en-US" sz="1000" dirty="0">
              <a:solidFill>
                <a:schemeClr val="bg1"/>
              </a:solidFill>
              <a:latin typeface="Frutiger Next Pro Light" panose="020B0303040204020203" pitchFamily="34" charset="0"/>
              <a:cs typeface="Open Sans" panose="020B0606030504020204" pitchFamily="34" charset="0"/>
            </a:endParaRP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CRM Implementation</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Salesforce.com</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Digital Marketing</a:t>
            </a:r>
          </a:p>
        </p:txBody>
      </p:sp>
    </p:spTree>
    <p:extLst>
      <p:ext uri="{BB962C8B-B14F-4D97-AF65-F5344CB8AC3E}">
        <p14:creationId xmlns:p14="http://schemas.microsoft.com/office/powerpoint/2010/main" val="1589082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0367862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7349"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hasCustomPrompt="1"/>
          </p:nvPr>
        </p:nvSpPr>
        <p:spPr>
          <a:xfrm>
            <a:off x="553847" y="540000"/>
            <a:ext cx="11078308" cy="468000"/>
          </a:xfrm>
        </p:spPr>
        <p:txBody>
          <a:bodyPr/>
          <a:lstStyle>
            <a:lvl1pPr>
              <a:defRPr>
                <a:solidFill>
                  <a:srgbClr val="FFFFFF"/>
                </a:solidFill>
              </a:defRPr>
            </a:lvl1pPr>
          </a:lstStyle>
          <a:p>
            <a:r>
              <a:rPr lang="en-US" dirty="0"/>
              <a:t>Structural Title...</a:t>
            </a:r>
          </a:p>
        </p:txBody>
      </p:sp>
      <p:sp>
        <p:nvSpPr>
          <p:cNvPr id="3" name="Text Placeholder 5"/>
          <p:cNvSpPr>
            <a:spLocks noGrp="1"/>
          </p:cNvSpPr>
          <p:nvPr>
            <p:ph type="body" sz="quarter" idx="13"/>
          </p:nvPr>
        </p:nvSpPr>
        <p:spPr>
          <a:xfrm>
            <a:off x="553846" y="1008000"/>
            <a:ext cx="11078306" cy="720000"/>
          </a:xfrm>
        </p:spPr>
        <p:txBody>
          <a:bodyPr tIns="108000">
            <a:noAutofit/>
          </a:bodyPr>
          <a:lstStyle>
            <a:lvl1pPr marL="0" indent="0">
              <a:buNone/>
              <a:defRPr sz="1600" baseline="0">
                <a:solidFill>
                  <a:schemeClr val="accent5"/>
                </a:solidFill>
              </a:defRPr>
            </a:lvl1pPr>
          </a:lstStyle>
          <a:p>
            <a:pPr lvl="0"/>
            <a:r>
              <a:rPr lang="en-US" dirty="0"/>
              <a:t>Click to edit Master text styles</a:t>
            </a:r>
          </a:p>
        </p:txBody>
      </p:sp>
      <p:sp>
        <p:nvSpPr>
          <p:cNvPr id="15" name="Footer Placeholder 4"/>
          <p:cNvSpPr>
            <a:spLocks noGrp="1"/>
          </p:cNvSpPr>
          <p:nvPr>
            <p:ph type="ftr" sz="quarter" idx="3"/>
          </p:nvPr>
        </p:nvSpPr>
        <p:spPr>
          <a:xfrm>
            <a:off x="6096004" y="6578600"/>
            <a:ext cx="5541103" cy="180000"/>
          </a:xfrm>
          <a:prstGeom prst="rect">
            <a:avLst/>
          </a:prstGeom>
        </p:spPr>
        <p:txBody>
          <a:bodyPr vert="horz" lIns="91440" tIns="45720" rIns="91440" bIns="45720" rtlCol="0" anchor="ctr"/>
          <a:lstStyle>
            <a:lvl1pPr algn="r">
              <a:defRPr sz="800" b="0">
                <a:solidFill>
                  <a:schemeClr val="bg1">
                    <a:lumMod val="85000"/>
                  </a:schemeClr>
                </a:solidFill>
                <a:latin typeface="+mn-lt"/>
              </a:defRPr>
            </a:lvl1pPr>
          </a:lstStyle>
          <a:p>
            <a:r>
              <a:rPr lang="en-US" dirty="0"/>
              <a:t>Deloitte Digital Germany Template A4 | 05/2015</a:t>
            </a:r>
          </a:p>
        </p:txBody>
      </p:sp>
      <p:sp>
        <p:nvSpPr>
          <p:cNvPr id="16" name="TextBox 15"/>
          <p:cNvSpPr txBox="1"/>
          <p:nvPr userDrawn="1"/>
        </p:nvSpPr>
        <p:spPr>
          <a:xfrm>
            <a:off x="561365" y="312912"/>
            <a:ext cx="816496" cy="230832"/>
          </a:xfrm>
          <a:prstGeom prst="rect">
            <a:avLst/>
          </a:prstGeom>
          <a:noFill/>
        </p:spPr>
        <p:txBody>
          <a:bodyPr wrap="none" lIns="36000" tIns="45720" rIns="36000" bIns="4572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solidFill>
                  <a:schemeClr val="bg1">
                    <a:lumMod val="85000"/>
                  </a:schemeClr>
                </a:solidFill>
                <a:latin typeface="+mj-lt"/>
                <a:cs typeface="Open Sans" panose="020B0606030504020204" pitchFamily="34" charset="0"/>
              </a:rPr>
              <a:t>Deloitte Digital</a:t>
            </a:r>
          </a:p>
        </p:txBody>
      </p:sp>
      <p:sp>
        <p:nvSpPr>
          <p:cNvPr id="17" name="TextBox 16"/>
          <p:cNvSpPr txBox="1"/>
          <p:nvPr userDrawn="1"/>
        </p:nvSpPr>
        <p:spPr>
          <a:xfrm>
            <a:off x="11304511" y="312912"/>
            <a:ext cx="325730" cy="230832"/>
          </a:xfrm>
          <a:prstGeom prst="rect">
            <a:avLst/>
          </a:prstGeom>
          <a:noFill/>
        </p:spPr>
        <p:txBody>
          <a:bodyPr wrap="none" lIns="91440" tIns="45720" rIns="91440" bIns="45720" rtlCol="0">
            <a:spAutoFit/>
          </a:bodyPr>
          <a:lstStyle/>
          <a:p>
            <a:pPr algn="r"/>
            <a:fld id="{B10D5614-B734-4280-8F57-1D4947433C97}" type="slidenum">
              <a:rPr lang="en-US" sz="900" smtClean="0">
                <a:solidFill>
                  <a:schemeClr val="bg1">
                    <a:lumMod val="85000"/>
                  </a:schemeClr>
                </a:solidFill>
                <a:latin typeface="+mn-lt"/>
                <a:cs typeface="Open Sans" panose="020B0606030504020204" pitchFamily="34" charset="0"/>
              </a:rPr>
              <a:pPr algn="r"/>
              <a:t>‹#›</a:t>
            </a:fld>
            <a:endParaRPr lang="en-US" sz="900" dirty="0">
              <a:solidFill>
                <a:schemeClr val="bg1">
                  <a:lumMod val="85000"/>
                </a:schemeClr>
              </a:solidFill>
              <a:latin typeface="+mn-lt"/>
              <a:cs typeface="Open Sans" panose="020B0606030504020204" pitchFamily="34" charset="0"/>
            </a:endParaRPr>
          </a:p>
        </p:txBody>
      </p:sp>
      <p:cxnSp>
        <p:nvCxnSpPr>
          <p:cNvPr id="20" name="Straight Connector 19"/>
          <p:cNvCxnSpPr/>
          <p:nvPr userDrawn="1"/>
        </p:nvCxnSpPr>
        <p:spPr>
          <a:xfrm flipH="1">
            <a:off x="553846" y="540000"/>
            <a:ext cx="11078306" cy="0"/>
          </a:xfrm>
          <a:prstGeom prst="line">
            <a:avLst/>
          </a:prstGeom>
          <a:ln w="3175"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nvGrpSpPr>
          <p:cNvPr id="9" name="Group 8"/>
          <p:cNvGrpSpPr/>
          <p:nvPr userDrawn="1"/>
        </p:nvGrpSpPr>
        <p:grpSpPr>
          <a:xfrm>
            <a:off x="617234" y="1737207"/>
            <a:ext cx="3377023" cy="4500000"/>
            <a:chOff x="501502" y="1737207"/>
            <a:chExt cx="2743831" cy="4500000"/>
          </a:xfrm>
        </p:grpSpPr>
        <p:sp>
          <p:nvSpPr>
            <p:cNvPr id="10" name="Rectangle 7"/>
            <p:cNvSpPr>
              <a:spLocks noChangeArrowheads="1"/>
            </p:cNvSpPr>
            <p:nvPr/>
          </p:nvSpPr>
          <p:spPr bwMode="gray">
            <a:xfrm>
              <a:off x="501502" y="1737207"/>
              <a:ext cx="2743831" cy="4500000"/>
            </a:xfrm>
            <a:prstGeom prst="rect">
              <a:avLst/>
            </a:prstGeom>
            <a:noFill/>
            <a:ln w="6350" algn="ctr">
              <a:noFill/>
              <a:miter lim="800000"/>
              <a:headEnd/>
              <a:tailEnd/>
            </a:ln>
          </p:spPr>
          <p:txBody>
            <a:bodyPr lIns="72000" tIns="36000" rIns="0" bIns="36000"/>
            <a:lstStyle/>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defRPr/>
              </a:pPr>
              <a:r>
                <a:rPr lang="en-US" sz="1000" b="1" dirty="0">
                  <a:solidFill>
                    <a:schemeClr val="bg1"/>
                  </a:solidFill>
                  <a:latin typeface="Frutiger Next Pro Light" panose="020B0303040204020203" pitchFamily="34" charset="0"/>
                  <a:cs typeface="Open Sans" panose="020B0606030504020204" pitchFamily="34" charset="0"/>
                </a:rPr>
                <a:t>Summary of experience</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XXX</a:t>
              </a:r>
            </a:p>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
              </a:r>
              <a:br>
                <a:rPr lang="en-US" sz="1000" b="1" dirty="0">
                  <a:solidFill>
                    <a:schemeClr val="bg1"/>
                  </a:solidFill>
                  <a:latin typeface="Frutiger Next Pro Light" panose="020B0303040204020203" pitchFamily="34" charset="0"/>
                  <a:cs typeface="Open Sans" panose="020B0606030504020204" pitchFamily="34" charset="0"/>
                </a:rPr>
              </a:br>
              <a:endParaRPr lang="en-US" sz="1000" b="1" dirty="0">
                <a:solidFill>
                  <a:schemeClr val="bg1"/>
                </a:solidFill>
                <a:latin typeface="Frutiger Next Pro Light" panose="020B0303040204020203" pitchFamily="34" charset="0"/>
                <a:cs typeface="Open Sans" panose="020B0606030504020204" pitchFamily="34" charset="0"/>
              </a:endParaRPr>
            </a:p>
          </p:txBody>
        </p:sp>
        <p:pic>
          <p:nvPicPr>
            <p:cNvPr id="11" name="Picture 335" descr="C:\Users\jgropp\AppData\Local\Temp\LCFEM\{A22255FD-FE21-4F2F-9EF9-9F62C481CFF8}\Andy Goldstein 1.jpg"/>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539210" y="1910313"/>
              <a:ext cx="987931" cy="996645"/>
            </a:xfrm>
            <a:custGeom>
              <a:avLst/>
              <a:gdLst/>
              <a:ahLst/>
              <a:cxnLst/>
              <a:rect l="l" t="t" r="r" b="b"/>
              <a:pathLst>
                <a:path w="1197180" h="1197180">
                  <a:moveTo>
                    <a:pt x="598590" y="0"/>
                  </a:moveTo>
                  <a:cubicBezTo>
                    <a:pt x="929182" y="0"/>
                    <a:pt x="1197180" y="267998"/>
                    <a:pt x="1197180" y="598590"/>
                  </a:cubicBezTo>
                  <a:cubicBezTo>
                    <a:pt x="1197180" y="929182"/>
                    <a:pt x="929182" y="1197180"/>
                    <a:pt x="598590" y="1197180"/>
                  </a:cubicBezTo>
                  <a:cubicBezTo>
                    <a:pt x="267998" y="1197180"/>
                    <a:pt x="0" y="929182"/>
                    <a:pt x="0" y="598590"/>
                  </a:cubicBezTo>
                  <a:cubicBezTo>
                    <a:pt x="0" y="267998"/>
                    <a:pt x="267998" y="0"/>
                    <a:pt x="598590" y="0"/>
                  </a:cubicBezTo>
                  <a:close/>
                </a:path>
              </a:pathLst>
            </a:custGeom>
            <a:ln w="28575">
              <a:solidFill>
                <a:schemeClr val="accent5"/>
              </a:solidFill>
            </a:ln>
            <a:extLst>
              <a:ext uri="{909E8E84-426E-40DD-AFC4-6F175D3DCCD1}">
                <a14:hiddenFill xmlns:a14="http://schemas.microsoft.com/office/drawing/2010/main">
                  <a:solidFill>
                    <a:srgbClr val="FFFFFF"/>
                  </a:solidFill>
                </a14:hiddenFill>
              </a:ext>
            </a:extLst>
          </p:spPr>
        </p:pic>
        <p:sp>
          <p:nvSpPr>
            <p:cNvPr id="12" name="Rectangle 11"/>
            <p:cNvSpPr/>
            <p:nvPr/>
          </p:nvSpPr>
          <p:spPr>
            <a:xfrm>
              <a:off x="1574356" y="1989589"/>
              <a:ext cx="1503575" cy="586443"/>
            </a:xfrm>
            <a:prstGeom prst="rect">
              <a:avLst/>
            </a:prstGeom>
          </p:spPr>
          <p:txBody>
            <a:bodyPr wrap="square">
              <a:spAutoFit/>
            </a:bodyPr>
            <a:lstStyle/>
            <a:p>
              <a:pPr marL="0" lvl="1" defTabSz="723900" eaLnBrk="0" hangingPunct="0">
                <a:lnSpc>
                  <a:spcPct val="90000"/>
                </a:lnSpc>
                <a:spcBef>
                  <a:spcPts val="600"/>
                </a:spcBef>
                <a:defRPr/>
              </a:pPr>
              <a:r>
                <a:rPr lang="en-US" sz="1000" b="1" dirty="0">
                  <a:solidFill>
                    <a:srgbClr val="92D400"/>
                  </a:solidFill>
                  <a:latin typeface="Frutiger Next Pro Light" panose="020B0303040204020203" pitchFamily="34" charset="0"/>
                  <a:cs typeface="Open Sans" panose="020B0606030504020204" pitchFamily="34" charset="0"/>
                </a:rPr>
                <a:t>Max Mustermann</a:t>
              </a:r>
            </a:p>
            <a:p>
              <a:pPr marL="0" lvl="1" defTabSz="7239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Consultant</a:t>
              </a:r>
              <a:br>
                <a:rPr lang="en-US" sz="1000" dirty="0">
                  <a:solidFill>
                    <a:schemeClr val="bg1"/>
                  </a:solidFill>
                  <a:latin typeface="Frutiger Next Pro Light" panose="020B0303040204020203" pitchFamily="34" charset="0"/>
                  <a:cs typeface="Open Sans" panose="020B0606030504020204" pitchFamily="34" charset="0"/>
                </a:rPr>
              </a:br>
              <a:r>
                <a:rPr lang="en-US" sz="1000" dirty="0">
                  <a:solidFill>
                    <a:schemeClr val="bg1"/>
                  </a:solidFill>
                  <a:latin typeface="Frutiger Next Pro Light" panose="020B0303040204020203" pitchFamily="34" charset="0"/>
                  <a:cs typeface="Open Sans" panose="020B0606030504020204" pitchFamily="34" charset="0"/>
                </a:rPr>
                <a:t>Deloitte Digital GmbH</a:t>
              </a:r>
            </a:p>
          </p:txBody>
        </p:sp>
      </p:grpSp>
      <p:grpSp>
        <p:nvGrpSpPr>
          <p:cNvPr id="13" name="Group 12"/>
          <p:cNvGrpSpPr/>
          <p:nvPr userDrawn="1"/>
        </p:nvGrpSpPr>
        <p:grpSpPr>
          <a:xfrm>
            <a:off x="4002282" y="1737207"/>
            <a:ext cx="3312852" cy="4500000"/>
            <a:chOff x="3245334" y="1737207"/>
            <a:chExt cx="2691692" cy="4500000"/>
          </a:xfrm>
        </p:grpSpPr>
        <p:sp>
          <p:nvSpPr>
            <p:cNvPr id="14" name="Rectangle 7"/>
            <p:cNvSpPr>
              <a:spLocks noChangeArrowheads="1"/>
            </p:cNvSpPr>
            <p:nvPr/>
          </p:nvSpPr>
          <p:spPr bwMode="gray">
            <a:xfrm>
              <a:off x="3245334" y="1737207"/>
              <a:ext cx="2691692" cy="4500000"/>
            </a:xfrm>
            <a:prstGeom prst="rect">
              <a:avLst/>
            </a:prstGeom>
            <a:noFill/>
            <a:ln w="6350" algn="ctr">
              <a:noFill/>
              <a:miter lim="800000"/>
              <a:headEnd/>
              <a:tailEnd/>
            </a:ln>
          </p:spPr>
          <p:txBody>
            <a:bodyPr lIns="72000" tIns="36000" rIns="72000" bIns="36000"/>
            <a:lstStyle/>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tabLst>
                  <a:tab pos="812800" algn="l"/>
                </a:tabLst>
                <a:defRPr/>
              </a:pPr>
              <a:r>
                <a:rPr lang="en-US" sz="1000" dirty="0">
                  <a:solidFill>
                    <a:schemeClr val="bg1"/>
                  </a:solidFill>
                  <a:latin typeface="Frutiger Next Pro Light" panose="020B0303040204020203" pitchFamily="34" charset="0"/>
                  <a:cs typeface="Open Sans" panose="020B0606030504020204" pitchFamily="34" charset="0"/>
                </a:rPr>
                <a:t>	</a:t>
              </a:r>
              <a:endParaRPr lang="en-US" sz="1000" b="1"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	</a:t>
              </a: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defRPr/>
              </a:pPr>
              <a:r>
                <a:rPr lang="en-US" sz="1000" b="1" dirty="0">
                  <a:solidFill>
                    <a:schemeClr val="bg1"/>
                  </a:solidFill>
                  <a:latin typeface="Frutiger Next Pro Light" panose="020B0303040204020203" pitchFamily="34" charset="0"/>
                  <a:cs typeface="Open Sans" panose="020B0606030504020204" pitchFamily="34" charset="0"/>
                </a:rPr>
                <a:t>Summary of experience</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XXX</a:t>
              </a:r>
            </a:p>
            <a:p>
              <a:pPr marL="0" lvl="1" eaLnBrk="0" hangingPunct="0">
                <a:lnSpc>
                  <a:spcPct val="90000"/>
                </a:lnSpc>
                <a:spcBef>
                  <a:spcPts val="600"/>
                </a:spcBef>
                <a:buSzPct val="100000"/>
                <a:defRPr/>
              </a:pPr>
              <a:endParaRPr lang="en-US" sz="600" b="1" dirty="0">
                <a:solidFill>
                  <a:schemeClr val="bg1"/>
                </a:solidFill>
                <a:latin typeface="Frutiger Next Pro Light" panose="020B0303040204020203" pitchFamily="34" charset="0"/>
                <a:cs typeface="Arial" pitchFamily="34" charset="0"/>
              </a:endParaRPr>
            </a:p>
          </p:txBody>
        </p:sp>
        <p:pic>
          <p:nvPicPr>
            <p:cNvPr id="18" name="Picture 333" descr="C:\Users\jgropp\AppData\Local\Temp\LCFEM\{4ED2DACD-DBD0-4333-96A0-E2F0DBCD1550}\Andreas Harting.jp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brightnessContrast bright="14000"/>
                      </a14:imgEffect>
                    </a14:imgLayer>
                  </a14:imgProps>
                </a:ext>
                <a:ext uri="{28A0092B-C50C-407E-A947-70E740481C1C}">
                  <a14:useLocalDpi xmlns:a14="http://schemas.microsoft.com/office/drawing/2010/main"/>
                </a:ext>
              </a:extLst>
            </a:blip>
            <a:srcRect/>
            <a:stretch/>
          </p:blipFill>
          <p:spPr bwMode="auto">
            <a:xfrm>
              <a:off x="3345591" y="1910313"/>
              <a:ext cx="987425" cy="996950"/>
            </a:xfrm>
            <a:custGeom>
              <a:avLst/>
              <a:gdLst/>
              <a:ahLst/>
              <a:cxnLst/>
              <a:rect l="l" t="t" r="r" b="b"/>
              <a:pathLst>
                <a:path w="1197180" h="1197180">
                  <a:moveTo>
                    <a:pt x="598590" y="0"/>
                  </a:moveTo>
                  <a:cubicBezTo>
                    <a:pt x="929182" y="0"/>
                    <a:pt x="1197180" y="267998"/>
                    <a:pt x="1197180" y="598590"/>
                  </a:cubicBezTo>
                  <a:cubicBezTo>
                    <a:pt x="1197180" y="929182"/>
                    <a:pt x="929182" y="1197180"/>
                    <a:pt x="598590" y="1197180"/>
                  </a:cubicBezTo>
                  <a:cubicBezTo>
                    <a:pt x="267998" y="1197180"/>
                    <a:pt x="0" y="929182"/>
                    <a:pt x="0" y="598590"/>
                  </a:cubicBezTo>
                  <a:cubicBezTo>
                    <a:pt x="0" y="267998"/>
                    <a:pt x="267998" y="0"/>
                    <a:pt x="598590" y="0"/>
                  </a:cubicBezTo>
                  <a:close/>
                </a:path>
              </a:pathLst>
            </a:custGeom>
            <a:ln w="28575">
              <a:solidFill>
                <a:schemeClr val="accent5"/>
              </a:solidFill>
            </a:ln>
            <a:extLst>
              <a:ext uri="{909E8E84-426E-40DD-AFC4-6F175D3DCCD1}">
                <a14:hiddenFill xmlns:a14="http://schemas.microsoft.com/office/drawing/2010/main">
                  <a:solidFill>
                    <a:srgbClr val="FFFFFF"/>
                  </a:solidFill>
                </a14:hiddenFill>
              </a:ext>
            </a:extLst>
          </p:spPr>
        </p:pic>
        <p:sp>
          <p:nvSpPr>
            <p:cNvPr id="19" name="Rectangle 18"/>
            <p:cNvSpPr/>
            <p:nvPr/>
          </p:nvSpPr>
          <p:spPr>
            <a:xfrm>
              <a:off x="4374119" y="1989589"/>
              <a:ext cx="1503575" cy="586443"/>
            </a:xfrm>
            <a:prstGeom prst="rect">
              <a:avLst/>
            </a:prstGeom>
          </p:spPr>
          <p:txBody>
            <a:bodyPr wrap="square">
              <a:spAutoFit/>
            </a:bodyPr>
            <a:lstStyle/>
            <a:p>
              <a:pPr marL="0" lvl="1" defTabSz="723900" eaLnBrk="0" hangingPunct="0">
                <a:lnSpc>
                  <a:spcPct val="90000"/>
                </a:lnSpc>
                <a:spcBef>
                  <a:spcPts val="600"/>
                </a:spcBef>
                <a:defRPr/>
              </a:pPr>
              <a:r>
                <a:rPr lang="en-US" sz="1000" b="1" dirty="0">
                  <a:solidFill>
                    <a:srgbClr val="92D400"/>
                  </a:solidFill>
                  <a:latin typeface="Frutiger Next Pro Light" panose="020B0303040204020203" pitchFamily="34" charset="0"/>
                  <a:cs typeface="Open Sans" panose="020B0606030504020204" pitchFamily="34" charset="0"/>
                </a:rPr>
                <a:t>Max Mustermann</a:t>
              </a:r>
            </a:p>
            <a:p>
              <a:pPr marL="0" lvl="1" defTabSz="7239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Consultant</a:t>
              </a:r>
              <a:br>
                <a:rPr lang="en-US" sz="1000" dirty="0">
                  <a:solidFill>
                    <a:schemeClr val="bg1"/>
                  </a:solidFill>
                  <a:latin typeface="Frutiger Next Pro Light" panose="020B0303040204020203" pitchFamily="34" charset="0"/>
                  <a:cs typeface="Open Sans" panose="020B0606030504020204" pitchFamily="34" charset="0"/>
                </a:rPr>
              </a:br>
              <a:r>
                <a:rPr lang="en-US" sz="1000" dirty="0">
                  <a:solidFill>
                    <a:schemeClr val="bg1"/>
                  </a:solidFill>
                  <a:latin typeface="Frutiger Next Pro Light" panose="020B0303040204020203" pitchFamily="34" charset="0"/>
                  <a:cs typeface="Open Sans" panose="020B0606030504020204" pitchFamily="34" charset="0"/>
                </a:rPr>
                <a:t>Deloitte Digital GmbH</a:t>
              </a:r>
            </a:p>
          </p:txBody>
        </p:sp>
      </p:grpSp>
      <p:grpSp>
        <p:nvGrpSpPr>
          <p:cNvPr id="21" name="Group 20"/>
          <p:cNvGrpSpPr/>
          <p:nvPr userDrawn="1"/>
        </p:nvGrpSpPr>
        <p:grpSpPr>
          <a:xfrm>
            <a:off x="7415978" y="1737207"/>
            <a:ext cx="3312852" cy="4500000"/>
            <a:chOff x="6063190" y="1737207"/>
            <a:chExt cx="2691692" cy="4500000"/>
          </a:xfrm>
        </p:grpSpPr>
        <p:sp>
          <p:nvSpPr>
            <p:cNvPr id="22" name="Rectangle 7"/>
            <p:cNvSpPr>
              <a:spLocks noChangeArrowheads="1"/>
            </p:cNvSpPr>
            <p:nvPr/>
          </p:nvSpPr>
          <p:spPr bwMode="gray">
            <a:xfrm>
              <a:off x="6063190" y="1737207"/>
              <a:ext cx="2691692" cy="4500000"/>
            </a:xfrm>
            <a:prstGeom prst="rect">
              <a:avLst/>
            </a:prstGeom>
            <a:noFill/>
            <a:ln w="6350" algn="ctr">
              <a:noFill/>
              <a:miter lim="800000"/>
              <a:headEnd/>
              <a:tailEnd/>
            </a:ln>
          </p:spPr>
          <p:txBody>
            <a:bodyPr lIns="72000" tIns="36000" rIns="0" bIns="36000"/>
            <a:lstStyle/>
            <a:p>
              <a:pPr marL="0" lvl="1" eaLnBrk="0" hangingPunct="0">
                <a:lnSpc>
                  <a:spcPct val="90000"/>
                </a:lnSpc>
                <a:spcBef>
                  <a:spcPts val="600"/>
                </a:spcBef>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	</a:t>
              </a:r>
              <a:r>
                <a:rPr lang="en-US" sz="1000" b="1" dirty="0">
                  <a:solidFill>
                    <a:schemeClr val="bg1"/>
                  </a:solidFill>
                  <a:latin typeface="Frutiger Next Pro Light" panose="020B0303040204020203" pitchFamily="34" charset="0"/>
                  <a:cs typeface="Open Sans" panose="020B0606030504020204" pitchFamily="34" charset="0"/>
                </a:rPr>
                <a:t> </a:t>
              </a:r>
            </a:p>
            <a:p>
              <a:pPr marL="0" lvl="1" defTabSz="812800" eaLnBrk="0" hangingPunct="0">
                <a:lnSpc>
                  <a:spcPct val="90000"/>
                </a:lnSpc>
                <a:spcBef>
                  <a:spcPts val="600"/>
                </a:spcBef>
                <a:defRPr/>
              </a:pPr>
              <a:endParaRPr lang="en-US" sz="1000" b="1"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endParaRPr lang="en-US" sz="1000" b="1"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endParaRPr lang="en-US" sz="1000" b="1" dirty="0">
                <a:solidFill>
                  <a:schemeClr val="bg1"/>
                </a:solidFill>
                <a:latin typeface="Frutiger Next Pro Light" panose="020B0303040204020203" pitchFamily="34" charset="0"/>
                <a:cs typeface="Open Sans" panose="020B0606030504020204" pitchFamily="34" charset="0"/>
              </a:endParaRPr>
            </a:p>
            <a:p>
              <a:pPr marL="0" lvl="1" defTabSz="812800" eaLnBrk="0" hangingPunct="0">
                <a:lnSpc>
                  <a:spcPct val="90000"/>
                </a:lnSpc>
                <a:spcBef>
                  <a:spcPts val="600"/>
                </a:spcBef>
                <a:defRPr/>
              </a:pPr>
              <a:endParaRPr lang="en-US" sz="16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defRPr/>
              </a:pPr>
              <a:endParaRPr lang="en-US" sz="1000"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defRPr/>
              </a:pPr>
              <a:r>
                <a:rPr lang="en-US" sz="1000" b="1" dirty="0">
                  <a:solidFill>
                    <a:schemeClr val="bg1"/>
                  </a:solidFill>
                  <a:latin typeface="Frutiger Next Pro Light" panose="020B0303040204020203" pitchFamily="34" charset="0"/>
                  <a:cs typeface="Open Sans" panose="020B0606030504020204" pitchFamily="34" charset="0"/>
                </a:rPr>
                <a:t>Summary of experience</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Open Sans" panose="020B0606030504020204" pitchFamily="34" charset="0"/>
                </a:rPr>
                <a:t>XXX</a:t>
              </a:r>
            </a:p>
            <a:p>
              <a:pPr marL="81010" lvl="1" indent="-81010" eaLnBrk="0" hangingPunct="0">
                <a:lnSpc>
                  <a:spcPct val="90000"/>
                </a:lnSpc>
                <a:spcBef>
                  <a:spcPts val="600"/>
                </a:spcBef>
                <a:buSzPct val="100000"/>
                <a:buFont typeface="Arial"/>
                <a:buChar char="•"/>
                <a:defRPr/>
              </a:pPr>
              <a:endParaRPr lang="en-US" sz="1000" b="1" dirty="0">
                <a:solidFill>
                  <a:schemeClr val="bg1"/>
                </a:solidFill>
                <a:latin typeface="Frutiger Next Pro Light" panose="020B0303040204020203" pitchFamily="34" charset="0"/>
                <a:cs typeface="Open Sans" panose="020B0606030504020204" pitchFamily="34" charset="0"/>
              </a:endParaRPr>
            </a:p>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
              </a:r>
              <a:br>
                <a:rPr lang="en-US" sz="1000" b="1" dirty="0">
                  <a:solidFill>
                    <a:schemeClr val="bg1"/>
                  </a:solidFill>
                  <a:latin typeface="Frutiger Next Pro Light" panose="020B0303040204020203" pitchFamily="34" charset="0"/>
                  <a:cs typeface="Open Sans" panose="020B0606030504020204" pitchFamily="34" charset="0"/>
                </a:rPr>
              </a:br>
              <a:r>
                <a:rPr lang="en-US" sz="1000" b="1" dirty="0">
                  <a:solidFill>
                    <a:schemeClr val="bg1"/>
                  </a:solidFill>
                  <a:latin typeface="Frutiger Next Pro Light" panose="020B0303040204020203" pitchFamily="34" charset="0"/>
                  <a:cs typeface="Open Sans" panose="020B0606030504020204" pitchFamily="34" charset="0"/>
                </a:rPr>
                <a:t/>
              </a:r>
              <a:br>
                <a:rPr lang="en-US" sz="1000" b="1" dirty="0">
                  <a:solidFill>
                    <a:schemeClr val="bg1"/>
                  </a:solidFill>
                  <a:latin typeface="Frutiger Next Pro Light" panose="020B0303040204020203" pitchFamily="34" charset="0"/>
                  <a:cs typeface="Open Sans" panose="020B0606030504020204" pitchFamily="34" charset="0"/>
                </a:rPr>
              </a:br>
              <a:endParaRPr lang="en-US" sz="1000" dirty="0">
                <a:solidFill>
                  <a:schemeClr val="bg1"/>
                </a:solidFill>
                <a:latin typeface="Frutiger Next Pro Light" panose="020B0303040204020203" pitchFamily="34" charset="0"/>
                <a:cs typeface="Open Sans" panose="020B0606030504020204" pitchFamily="34" charset="0"/>
              </a:endParaRPr>
            </a:p>
          </p:txBody>
        </p:sp>
        <p:pic>
          <p:nvPicPr>
            <p:cNvPr id="23" name="Picture 334"/>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6070296" y="1910313"/>
              <a:ext cx="973213" cy="996950"/>
            </a:xfrm>
            <a:custGeom>
              <a:avLst/>
              <a:gdLst/>
              <a:ahLst/>
              <a:cxnLst/>
              <a:rect l="l" t="t" r="r" b="b"/>
              <a:pathLst>
                <a:path w="1197180" h="1197180">
                  <a:moveTo>
                    <a:pt x="598590" y="0"/>
                  </a:moveTo>
                  <a:cubicBezTo>
                    <a:pt x="929182" y="0"/>
                    <a:pt x="1197180" y="267998"/>
                    <a:pt x="1197180" y="598590"/>
                  </a:cubicBezTo>
                  <a:cubicBezTo>
                    <a:pt x="1197180" y="929182"/>
                    <a:pt x="929182" y="1197180"/>
                    <a:pt x="598590" y="1197180"/>
                  </a:cubicBezTo>
                  <a:cubicBezTo>
                    <a:pt x="267998" y="1197180"/>
                    <a:pt x="0" y="929182"/>
                    <a:pt x="0" y="598590"/>
                  </a:cubicBezTo>
                  <a:cubicBezTo>
                    <a:pt x="0" y="267998"/>
                    <a:pt x="267998" y="0"/>
                    <a:pt x="598590" y="0"/>
                  </a:cubicBezTo>
                  <a:close/>
                </a:path>
              </a:pathLst>
            </a:custGeom>
            <a:ln w="28575">
              <a:solidFill>
                <a:schemeClr val="accent5"/>
              </a:solidFill>
            </a:ln>
            <a:extLst>
              <a:ext uri="{909E8E84-426E-40DD-AFC4-6F175D3DCCD1}">
                <a14:hiddenFill xmlns:a14="http://schemas.microsoft.com/office/drawing/2010/main">
                  <a:solidFill>
                    <a:srgbClr val="FFFFFF"/>
                  </a:solidFill>
                </a14:hiddenFill>
              </a:ext>
            </a:extLst>
          </p:spPr>
        </p:pic>
        <p:sp>
          <p:nvSpPr>
            <p:cNvPr id="24" name="Rectangle 23"/>
            <p:cNvSpPr/>
            <p:nvPr/>
          </p:nvSpPr>
          <p:spPr>
            <a:xfrm>
              <a:off x="7098382" y="1989589"/>
              <a:ext cx="1503575" cy="584775"/>
            </a:xfrm>
            <a:prstGeom prst="rect">
              <a:avLst/>
            </a:prstGeom>
          </p:spPr>
          <p:txBody>
            <a:bodyPr wrap="square">
              <a:spAutoFit/>
            </a:bodyPr>
            <a:lstStyle/>
            <a:p>
              <a:pPr marL="0" lvl="1" defTabSz="723900" eaLnBrk="0" hangingPunct="0">
                <a:lnSpc>
                  <a:spcPct val="90000"/>
                </a:lnSpc>
                <a:spcBef>
                  <a:spcPts val="600"/>
                </a:spcBef>
                <a:defRPr/>
              </a:pPr>
              <a:r>
                <a:rPr lang="en-US" sz="1000" b="1" dirty="0">
                  <a:solidFill>
                    <a:srgbClr val="92D400"/>
                  </a:solidFill>
                  <a:latin typeface="Frutiger Next Pro Light" panose="020B0303040204020203" pitchFamily="34" charset="0"/>
                  <a:cs typeface="Open Sans" panose="020B0606030504020204" pitchFamily="34" charset="0"/>
                </a:rPr>
                <a:t>Max Mustermann</a:t>
              </a:r>
            </a:p>
            <a:p>
              <a:pPr marL="0" lvl="1" defTabSz="723900" eaLnBrk="0" hangingPunct="0">
                <a:lnSpc>
                  <a:spcPct val="90000"/>
                </a:lnSpc>
                <a:spcBef>
                  <a:spcPts val="600"/>
                </a:spcBef>
                <a:defRPr/>
              </a:pPr>
              <a:r>
                <a:rPr lang="en-US" sz="1000" dirty="0">
                  <a:solidFill>
                    <a:schemeClr val="bg1"/>
                  </a:solidFill>
                  <a:latin typeface="Frutiger Next Pro Light" panose="020B0303040204020203" pitchFamily="34" charset="0"/>
                  <a:cs typeface="Open Sans" panose="020B0606030504020204" pitchFamily="34" charset="0"/>
                </a:rPr>
                <a:t>Consultant</a:t>
              </a:r>
              <a:br>
                <a:rPr lang="en-US" sz="1000" dirty="0">
                  <a:solidFill>
                    <a:schemeClr val="bg1"/>
                  </a:solidFill>
                  <a:latin typeface="Frutiger Next Pro Light" panose="020B0303040204020203" pitchFamily="34" charset="0"/>
                  <a:cs typeface="Open Sans" panose="020B0606030504020204" pitchFamily="34" charset="0"/>
                </a:rPr>
              </a:br>
              <a:r>
                <a:rPr lang="en-US" sz="1000" dirty="0">
                  <a:solidFill>
                    <a:schemeClr val="bg1"/>
                  </a:solidFill>
                  <a:latin typeface="Frutiger Next Pro Light" panose="020B0303040204020203" pitchFamily="34" charset="0"/>
                  <a:cs typeface="Open Sans" panose="020B0606030504020204" pitchFamily="34" charset="0"/>
                </a:rPr>
                <a:t>Deloitte Digital GmbH</a:t>
              </a:r>
            </a:p>
          </p:txBody>
        </p:sp>
      </p:grpSp>
      <p:sp>
        <p:nvSpPr>
          <p:cNvPr id="25" name="TextBox 24"/>
          <p:cNvSpPr txBox="1"/>
          <p:nvPr userDrawn="1"/>
        </p:nvSpPr>
        <p:spPr>
          <a:xfrm>
            <a:off x="663643" y="5067313"/>
            <a:ext cx="2722449" cy="1169894"/>
          </a:xfrm>
          <a:prstGeom prst="rect">
            <a:avLst/>
          </a:prstGeom>
        </p:spPr>
        <p:txBody>
          <a:bodyPr vert="horz" wrap="square" lIns="91440" tIns="45720" rIns="91440" bIns="45720" rtlCol="0" anchor="ctr">
            <a:normAutofit/>
          </a:bodyPr>
          <a:lstStyle/>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Areas of expertise</a:t>
            </a:r>
            <a:endParaRPr lang="en-US" sz="1000" dirty="0">
              <a:solidFill>
                <a:schemeClr val="bg1"/>
              </a:solidFill>
              <a:latin typeface="Frutiger Next Pro Light" panose="020B0303040204020203" pitchFamily="34" charset="0"/>
              <a:cs typeface="Open Sans" panose="020B0606030504020204" pitchFamily="34" charset="0"/>
            </a:endParaRP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XXX</a:t>
            </a:r>
          </a:p>
        </p:txBody>
      </p:sp>
      <p:sp>
        <p:nvSpPr>
          <p:cNvPr id="26" name="TextBox 25"/>
          <p:cNvSpPr txBox="1"/>
          <p:nvPr userDrawn="1"/>
        </p:nvSpPr>
        <p:spPr>
          <a:xfrm>
            <a:off x="3994256" y="5067313"/>
            <a:ext cx="2722449" cy="1169894"/>
          </a:xfrm>
          <a:prstGeom prst="rect">
            <a:avLst/>
          </a:prstGeom>
        </p:spPr>
        <p:txBody>
          <a:bodyPr vert="horz" wrap="square" lIns="91440" tIns="45720" rIns="91440" bIns="45720" rtlCol="0" anchor="ctr">
            <a:normAutofit/>
          </a:bodyPr>
          <a:lstStyle/>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Areas of expertise</a:t>
            </a:r>
            <a:endParaRPr lang="en-US" sz="1000" dirty="0">
              <a:solidFill>
                <a:schemeClr val="bg1"/>
              </a:solidFill>
              <a:latin typeface="Frutiger Next Pro Light" panose="020B0303040204020203" pitchFamily="34" charset="0"/>
              <a:cs typeface="Open Sans" panose="020B0606030504020204" pitchFamily="34" charset="0"/>
            </a:endParaRP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XXX</a:t>
            </a:r>
          </a:p>
        </p:txBody>
      </p:sp>
      <p:sp>
        <p:nvSpPr>
          <p:cNvPr id="27" name="TextBox 26"/>
          <p:cNvSpPr txBox="1"/>
          <p:nvPr userDrawn="1"/>
        </p:nvSpPr>
        <p:spPr>
          <a:xfrm>
            <a:off x="7415978" y="5067313"/>
            <a:ext cx="2722449" cy="1169894"/>
          </a:xfrm>
          <a:prstGeom prst="rect">
            <a:avLst/>
          </a:prstGeom>
        </p:spPr>
        <p:txBody>
          <a:bodyPr vert="horz" wrap="square" lIns="91440" tIns="45720" rIns="91440" bIns="45720" rtlCol="0" anchor="ctr">
            <a:normAutofit/>
          </a:bodyPr>
          <a:lstStyle/>
          <a:p>
            <a:pPr marL="0" lvl="1" eaLnBrk="0" hangingPunct="0">
              <a:lnSpc>
                <a:spcPct val="90000"/>
              </a:lnSpc>
              <a:spcBef>
                <a:spcPts val="600"/>
              </a:spcBef>
              <a:buSzPct val="100000"/>
              <a:defRPr/>
            </a:pPr>
            <a:r>
              <a:rPr lang="en-US" sz="1000" b="1" dirty="0">
                <a:solidFill>
                  <a:schemeClr val="bg1"/>
                </a:solidFill>
                <a:latin typeface="Frutiger Next Pro Light" panose="020B0303040204020203" pitchFamily="34" charset="0"/>
                <a:cs typeface="Open Sans" panose="020B0606030504020204" pitchFamily="34" charset="0"/>
              </a:rPr>
              <a:t>Areas of expertise</a:t>
            </a:r>
            <a:endParaRPr lang="en-US" sz="1000" dirty="0">
              <a:solidFill>
                <a:schemeClr val="bg1"/>
              </a:solidFill>
              <a:latin typeface="Frutiger Next Pro Light" panose="020B0303040204020203" pitchFamily="34" charset="0"/>
              <a:cs typeface="Open Sans" panose="020B0606030504020204" pitchFamily="34" charset="0"/>
            </a:endParaRP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XXX</a:t>
            </a:r>
          </a:p>
          <a:p>
            <a:pPr marL="81010" lvl="1" indent="-81010" eaLnBrk="0" hangingPunct="0">
              <a:lnSpc>
                <a:spcPct val="90000"/>
              </a:lnSpc>
              <a:spcBef>
                <a:spcPts val="600"/>
              </a:spcBef>
              <a:buSzPct val="100000"/>
              <a:buFont typeface="Arial"/>
              <a:buChar char="•"/>
              <a:defRPr/>
            </a:pPr>
            <a:r>
              <a:rPr lang="en-US" sz="1000" dirty="0">
                <a:solidFill>
                  <a:schemeClr val="bg1"/>
                </a:solidFill>
                <a:latin typeface="Frutiger Next Pro Light" panose="020B0303040204020203" pitchFamily="34" charset="0"/>
                <a:cs typeface="Arial" pitchFamily="34" charset="0"/>
              </a:rPr>
              <a:t>XXX</a:t>
            </a:r>
          </a:p>
        </p:txBody>
      </p:sp>
    </p:spTree>
    <p:extLst>
      <p:ext uri="{BB962C8B-B14F-4D97-AF65-F5344CB8AC3E}">
        <p14:creationId xmlns:p14="http://schemas.microsoft.com/office/powerpoint/2010/main" val="103719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claimer General (Germa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6625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3"/>
          <p:cNvSpPr txBox="1">
            <a:spLocks/>
          </p:cNvSpPr>
          <p:nvPr userDrawn="1"/>
        </p:nvSpPr>
        <p:spPr bwMode="gray">
          <a:xfrm>
            <a:off x="553847" y="1728787"/>
            <a:ext cx="5847863" cy="4860000"/>
          </a:xfrm>
          <a:prstGeom prst="rect">
            <a:avLst/>
          </a:prstGeom>
        </p:spPr>
        <p:txBody>
          <a:bodyPr vert="horz" wrap="square" lIns="0" tIns="0" rIns="0" bIns="0" rtlCol="0" anchor="b" anchorCtr="0">
            <a:noAutofit/>
          </a:bodyPr>
          <a:lstStyle>
            <a:lvl1pPr marL="0" indent="0" algn="l" defTabSz="1005083" rtl="0" eaLnBrk="1" latinLnBrk="0" hangingPunct="1">
              <a:lnSpc>
                <a:spcPct val="100000"/>
              </a:lnSpc>
              <a:spcBef>
                <a:spcPts val="600"/>
              </a:spcBef>
              <a:buFontTx/>
              <a:buNone/>
              <a:defRPr sz="1400" b="0" kern="1200">
                <a:solidFill>
                  <a:schemeClr val="tx2"/>
                </a:solidFill>
                <a:latin typeface="+mn-lt"/>
                <a:ea typeface="+mn-ea"/>
                <a:cs typeface="+mn-cs"/>
              </a:defRPr>
            </a:lvl1pPr>
            <a:lvl2pPr marL="0" indent="0" algn="l" defTabSz="1005083" rtl="0" eaLnBrk="1" latinLnBrk="0" hangingPunct="1">
              <a:lnSpc>
                <a:spcPct val="100000"/>
              </a:lnSpc>
              <a:spcBef>
                <a:spcPts val="600"/>
              </a:spcBef>
              <a:buFontTx/>
              <a:buNone/>
              <a:defRPr sz="1400" b="1" kern="1200">
                <a:solidFill>
                  <a:schemeClr val="accent3"/>
                </a:solidFill>
                <a:latin typeface="+mn-lt"/>
                <a:ea typeface="+mn-ea"/>
                <a:cs typeface="+mn-cs"/>
              </a:defRPr>
            </a:lvl2pPr>
            <a:lvl3pPr marL="18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3pPr>
            <a:lvl4pPr marL="36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4pPr>
            <a:lvl5pPr marL="54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5pPr>
            <a:lvl6pPr marL="2763979"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266520"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769062"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271604"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defTabSz="914400">
              <a:lnSpc>
                <a:spcPct val="110000"/>
              </a:lnSpc>
            </a:pPr>
            <a:r>
              <a:rPr lang="de-DE" sz="900" dirty="0" err="1">
                <a:solidFill>
                  <a:schemeClr val="bg1">
                    <a:lumMod val="75000"/>
                  </a:schemeClr>
                </a:solidFill>
              </a:rPr>
              <a:t>Deloitte</a:t>
            </a:r>
            <a:r>
              <a:rPr lang="de-DE" sz="900" dirty="0">
                <a:solidFill>
                  <a:schemeClr val="bg1">
                    <a:lumMod val="75000"/>
                  </a:schemeClr>
                </a:solidFill>
              </a:rPr>
              <a:t> bezieht sich auf </a:t>
            </a:r>
            <a:r>
              <a:rPr lang="de-DE" sz="900" dirty="0" err="1">
                <a:solidFill>
                  <a:schemeClr val="bg1">
                    <a:lumMod val="75000"/>
                  </a:schemeClr>
                </a:solidFill>
              </a:rPr>
              <a:t>Deloitte</a:t>
            </a:r>
            <a:r>
              <a:rPr lang="de-DE" sz="900" dirty="0">
                <a:solidFill>
                  <a:schemeClr val="bg1">
                    <a:lumMod val="75000"/>
                  </a:schemeClr>
                </a:solidFill>
              </a:rPr>
              <a:t> </a:t>
            </a:r>
            <a:r>
              <a:rPr lang="de-DE" sz="900" dirty="0" err="1">
                <a:solidFill>
                  <a:schemeClr val="bg1">
                    <a:lumMod val="75000"/>
                  </a:schemeClr>
                </a:solidFill>
              </a:rPr>
              <a:t>Touche</a:t>
            </a:r>
            <a:r>
              <a:rPr lang="de-DE" sz="900" dirty="0">
                <a:solidFill>
                  <a:schemeClr val="bg1">
                    <a:lumMod val="75000"/>
                  </a:schemeClr>
                </a:solidFill>
              </a:rPr>
              <a:t> </a:t>
            </a:r>
            <a:r>
              <a:rPr lang="de-DE" sz="900" dirty="0" err="1">
                <a:solidFill>
                  <a:schemeClr val="bg1">
                    <a:lumMod val="75000"/>
                  </a:schemeClr>
                </a:solidFill>
              </a:rPr>
              <a:t>Tohmatsu</a:t>
            </a:r>
            <a:r>
              <a:rPr lang="de-DE" sz="900" dirty="0">
                <a:solidFill>
                  <a:schemeClr val="bg1">
                    <a:lumMod val="75000"/>
                  </a:schemeClr>
                </a:solidFill>
              </a:rPr>
              <a:t> Limited („DTTL“), eine „private </a:t>
            </a:r>
            <a:r>
              <a:rPr lang="de-DE" sz="900" dirty="0" err="1">
                <a:solidFill>
                  <a:schemeClr val="bg1">
                    <a:lumMod val="75000"/>
                  </a:schemeClr>
                </a:solidFill>
              </a:rPr>
              <a:t>company</a:t>
            </a:r>
            <a:r>
              <a:rPr lang="de-DE" sz="900" dirty="0">
                <a:solidFill>
                  <a:schemeClr val="bg1">
                    <a:lumMod val="75000"/>
                  </a:schemeClr>
                </a:solidFill>
              </a:rPr>
              <a:t> limited </a:t>
            </a:r>
            <a:r>
              <a:rPr lang="de-DE" sz="900" dirty="0" err="1">
                <a:solidFill>
                  <a:schemeClr val="bg1">
                    <a:lumMod val="75000"/>
                  </a:schemeClr>
                </a:solidFill>
              </a:rPr>
              <a:t>by</a:t>
            </a:r>
            <a:r>
              <a:rPr lang="de-DE" sz="900" dirty="0">
                <a:solidFill>
                  <a:schemeClr val="bg1">
                    <a:lumMod val="75000"/>
                  </a:schemeClr>
                </a:solidFill>
              </a:rPr>
              <a:t> </a:t>
            </a:r>
            <a:r>
              <a:rPr lang="de-DE" sz="900" dirty="0" err="1">
                <a:solidFill>
                  <a:schemeClr val="bg1">
                    <a:lumMod val="75000"/>
                  </a:schemeClr>
                </a:solidFill>
              </a:rPr>
              <a:t>guarantee</a:t>
            </a:r>
            <a:r>
              <a:rPr lang="de-DE" sz="900" dirty="0">
                <a:solidFill>
                  <a:schemeClr val="bg1">
                    <a:lumMod val="75000"/>
                  </a:schemeClr>
                </a:solidFill>
              </a:rPr>
              <a:t>“ (Gesellschaft mit beschränkter Haftung nach britischem Recht), ihr Netzwerk von Mitgliedsunternehmen und ihre verbundenen Unternehmen. DTTL und jedes ihrer Mitgliedsunternehmen sind rechtlich selbstständig und unabhängig. DTTL (auch „</a:t>
            </a:r>
            <a:r>
              <a:rPr lang="de-DE" sz="900" dirty="0" err="1">
                <a:solidFill>
                  <a:schemeClr val="bg1">
                    <a:lumMod val="75000"/>
                  </a:schemeClr>
                </a:solidFill>
              </a:rPr>
              <a:t>Deloitte</a:t>
            </a:r>
            <a:r>
              <a:rPr lang="de-DE" sz="900" dirty="0">
                <a:solidFill>
                  <a:schemeClr val="bg1">
                    <a:lumMod val="75000"/>
                  </a:schemeClr>
                </a:solidFill>
              </a:rPr>
              <a:t> Global“ genannt) erbringt selbst keine Leistungen gegenüber Mandanten. Eine detailliertere Beschreibung von DTTL und ihren Mitgliedsunternehmen finden Sie auf www.deloitte.com/de/UeberUns.</a:t>
            </a:r>
          </a:p>
          <a:p>
            <a:pPr defTabSz="914400">
              <a:lnSpc>
                <a:spcPct val="110000"/>
              </a:lnSpc>
            </a:pPr>
            <a:r>
              <a:rPr lang="de-DE" sz="900" dirty="0" err="1">
                <a:solidFill>
                  <a:schemeClr val="bg1">
                    <a:lumMod val="75000"/>
                  </a:schemeClr>
                </a:solidFill>
              </a:rPr>
              <a:t>Deloitte</a:t>
            </a:r>
            <a:r>
              <a:rPr lang="de-DE" sz="900" dirty="0">
                <a:solidFill>
                  <a:schemeClr val="bg1">
                    <a:lumMod val="75000"/>
                  </a:schemeClr>
                </a:solidFill>
              </a:rPr>
              <a:t> erbringt Dienstleistungen aus den Bereichen Wirtschaftsprüfung, Steuerberatung, Consulting und Corporate </a:t>
            </a:r>
            <a:r>
              <a:rPr lang="de-DE" sz="900" dirty="0" err="1">
                <a:solidFill>
                  <a:schemeClr val="bg1">
                    <a:lumMod val="75000"/>
                  </a:schemeClr>
                </a:solidFill>
              </a:rPr>
              <a:t>Finance</a:t>
            </a:r>
            <a:r>
              <a:rPr lang="de-DE" sz="900" dirty="0">
                <a:solidFill>
                  <a:schemeClr val="bg1">
                    <a:lumMod val="75000"/>
                  </a:schemeClr>
                </a:solidFill>
              </a:rPr>
              <a:t> für Unternehmen und Institutionen aus allen Wirtschaftszweigen; Rechtsberatung wird in Deutschland von </a:t>
            </a:r>
            <a:r>
              <a:rPr lang="de-DE" sz="900" dirty="0" err="1">
                <a:solidFill>
                  <a:schemeClr val="bg1">
                    <a:lumMod val="75000"/>
                  </a:schemeClr>
                </a:solidFill>
              </a:rPr>
              <a:t>Deloitte</a:t>
            </a:r>
            <a:r>
              <a:rPr lang="de-DE" sz="900" dirty="0">
                <a:solidFill>
                  <a:schemeClr val="bg1">
                    <a:lumMod val="75000"/>
                  </a:schemeClr>
                </a:solidFill>
              </a:rPr>
              <a:t> Legal erbracht. Mit einem weltweiten Netzwerk von Mitgliedsgesellschaften in mehr als 150 Ländern und Gebieten verbindet Deloitte herausragende Kompetenz mit erstklassigen Leistungen und steht Kunden so bei der Bewältigung ihrer komplexen unternehmerischen Herausforderungen zur Seite. „</a:t>
            </a:r>
            <a:r>
              <a:rPr lang="de-DE" sz="900" dirty="0" err="1">
                <a:solidFill>
                  <a:schemeClr val="bg1">
                    <a:lumMod val="75000"/>
                  </a:schemeClr>
                </a:solidFill>
              </a:rPr>
              <a:t>To</a:t>
            </a:r>
            <a:r>
              <a:rPr lang="de-DE" sz="900" dirty="0">
                <a:solidFill>
                  <a:schemeClr val="bg1">
                    <a:lumMod val="75000"/>
                  </a:schemeClr>
                </a:solidFill>
              </a:rPr>
              <a:t> </a:t>
            </a:r>
            <a:r>
              <a:rPr lang="de-DE" sz="900" dirty="0" err="1">
                <a:solidFill>
                  <a:schemeClr val="bg1">
                    <a:lumMod val="75000"/>
                  </a:schemeClr>
                </a:solidFill>
              </a:rPr>
              <a:t>be</a:t>
            </a:r>
            <a:r>
              <a:rPr lang="de-DE" sz="900" dirty="0">
                <a:solidFill>
                  <a:schemeClr val="bg1">
                    <a:lumMod val="75000"/>
                  </a:schemeClr>
                </a:solidFill>
              </a:rPr>
              <a:t> </a:t>
            </a:r>
            <a:r>
              <a:rPr lang="de-DE" sz="900" dirty="0" err="1">
                <a:solidFill>
                  <a:schemeClr val="bg1">
                    <a:lumMod val="75000"/>
                  </a:schemeClr>
                </a:solidFill>
              </a:rPr>
              <a:t>the</a:t>
            </a:r>
            <a:r>
              <a:rPr lang="de-DE" sz="900" dirty="0">
                <a:solidFill>
                  <a:schemeClr val="bg1">
                    <a:lumMod val="75000"/>
                  </a:schemeClr>
                </a:solidFill>
              </a:rPr>
              <a:t> Standard </a:t>
            </a:r>
            <a:r>
              <a:rPr lang="de-DE" sz="900" dirty="0" err="1">
                <a:solidFill>
                  <a:schemeClr val="bg1">
                    <a:lumMod val="75000"/>
                  </a:schemeClr>
                </a:solidFill>
              </a:rPr>
              <a:t>of</a:t>
            </a:r>
            <a:r>
              <a:rPr lang="de-DE" sz="900" dirty="0">
                <a:solidFill>
                  <a:schemeClr val="bg1">
                    <a:lumMod val="75000"/>
                  </a:schemeClr>
                </a:solidFill>
              </a:rPr>
              <a:t> Excellence“ – für mehr als 200.000 Mitarbeiter von </a:t>
            </a:r>
            <a:r>
              <a:rPr lang="de-DE" sz="900" dirty="0" err="1">
                <a:solidFill>
                  <a:schemeClr val="bg1">
                    <a:lumMod val="75000"/>
                  </a:schemeClr>
                </a:solidFill>
              </a:rPr>
              <a:t>Deloitte</a:t>
            </a:r>
            <a:r>
              <a:rPr lang="de-DE" sz="900" dirty="0">
                <a:solidFill>
                  <a:schemeClr val="bg1">
                    <a:lumMod val="75000"/>
                  </a:schemeClr>
                </a:solidFill>
              </a:rPr>
              <a:t> ist dies gemeinsame Vision und individueller Anspruch zugleich.</a:t>
            </a:r>
          </a:p>
          <a:p>
            <a:pPr defTabSz="914400">
              <a:lnSpc>
                <a:spcPct val="110000"/>
              </a:lnSpc>
            </a:pPr>
            <a:r>
              <a:rPr lang="de-DE" sz="900" dirty="0">
                <a:solidFill>
                  <a:schemeClr val="bg1">
                    <a:lumMod val="75000"/>
                  </a:schemeClr>
                </a:solidFill>
              </a:rPr>
              <a:t>Diese Präsentation enthält ausschließlich allgemeine Informationen und weder die Deloitte Digital GmbH noch Deloitte </a:t>
            </a:r>
            <a:r>
              <a:rPr lang="de-DE" sz="900" dirty="0" err="1">
                <a:solidFill>
                  <a:schemeClr val="bg1">
                    <a:lumMod val="75000"/>
                  </a:schemeClr>
                </a:solidFill>
              </a:rPr>
              <a:t>Touche</a:t>
            </a:r>
            <a:r>
              <a:rPr lang="de-DE" sz="900" dirty="0">
                <a:solidFill>
                  <a:schemeClr val="bg1">
                    <a:lumMod val="75000"/>
                  </a:schemeClr>
                </a:solidFill>
              </a:rPr>
              <a:t> </a:t>
            </a:r>
            <a:r>
              <a:rPr lang="de-DE" sz="900" dirty="0" err="1">
                <a:solidFill>
                  <a:schemeClr val="bg1">
                    <a:lumMod val="75000"/>
                  </a:schemeClr>
                </a:solidFill>
              </a:rPr>
              <a:t>Tohmatsu</a:t>
            </a:r>
            <a:r>
              <a:rPr lang="de-DE" sz="900" dirty="0">
                <a:solidFill>
                  <a:schemeClr val="bg1">
                    <a:lumMod val="75000"/>
                  </a:schemeClr>
                </a:solidFill>
              </a:rPr>
              <a:t> Limited („DTTL“), noch eines der Mitgliedsunternehmen von DTTL oder eines der Tochterunternehmen der vorgenannten Gesellschaften (insgesamt das „Deloitte Netzwerk“) erbringen mittels dieser Präsentation professionelle Beratungs- oder Dienstleistungen in den Bereichen Wirtschaftsprüfung, Unternehmensberatung, Finanzen, Investitionen, Recht, Steuern oder in sonstigen Gebieten. Diese Präsentation ist insbesondere nicht geeignet, eine persönliche Beratung zu ersetzen. Keines der Mitgliedsunternehmen des Deloitte Netzwerks ist verantwortlich für Verluste jedweder Art, die irgendjemand im Vertrauen auf diese Präsentation erlitten hat</a:t>
            </a:r>
          </a:p>
          <a:p>
            <a:pPr defTabSz="914400">
              <a:lnSpc>
                <a:spcPct val="110000"/>
              </a:lnSpc>
            </a:pPr>
            <a:r>
              <a:rPr lang="de-DE" sz="900" dirty="0">
                <a:solidFill>
                  <a:schemeClr val="bg1">
                    <a:lumMod val="75000"/>
                  </a:schemeClr>
                </a:solidFill>
              </a:rPr>
              <a:t>© 2015 Deloitte Digital GmbH</a:t>
            </a:r>
          </a:p>
        </p:txBody>
      </p:sp>
      <p:grpSp>
        <p:nvGrpSpPr>
          <p:cNvPr id="7" name="Group 6"/>
          <p:cNvGrpSpPr/>
          <p:nvPr userDrawn="1"/>
        </p:nvGrpSpPr>
        <p:grpSpPr>
          <a:xfrm>
            <a:off x="10251573" y="6015963"/>
            <a:ext cx="1361578" cy="526018"/>
            <a:chOff x="1006476" y="0"/>
            <a:chExt cx="15166973" cy="7211638"/>
          </a:xfrm>
          <a:solidFill>
            <a:schemeClr val="bg1"/>
          </a:solidFill>
        </p:grpSpPr>
        <p:grpSp>
          <p:nvGrpSpPr>
            <p:cNvPr id="10" name="Group 9"/>
            <p:cNvGrpSpPr/>
            <p:nvPr/>
          </p:nvGrpSpPr>
          <p:grpSpPr>
            <a:xfrm>
              <a:off x="1050026" y="0"/>
              <a:ext cx="15123423" cy="2811241"/>
              <a:chOff x="292101" y="403484"/>
              <a:chExt cx="14551023" cy="2704840"/>
            </a:xfrm>
            <a:grpFill/>
          </p:grpSpPr>
          <p:sp>
            <p:nvSpPr>
              <p:cNvPr id="20"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p:nvSpPr>
            <p:spPr>
              <a:xfrm>
                <a:off x="4933950" y="447675"/>
                <a:ext cx="644525" cy="2628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 name="Oval 27"/>
              <p:cNvSpPr/>
              <p:nvPr/>
            </p:nvSpPr>
            <p:spPr>
              <a:xfrm>
                <a:off x="14128749" y="2393949"/>
                <a:ext cx="714375" cy="7143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12" name="Group 11"/>
            <p:cNvGrpSpPr/>
            <p:nvPr/>
          </p:nvGrpSpPr>
          <p:grpSpPr>
            <a:xfrm>
              <a:off x="1006476" y="3535646"/>
              <a:ext cx="11165226" cy="3675992"/>
              <a:chOff x="-1506982" y="2838278"/>
              <a:chExt cx="11165226" cy="3675992"/>
            </a:xfrm>
            <a:grpFill/>
          </p:grpSpPr>
          <p:sp>
            <p:nvSpPr>
              <p:cNvPr id="13" name="Flowchart: Delay 6"/>
              <p:cNvSpPr/>
              <p:nvPr/>
            </p:nvSpPr>
            <p:spPr>
              <a:xfrm>
                <a:off x="-1506982" y="2838278"/>
                <a:ext cx="2373223" cy="2734977"/>
              </a:xfrm>
              <a:custGeom>
                <a:avLst/>
                <a:gdLst/>
                <a:ahLst/>
                <a:cxnLst/>
                <a:rect l="l" t="t" r="r" b="b"/>
                <a:pathLst>
                  <a:path w="2373223" h="2734977">
                    <a:moveTo>
                      <a:pt x="801462" y="542228"/>
                    </a:moveTo>
                    <a:cubicBezTo>
                      <a:pt x="768131" y="541817"/>
                      <a:pt x="760104" y="543372"/>
                      <a:pt x="655025" y="554586"/>
                    </a:cubicBezTo>
                    <a:lnTo>
                      <a:pt x="655025" y="2203302"/>
                    </a:lnTo>
                    <a:cubicBezTo>
                      <a:pt x="784080" y="2203302"/>
                      <a:pt x="817500" y="2209282"/>
                      <a:pt x="944423" y="2203302"/>
                    </a:cubicBezTo>
                    <a:cubicBezTo>
                      <a:pt x="1383490" y="2170407"/>
                      <a:pt x="1679558" y="1856007"/>
                      <a:pt x="1689355" y="1378944"/>
                    </a:cubicBezTo>
                    <a:cubicBezTo>
                      <a:pt x="1699152" y="901881"/>
                      <a:pt x="1339362" y="522496"/>
                      <a:pt x="915214" y="543428"/>
                    </a:cubicBezTo>
                    <a:cubicBezTo>
                      <a:pt x="850568" y="543428"/>
                      <a:pt x="821461" y="542474"/>
                      <a:pt x="801462" y="542228"/>
                    </a:cubicBezTo>
                    <a:close/>
                    <a:moveTo>
                      <a:pt x="809819" y="1363"/>
                    </a:moveTo>
                    <a:cubicBezTo>
                      <a:pt x="1782681" y="-32854"/>
                      <a:pt x="2398497" y="581163"/>
                      <a:pt x="2372427" y="1383107"/>
                    </a:cubicBezTo>
                    <a:cubicBezTo>
                      <a:pt x="2346356" y="2185050"/>
                      <a:pt x="1895110" y="2676861"/>
                      <a:pt x="888030" y="2730632"/>
                    </a:cubicBezTo>
                    <a:cubicBezTo>
                      <a:pt x="596908" y="2740409"/>
                      <a:pt x="296010" y="2730631"/>
                      <a:pt x="0" y="2730631"/>
                    </a:cubicBezTo>
                    <a:lnTo>
                      <a:pt x="0" y="35581"/>
                    </a:lnTo>
                    <a:cubicBezTo>
                      <a:pt x="385628" y="6252"/>
                      <a:pt x="414415" y="1363"/>
                      <a:pt x="809819" y="13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p:nvSpPr>
            <p:spPr>
              <a:xfrm>
                <a:off x="8998170" y="2880935"/>
                <a:ext cx="660074" cy="26923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Rectangle 37"/>
              <p:cNvSpPr/>
              <p:nvPr/>
            </p:nvSpPr>
            <p:spPr>
              <a:xfrm>
                <a:off x="1129670" y="2880934"/>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39"/>
              <p:cNvSpPr/>
              <p:nvPr/>
            </p:nvSpPr>
            <p:spPr>
              <a:xfrm>
                <a:off x="5312408" y="2975994"/>
                <a:ext cx="1405937" cy="2648882"/>
              </a:xfrm>
              <a:custGeom>
                <a:avLst/>
                <a:gdLst/>
                <a:ahLst/>
                <a:cxnLst/>
                <a:rect l="l" t="t" r="r" b="b"/>
                <a:pathLst>
                  <a:path w="1405937" h="2648882">
                    <a:moveTo>
                      <a:pt x="910735" y="0"/>
                    </a:moveTo>
                    <a:lnTo>
                      <a:pt x="910735" y="615204"/>
                    </a:lnTo>
                    <a:lnTo>
                      <a:pt x="1342826" y="615204"/>
                    </a:lnTo>
                    <a:lnTo>
                      <a:pt x="1342826" y="1113749"/>
                    </a:lnTo>
                    <a:lnTo>
                      <a:pt x="910735" y="1113749"/>
                    </a:lnTo>
                    <a:lnTo>
                      <a:pt x="910735" y="1398929"/>
                    </a:lnTo>
                    <a:lnTo>
                      <a:pt x="909291" y="1398770"/>
                    </a:lnTo>
                    <a:lnTo>
                      <a:pt x="909291" y="1852069"/>
                    </a:lnTo>
                    <a:cubicBezTo>
                      <a:pt x="913627" y="1946443"/>
                      <a:pt x="951741" y="2035139"/>
                      <a:pt x="1043315" y="2082050"/>
                    </a:cubicBezTo>
                    <a:cubicBezTo>
                      <a:pt x="1213294" y="2123725"/>
                      <a:pt x="1275245" y="2096758"/>
                      <a:pt x="1405937" y="2067341"/>
                    </a:cubicBezTo>
                    <a:lnTo>
                      <a:pt x="1405937" y="2587949"/>
                    </a:lnTo>
                    <a:cubicBezTo>
                      <a:pt x="1247419" y="2627685"/>
                      <a:pt x="816383" y="2704190"/>
                      <a:pt x="586666" y="2584585"/>
                    </a:cubicBezTo>
                    <a:cubicBezTo>
                      <a:pt x="365715" y="2484384"/>
                      <a:pt x="274877" y="2239548"/>
                      <a:pt x="255234" y="1989810"/>
                    </a:cubicBezTo>
                    <a:lnTo>
                      <a:pt x="256050" y="1989628"/>
                    </a:lnTo>
                    <a:lnTo>
                      <a:pt x="256050" y="1326914"/>
                    </a:lnTo>
                    <a:lnTo>
                      <a:pt x="256049" y="1326914"/>
                    </a:lnTo>
                    <a:lnTo>
                      <a:pt x="256049" y="1113749"/>
                    </a:lnTo>
                    <a:lnTo>
                      <a:pt x="0" y="1113749"/>
                    </a:lnTo>
                    <a:lnTo>
                      <a:pt x="0" y="615204"/>
                    </a:lnTo>
                    <a:lnTo>
                      <a:pt x="256049" y="615204"/>
                    </a:lnTo>
                    <a:lnTo>
                      <a:pt x="256049" y="720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43"/>
              <p:cNvSpPr/>
              <p:nvPr/>
            </p:nvSpPr>
            <p:spPr>
              <a:xfrm>
                <a:off x="4370090" y="2880935"/>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Oval 15"/>
              <p:cNvSpPr/>
              <p:nvPr/>
            </p:nvSpPr>
            <p:spPr>
              <a:xfrm>
                <a:off x="2021351" y="3531392"/>
                <a:ext cx="2050586" cy="2982878"/>
              </a:xfrm>
              <a:custGeom>
                <a:avLst/>
                <a:gdLst/>
                <a:ahLst/>
                <a:cxnLst/>
                <a:rect l="l" t="t" r="r" b="b"/>
                <a:pathLst>
                  <a:path w="2050586" h="2982878">
                    <a:moveTo>
                      <a:pt x="1051854" y="510196"/>
                    </a:moveTo>
                    <a:cubicBezTo>
                      <a:pt x="818915" y="514146"/>
                      <a:pt x="642809" y="709495"/>
                      <a:pt x="638909" y="1067081"/>
                    </a:cubicBezTo>
                    <a:cubicBezTo>
                      <a:pt x="635009" y="1424667"/>
                      <a:pt x="823791" y="1623966"/>
                      <a:pt x="1051854" y="1623966"/>
                    </a:cubicBezTo>
                    <a:cubicBezTo>
                      <a:pt x="1237304" y="1623966"/>
                      <a:pt x="1389689" y="1483481"/>
                      <a:pt x="1441801" y="1245336"/>
                    </a:cubicBezTo>
                    <a:lnTo>
                      <a:pt x="1441801" y="871896"/>
                    </a:lnTo>
                    <a:cubicBezTo>
                      <a:pt x="1390037" y="636468"/>
                      <a:pt x="1238194" y="507037"/>
                      <a:pt x="1051854" y="510196"/>
                    </a:cubicBezTo>
                    <a:close/>
                    <a:moveTo>
                      <a:pt x="922906" y="62"/>
                    </a:moveTo>
                    <a:cubicBezTo>
                      <a:pt x="1094124" y="2254"/>
                      <a:pt x="1286677" y="67187"/>
                      <a:pt x="1441801" y="211676"/>
                    </a:cubicBezTo>
                    <a:lnTo>
                      <a:pt x="1441801" y="59283"/>
                    </a:lnTo>
                    <a:lnTo>
                      <a:pt x="2050586" y="59283"/>
                    </a:lnTo>
                    <a:lnTo>
                      <a:pt x="2050586" y="2050529"/>
                    </a:lnTo>
                    <a:lnTo>
                      <a:pt x="2049824" y="2050529"/>
                    </a:lnTo>
                    <a:cubicBezTo>
                      <a:pt x="2042228" y="2324966"/>
                      <a:pt x="1914078" y="2586024"/>
                      <a:pt x="1741025" y="2740770"/>
                    </a:cubicBezTo>
                    <a:cubicBezTo>
                      <a:pt x="1565806" y="2897454"/>
                      <a:pt x="1260483" y="2963176"/>
                      <a:pt x="989743" y="2980332"/>
                    </a:cubicBezTo>
                    <a:cubicBezTo>
                      <a:pt x="696029" y="2998261"/>
                      <a:pt x="376391" y="2918595"/>
                      <a:pt x="186431" y="2833390"/>
                    </a:cubicBezTo>
                    <a:lnTo>
                      <a:pt x="315452" y="2340665"/>
                    </a:lnTo>
                    <a:cubicBezTo>
                      <a:pt x="472820" y="2417366"/>
                      <a:pt x="608780" y="2473080"/>
                      <a:pt x="769523" y="2498896"/>
                    </a:cubicBezTo>
                    <a:cubicBezTo>
                      <a:pt x="881706" y="2502874"/>
                      <a:pt x="1108687" y="2496171"/>
                      <a:pt x="1224291" y="2424065"/>
                    </a:cubicBezTo>
                    <a:cubicBezTo>
                      <a:pt x="1349420" y="2349578"/>
                      <a:pt x="1429412" y="2229849"/>
                      <a:pt x="1441713" y="2044829"/>
                    </a:cubicBezTo>
                    <a:cubicBezTo>
                      <a:pt x="1441742" y="2044829"/>
                      <a:pt x="1441772" y="2044829"/>
                      <a:pt x="1441801" y="2044829"/>
                    </a:cubicBezTo>
                    <a:lnTo>
                      <a:pt x="1441801" y="1865142"/>
                    </a:lnTo>
                    <a:cubicBezTo>
                      <a:pt x="1215364" y="2074903"/>
                      <a:pt x="921880" y="2106991"/>
                      <a:pt x="789556" y="2109742"/>
                    </a:cubicBezTo>
                    <a:cubicBezTo>
                      <a:pt x="560506" y="2114505"/>
                      <a:pt x="-3162" y="1870860"/>
                      <a:pt x="14" y="1066808"/>
                    </a:cubicBezTo>
                    <a:cubicBezTo>
                      <a:pt x="3189" y="262756"/>
                      <a:pt x="550982" y="-4699"/>
                      <a:pt x="922906" y="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Teardrop 10"/>
              <p:cNvSpPr/>
              <p:nvPr/>
            </p:nvSpPr>
            <p:spPr>
              <a:xfrm>
                <a:off x="6933888" y="3546707"/>
                <a:ext cx="1819195" cy="2078169"/>
              </a:xfrm>
              <a:custGeom>
                <a:avLst/>
                <a:gdLst/>
                <a:ahLst/>
                <a:cxnLst/>
                <a:rect l="l" t="t" r="r" b="b"/>
                <a:pathLst>
                  <a:path w="1819195" h="2078169">
                    <a:moveTo>
                      <a:pt x="1186796" y="1087595"/>
                    </a:moveTo>
                    <a:cubicBezTo>
                      <a:pt x="1113625" y="1090104"/>
                      <a:pt x="1058299" y="1092613"/>
                      <a:pt x="915050" y="1110177"/>
                    </a:cubicBezTo>
                    <a:cubicBezTo>
                      <a:pt x="712653" y="1132759"/>
                      <a:pt x="611934" y="1254340"/>
                      <a:pt x="610704" y="1401552"/>
                    </a:cubicBezTo>
                    <a:cubicBezTo>
                      <a:pt x="617261" y="1602596"/>
                      <a:pt x="782865" y="1640445"/>
                      <a:pt x="868331" y="1644000"/>
                    </a:cubicBezTo>
                    <a:cubicBezTo>
                      <a:pt x="1009257" y="1644000"/>
                      <a:pt x="1189411" y="1525823"/>
                      <a:pt x="1189411" y="1403702"/>
                    </a:cubicBezTo>
                    <a:close/>
                    <a:moveTo>
                      <a:pt x="918836" y="764"/>
                    </a:moveTo>
                    <a:cubicBezTo>
                      <a:pt x="1160938" y="11084"/>
                      <a:pt x="1410748" y="83418"/>
                      <a:pt x="1561827" y="205882"/>
                    </a:cubicBezTo>
                    <a:cubicBezTo>
                      <a:pt x="1712906" y="328347"/>
                      <a:pt x="1788347" y="549970"/>
                      <a:pt x="1782252" y="771155"/>
                    </a:cubicBezTo>
                    <a:lnTo>
                      <a:pt x="1781486" y="771131"/>
                    </a:lnTo>
                    <a:lnTo>
                      <a:pt x="1781486" y="1794503"/>
                    </a:lnTo>
                    <a:lnTo>
                      <a:pt x="1819195" y="2026546"/>
                    </a:lnTo>
                    <a:lnTo>
                      <a:pt x="1277253" y="2026546"/>
                    </a:lnTo>
                    <a:lnTo>
                      <a:pt x="1242709" y="1813981"/>
                    </a:lnTo>
                    <a:cubicBezTo>
                      <a:pt x="1117714" y="1972717"/>
                      <a:pt x="898491" y="2078169"/>
                      <a:pt x="665318" y="2078169"/>
                    </a:cubicBezTo>
                    <a:cubicBezTo>
                      <a:pt x="444604" y="2069173"/>
                      <a:pt x="16933" y="1973385"/>
                      <a:pt x="0" y="1464587"/>
                    </a:cubicBezTo>
                    <a:cubicBezTo>
                      <a:pt x="3175" y="1092025"/>
                      <a:pt x="263280" y="784330"/>
                      <a:pt x="785969" y="727180"/>
                    </a:cubicBezTo>
                    <a:cubicBezTo>
                      <a:pt x="1029946" y="697865"/>
                      <a:pt x="1110970" y="685122"/>
                      <a:pt x="1192076" y="678143"/>
                    </a:cubicBezTo>
                    <a:cubicBezTo>
                      <a:pt x="1182890" y="518370"/>
                      <a:pt x="1036964" y="440610"/>
                      <a:pt x="899685" y="412566"/>
                    </a:cubicBezTo>
                    <a:cubicBezTo>
                      <a:pt x="608510" y="393798"/>
                      <a:pt x="478098" y="442952"/>
                      <a:pt x="261013" y="553512"/>
                    </a:cubicBezTo>
                    <a:lnTo>
                      <a:pt x="164299" y="163213"/>
                    </a:lnTo>
                    <a:cubicBezTo>
                      <a:pt x="337912" y="93114"/>
                      <a:pt x="656164" y="-9890"/>
                      <a:pt x="918836" y="76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spTree>
    <p:extLst>
      <p:ext uri="{BB962C8B-B14F-4D97-AF65-F5344CB8AC3E}">
        <p14:creationId xmlns:p14="http://schemas.microsoft.com/office/powerpoint/2010/main" val="570444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sclaimer Results (Germa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6956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3"/>
          <p:cNvSpPr txBox="1">
            <a:spLocks/>
          </p:cNvSpPr>
          <p:nvPr userDrawn="1"/>
        </p:nvSpPr>
        <p:spPr bwMode="gray">
          <a:xfrm>
            <a:off x="553847" y="1728789"/>
            <a:ext cx="5852816" cy="4860000"/>
          </a:xfrm>
          <a:prstGeom prst="rect">
            <a:avLst/>
          </a:prstGeom>
        </p:spPr>
        <p:txBody>
          <a:bodyPr vert="horz" wrap="square" lIns="0" tIns="0" rIns="0" bIns="0" rtlCol="0" anchor="b" anchorCtr="0">
            <a:noAutofit/>
          </a:bodyPr>
          <a:lstStyle>
            <a:lvl1pPr marL="0" indent="0" algn="l" defTabSz="1005083" rtl="0" eaLnBrk="1" latinLnBrk="0" hangingPunct="1">
              <a:lnSpc>
                <a:spcPct val="100000"/>
              </a:lnSpc>
              <a:spcBef>
                <a:spcPts val="600"/>
              </a:spcBef>
              <a:buFontTx/>
              <a:buNone/>
              <a:defRPr sz="1400" b="0" kern="1200">
                <a:solidFill>
                  <a:schemeClr val="tx2"/>
                </a:solidFill>
                <a:latin typeface="+mn-lt"/>
                <a:ea typeface="+mn-ea"/>
                <a:cs typeface="+mn-cs"/>
              </a:defRPr>
            </a:lvl1pPr>
            <a:lvl2pPr marL="0" indent="0" algn="l" defTabSz="1005083" rtl="0" eaLnBrk="1" latinLnBrk="0" hangingPunct="1">
              <a:lnSpc>
                <a:spcPct val="100000"/>
              </a:lnSpc>
              <a:spcBef>
                <a:spcPts val="600"/>
              </a:spcBef>
              <a:buFontTx/>
              <a:buNone/>
              <a:defRPr sz="1400" b="1" kern="1200">
                <a:solidFill>
                  <a:schemeClr val="accent3"/>
                </a:solidFill>
                <a:latin typeface="+mn-lt"/>
                <a:ea typeface="+mn-ea"/>
                <a:cs typeface="+mn-cs"/>
              </a:defRPr>
            </a:lvl2pPr>
            <a:lvl3pPr marL="18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3pPr>
            <a:lvl4pPr marL="36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4pPr>
            <a:lvl5pPr marL="54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5pPr>
            <a:lvl6pPr marL="2763979"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266520"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769062"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271604"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defTabSz="914400">
              <a:lnSpc>
                <a:spcPct val="110000"/>
              </a:lnSpc>
            </a:pPr>
            <a:r>
              <a:rPr lang="de-DE" sz="900" dirty="0">
                <a:solidFill>
                  <a:schemeClr val="bg1">
                    <a:lumMod val="75000"/>
                  </a:schemeClr>
                </a:solidFill>
              </a:rPr>
              <a:t>Deloitte bezieht sich auf Deloitte Touche Tohmatsu Limited („DTTL“), eine „private company limited by guarantee“ (Gesellschaft mit beschränkter Haftung nach britischem Recht), ihr Netzwerk von Mitgliedsunternehmen und ihre verbundenen Unternehmen. DTTL und jedes ihrer Mitgliedsunternehmen sind rechtlich selbstständig und unabhängig. DTTL (auch „Deloitte Global“ genannt) erbringt selbst keine Leistungen gegenüber Mandanten. Eine detailliertere Beschreibung von DTTL und ihren Mitgliedsunternehmen finden Sie auf www.deloitte.com/de/UeberUns.</a:t>
            </a:r>
          </a:p>
          <a:p>
            <a:pPr defTabSz="914400">
              <a:lnSpc>
                <a:spcPct val="110000"/>
              </a:lnSpc>
            </a:pPr>
            <a:r>
              <a:rPr lang="de-DE" sz="900" dirty="0">
                <a:solidFill>
                  <a:schemeClr val="bg1">
                    <a:lumMod val="75000"/>
                  </a:schemeClr>
                </a:solidFill>
              </a:rPr>
              <a:t>Deloitte erbringt Dienstleistungen aus den Bereichen Wirtschaftsprüfung, Steuerberatung, Consulting und Corporate Finance für Unternehmen und Institutionen aus allen Wirtschaftszweigen; Rechtsberatung wird in Deutschland von Deloitte Legal erbracht. Mit einem weltweiten Netzwerk von Mitgliedsgesellschaften in mehr als 150 Ländern und Gebieten verbindet Deloitte herausragende Kompetenz mit erstklassigen Leistungen und steht Kunden so bei der Bewältigung ihrer komplexen unternehmerischen Herausforderungen zur Seite. „To be the Standard of Excellence“ – für mehr als 200.000 Mitarbeiter von Deloitte ist dies gemeinsame Vision und individueller Anspruch zugleich.</a:t>
            </a:r>
          </a:p>
          <a:p>
            <a:pPr defTabSz="914400">
              <a:lnSpc>
                <a:spcPct val="110000"/>
              </a:lnSpc>
            </a:pPr>
            <a:r>
              <a:rPr lang="de-DE" sz="900" dirty="0">
                <a:solidFill>
                  <a:schemeClr val="bg1">
                    <a:lumMod val="75000"/>
                  </a:schemeClr>
                </a:solidFill>
              </a:rPr>
              <a:t>Diese Präsentation wurde ausschließlich für den Auftraggeber nach Maßgabe der vereinbarten Auftragsvereinbarung erstellt. Die Präsentation ist vertraulich zu behandeln. Eine Weitergabe an Dritte bedarf unserer vorherigen ausdrücklichen und schriftlichen Zustimmung, sofern keine gesetzliche Pflicht des Auftraggebers zur Weitergabe besteht. Soweit nicht anderweitig ausdrücklich und schriftlich vereinbart, ist keine andere Person als der Auftraggeber berechtigt, sich auf die Präsentation zu verlassen oder Rechte hieraus herzuleiten. Die mit dem Auftraggeber vereinbarte Haftungshöchstsumme wird insgesamt nur einmal geschuldet; der Auftraggeber und etwaige Dritte sind insoweit Gesamtgläubiger. Die Präsentation wurde auch auf Basis der durch den vom Auftraggeber zur Verfügung gestellten Informationen erstellt, die, soweit nicht anderweitig mit dem Auftraggeber vereinbart, nicht auf deren Vollständigkeit und Richtigkeit hin überprüft wurden.</a:t>
            </a:r>
          </a:p>
          <a:p>
            <a:pPr defTabSz="914400">
              <a:lnSpc>
                <a:spcPct val="110000"/>
              </a:lnSpc>
            </a:pPr>
            <a:r>
              <a:rPr lang="de-DE" sz="900" dirty="0">
                <a:solidFill>
                  <a:schemeClr val="bg1">
                    <a:lumMod val="75000"/>
                  </a:schemeClr>
                </a:solidFill>
              </a:rPr>
              <a:t>© 2015 Deloitte Digital GmbH</a:t>
            </a:r>
          </a:p>
        </p:txBody>
      </p:sp>
      <p:grpSp>
        <p:nvGrpSpPr>
          <p:cNvPr id="7" name="Group 6"/>
          <p:cNvGrpSpPr/>
          <p:nvPr userDrawn="1"/>
        </p:nvGrpSpPr>
        <p:grpSpPr>
          <a:xfrm>
            <a:off x="10251573" y="6015963"/>
            <a:ext cx="1361578" cy="526018"/>
            <a:chOff x="1006476" y="0"/>
            <a:chExt cx="15166973" cy="7211638"/>
          </a:xfrm>
          <a:solidFill>
            <a:schemeClr val="bg1"/>
          </a:solidFill>
        </p:grpSpPr>
        <p:grpSp>
          <p:nvGrpSpPr>
            <p:cNvPr id="10" name="Group 9"/>
            <p:cNvGrpSpPr/>
            <p:nvPr/>
          </p:nvGrpSpPr>
          <p:grpSpPr>
            <a:xfrm>
              <a:off x="1050026" y="0"/>
              <a:ext cx="15123423" cy="2811241"/>
              <a:chOff x="292101" y="403484"/>
              <a:chExt cx="14551023" cy="2704840"/>
            </a:xfrm>
            <a:grpFill/>
          </p:grpSpPr>
          <p:sp>
            <p:nvSpPr>
              <p:cNvPr id="20"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p:nvSpPr>
            <p:spPr>
              <a:xfrm>
                <a:off x="4933950" y="447675"/>
                <a:ext cx="644525" cy="2628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 name="Oval 27"/>
              <p:cNvSpPr/>
              <p:nvPr/>
            </p:nvSpPr>
            <p:spPr>
              <a:xfrm>
                <a:off x="14128749" y="2393949"/>
                <a:ext cx="714375" cy="7143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12" name="Group 11"/>
            <p:cNvGrpSpPr/>
            <p:nvPr/>
          </p:nvGrpSpPr>
          <p:grpSpPr>
            <a:xfrm>
              <a:off x="1006476" y="3535646"/>
              <a:ext cx="11165226" cy="3675992"/>
              <a:chOff x="-1506982" y="2838278"/>
              <a:chExt cx="11165226" cy="3675992"/>
            </a:xfrm>
            <a:grpFill/>
          </p:grpSpPr>
          <p:sp>
            <p:nvSpPr>
              <p:cNvPr id="13" name="Flowchart: Delay 6"/>
              <p:cNvSpPr/>
              <p:nvPr/>
            </p:nvSpPr>
            <p:spPr>
              <a:xfrm>
                <a:off x="-1506982" y="2838278"/>
                <a:ext cx="2373223" cy="2734977"/>
              </a:xfrm>
              <a:custGeom>
                <a:avLst/>
                <a:gdLst/>
                <a:ahLst/>
                <a:cxnLst/>
                <a:rect l="l" t="t" r="r" b="b"/>
                <a:pathLst>
                  <a:path w="2373223" h="2734977">
                    <a:moveTo>
                      <a:pt x="801462" y="542228"/>
                    </a:moveTo>
                    <a:cubicBezTo>
                      <a:pt x="768131" y="541817"/>
                      <a:pt x="760104" y="543372"/>
                      <a:pt x="655025" y="554586"/>
                    </a:cubicBezTo>
                    <a:lnTo>
                      <a:pt x="655025" y="2203302"/>
                    </a:lnTo>
                    <a:cubicBezTo>
                      <a:pt x="784080" y="2203302"/>
                      <a:pt x="817500" y="2209282"/>
                      <a:pt x="944423" y="2203302"/>
                    </a:cubicBezTo>
                    <a:cubicBezTo>
                      <a:pt x="1383490" y="2170407"/>
                      <a:pt x="1679558" y="1856007"/>
                      <a:pt x="1689355" y="1378944"/>
                    </a:cubicBezTo>
                    <a:cubicBezTo>
                      <a:pt x="1699152" y="901881"/>
                      <a:pt x="1339362" y="522496"/>
                      <a:pt x="915214" y="543428"/>
                    </a:cubicBezTo>
                    <a:cubicBezTo>
                      <a:pt x="850568" y="543428"/>
                      <a:pt x="821461" y="542474"/>
                      <a:pt x="801462" y="542228"/>
                    </a:cubicBezTo>
                    <a:close/>
                    <a:moveTo>
                      <a:pt x="809819" y="1363"/>
                    </a:moveTo>
                    <a:cubicBezTo>
                      <a:pt x="1782681" y="-32854"/>
                      <a:pt x="2398497" y="581163"/>
                      <a:pt x="2372427" y="1383107"/>
                    </a:cubicBezTo>
                    <a:cubicBezTo>
                      <a:pt x="2346356" y="2185050"/>
                      <a:pt x="1895110" y="2676861"/>
                      <a:pt x="888030" y="2730632"/>
                    </a:cubicBezTo>
                    <a:cubicBezTo>
                      <a:pt x="596908" y="2740409"/>
                      <a:pt x="296010" y="2730631"/>
                      <a:pt x="0" y="2730631"/>
                    </a:cubicBezTo>
                    <a:lnTo>
                      <a:pt x="0" y="35581"/>
                    </a:lnTo>
                    <a:cubicBezTo>
                      <a:pt x="385628" y="6252"/>
                      <a:pt x="414415" y="1363"/>
                      <a:pt x="809819" y="13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p:nvSpPr>
            <p:spPr>
              <a:xfrm>
                <a:off x="8998170" y="2880935"/>
                <a:ext cx="660074" cy="26923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Rectangle 37"/>
              <p:cNvSpPr/>
              <p:nvPr/>
            </p:nvSpPr>
            <p:spPr>
              <a:xfrm>
                <a:off x="1129670" y="2880934"/>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39"/>
              <p:cNvSpPr/>
              <p:nvPr/>
            </p:nvSpPr>
            <p:spPr>
              <a:xfrm>
                <a:off x="5312408" y="2975994"/>
                <a:ext cx="1405937" cy="2648882"/>
              </a:xfrm>
              <a:custGeom>
                <a:avLst/>
                <a:gdLst/>
                <a:ahLst/>
                <a:cxnLst/>
                <a:rect l="l" t="t" r="r" b="b"/>
                <a:pathLst>
                  <a:path w="1405937" h="2648882">
                    <a:moveTo>
                      <a:pt x="910735" y="0"/>
                    </a:moveTo>
                    <a:lnTo>
                      <a:pt x="910735" y="615204"/>
                    </a:lnTo>
                    <a:lnTo>
                      <a:pt x="1342826" y="615204"/>
                    </a:lnTo>
                    <a:lnTo>
                      <a:pt x="1342826" y="1113749"/>
                    </a:lnTo>
                    <a:lnTo>
                      <a:pt x="910735" y="1113749"/>
                    </a:lnTo>
                    <a:lnTo>
                      <a:pt x="910735" y="1398929"/>
                    </a:lnTo>
                    <a:lnTo>
                      <a:pt x="909291" y="1398770"/>
                    </a:lnTo>
                    <a:lnTo>
                      <a:pt x="909291" y="1852069"/>
                    </a:lnTo>
                    <a:cubicBezTo>
                      <a:pt x="913627" y="1946443"/>
                      <a:pt x="951741" y="2035139"/>
                      <a:pt x="1043315" y="2082050"/>
                    </a:cubicBezTo>
                    <a:cubicBezTo>
                      <a:pt x="1213294" y="2123725"/>
                      <a:pt x="1275245" y="2096758"/>
                      <a:pt x="1405937" y="2067341"/>
                    </a:cubicBezTo>
                    <a:lnTo>
                      <a:pt x="1405937" y="2587949"/>
                    </a:lnTo>
                    <a:cubicBezTo>
                      <a:pt x="1247419" y="2627685"/>
                      <a:pt x="816383" y="2704190"/>
                      <a:pt x="586666" y="2584585"/>
                    </a:cubicBezTo>
                    <a:cubicBezTo>
                      <a:pt x="365715" y="2484384"/>
                      <a:pt x="274877" y="2239548"/>
                      <a:pt x="255234" y="1989810"/>
                    </a:cubicBezTo>
                    <a:lnTo>
                      <a:pt x="256050" y="1989628"/>
                    </a:lnTo>
                    <a:lnTo>
                      <a:pt x="256050" y="1326914"/>
                    </a:lnTo>
                    <a:lnTo>
                      <a:pt x="256049" y="1326914"/>
                    </a:lnTo>
                    <a:lnTo>
                      <a:pt x="256049" y="1113749"/>
                    </a:lnTo>
                    <a:lnTo>
                      <a:pt x="0" y="1113749"/>
                    </a:lnTo>
                    <a:lnTo>
                      <a:pt x="0" y="615204"/>
                    </a:lnTo>
                    <a:lnTo>
                      <a:pt x="256049" y="615204"/>
                    </a:lnTo>
                    <a:lnTo>
                      <a:pt x="256049" y="720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43"/>
              <p:cNvSpPr/>
              <p:nvPr/>
            </p:nvSpPr>
            <p:spPr>
              <a:xfrm>
                <a:off x="4370090" y="2880935"/>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Oval 15"/>
              <p:cNvSpPr/>
              <p:nvPr/>
            </p:nvSpPr>
            <p:spPr>
              <a:xfrm>
                <a:off x="2021351" y="3531392"/>
                <a:ext cx="2050586" cy="2982878"/>
              </a:xfrm>
              <a:custGeom>
                <a:avLst/>
                <a:gdLst/>
                <a:ahLst/>
                <a:cxnLst/>
                <a:rect l="l" t="t" r="r" b="b"/>
                <a:pathLst>
                  <a:path w="2050586" h="2982878">
                    <a:moveTo>
                      <a:pt x="1051854" y="510196"/>
                    </a:moveTo>
                    <a:cubicBezTo>
                      <a:pt x="818915" y="514146"/>
                      <a:pt x="642809" y="709495"/>
                      <a:pt x="638909" y="1067081"/>
                    </a:cubicBezTo>
                    <a:cubicBezTo>
                      <a:pt x="635009" y="1424667"/>
                      <a:pt x="823791" y="1623966"/>
                      <a:pt x="1051854" y="1623966"/>
                    </a:cubicBezTo>
                    <a:cubicBezTo>
                      <a:pt x="1237304" y="1623966"/>
                      <a:pt x="1389689" y="1483481"/>
                      <a:pt x="1441801" y="1245336"/>
                    </a:cubicBezTo>
                    <a:lnTo>
                      <a:pt x="1441801" y="871896"/>
                    </a:lnTo>
                    <a:cubicBezTo>
                      <a:pt x="1390037" y="636468"/>
                      <a:pt x="1238194" y="507037"/>
                      <a:pt x="1051854" y="510196"/>
                    </a:cubicBezTo>
                    <a:close/>
                    <a:moveTo>
                      <a:pt x="922906" y="62"/>
                    </a:moveTo>
                    <a:cubicBezTo>
                      <a:pt x="1094124" y="2254"/>
                      <a:pt x="1286677" y="67187"/>
                      <a:pt x="1441801" y="211676"/>
                    </a:cubicBezTo>
                    <a:lnTo>
                      <a:pt x="1441801" y="59283"/>
                    </a:lnTo>
                    <a:lnTo>
                      <a:pt x="2050586" y="59283"/>
                    </a:lnTo>
                    <a:lnTo>
                      <a:pt x="2050586" y="2050529"/>
                    </a:lnTo>
                    <a:lnTo>
                      <a:pt x="2049824" y="2050529"/>
                    </a:lnTo>
                    <a:cubicBezTo>
                      <a:pt x="2042228" y="2324966"/>
                      <a:pt x="1914078" y="2586024"/>
                      <a:pt x="1741025" y="2740770"/>
                    </a:cubicBezTo>
                    <a:cubicBezTo>
                      <a:pt x="1565806" y="2897454"/>
                      <a:pt x="1260483" y="2963176"/>
                      <a:pt x="989743" y="2980332"/>
                    </a:cubicBezTo>
                    <a:cubicBezTo>
                      <a:pt x="696029" y="2998261"/>
                      <a:pt x="376391" y="2918595"/>
                      <a:pt x="186431" y="2833390"/>
                    </a:cubicBezTo>
                    <a:lnTo>
                      <a:pt x="315452" y="2340665"/>
                    </a:lnTo>
                    <a:cubicBezTo>
                      <a:pt x="472820" y="2417366"/>
                      <a:pt x="608780" y="2473080"/>
                      <a:pt x="769523" y="2498896"/>
                    </a:cubicBezTo>
                    <a:cubicBezTo>
                      <a:pt x="881706" y="2502874"/>
                      <a:pt x="1108687" y="2496171"/>
                      <a:pt x="1224291" y="2424065"/>
                    </a:cubicBezTo>
                    <a:cubicBezTo>
                      <a:pt x="1349420" y="2349578"/>
                      <a:pt x="1429412" y="2229849"/>
                      <a:pt x="1441713" y="2044829"/>
                    </a:cubicBezTo>
                    <a:cubicBezTo>
                      <a:pt x="1441742" y="2044829"/>
                      <a:pt x="1441772" y="2044829"/>
                      <a:pt x="1441801" y="2044829"/>
                    </a:cubicBezTo>
                    <a:lnTo>
                      <a:pt x="1441801" y="1865142"/>
                    </a:lnTo>
                    <a:cubicBezTo>
                      <a:pt x="1215364" y="2074903"/>
                      <a:pt x="921880" y="2106991"/>
                      <a:pt x="789556" y="2109742"/>
                    </a:cubicBezTo>
                    <a:cubicBezTo>
                      <a:pt x="560506" y="2114505"/>
                      <a:pt x="-3162" y="1870860"/>
                      <a:pt x="14" y="1066808"/>
                    </a:cubicBezTo>
                    <a:cubicBezTo>
                      <a:pt x="3189" y="262756"/>
                      <a:pt x="550982" y="-4699"/>
                      <a:pt x="922906" y="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Teardrop 10"/>
              <p:cNvSpPr/>
              <p:nvPr/>
            </p:nvSpPr>
            <p:spPr>
              <a:xfrm>
                <a:off x="6933888" y="3546707"/>
                <a:ext cx="1819195" cy="2078169"/>
              </a:xfrm>
              <a:custGeom>
                <a:avLst/>
                <a:gdLst/>
                <a:ahLst/>
                <a:cxnLst/>
                <a:rect l="l" t="t" r="r" b="b"/>
                <a:pathLst>
                  <a:path w="1819195" h="2078169">
                    <a:moveTo>
                      <a:pt x="1186796" y="1087595"/>
                    </a:moveTo>
                    <a:cubicBezTo>
                      <a:pt x="1113625" y="1090104"/>
                      <a:pt x="1058299" y="1092613"/>
                      <a:pt x="915050" y="1110177"/>
                    </a:cubicBezTo>
                    <a:cubicBezTo>
                      <a:pt x="712653" y="1132759"/>
                      <a:pt x="611934" y="1254340"/>
                      <a:pt x="610704" y="1401552"/>
                    </a:cubicBezTo>
                    <a:cubicBezTo>
                      <a:pt x="617261" y="1602596"/>
                      <a:pt x="782865" y="1640445"/>
                      <a:pt x="868331" y="1644000"/>
                    </a:cubicBezTo>
                    <a:cubicBezTo>
                      <a:pt x="1009257" y="1644000"/>
                      <a:pt x="1189411" y="1525823"/>
                      <a:pt x="1189411" y="1403702"/>
                    </a:cubicBezTo>
                    <a:close/>
                    <a:moveTo>
                      <a:pt x="918836" y="764"/>
                    </a:moveTo>
                    <a:cubicBezTo>
                      <a:pt x="1160938" y="11084"/>
                      <a:pt x="1410748" y="83418"/>
                      <a:pt x="1561827" y="205882"/>
                    </a:cubicBezTo>
                    <a:cubicBezTo>
                      <a:pt x="1712906" y="328347"/>
                      <a:pt x="1788347" y="549970"/>
                      <a:pt x="1782252" y="771155"/>
                    </a:cubicBezTo>
                    <a:lnTo>
                      <a:pt x="1781486" y="771131"/>
                    </a:lnTo>
                    <a:lnTo>
                      <a:pt x="1781486" y="1794503"/>
                    </a:lnTo>
                    <a:lnTo>
                      <a:pt x="1819195" y="2026546"/>
                    </a:lnTo>
                    <a:lnTo>
                      <a:pt x="1277253" y="2026546"/>
                    </a:lnTo>
                    <a:lnTo>
                      <a:pt x="1242709" y="1813981"/>
                    </a:lnTo>
                    <a:cubicBezTo>
                      <a:pt x="1117714" y="1972717"/>
                      <a:pt x="898491" y="2078169"/>
                      <a:pt x="665318" y="2078169"/>
                    </a:cubicBezTo>
                    <a:cubicBezTo>
                      <a:pt x="444604" y="2069173"/>
                      <a:pt x="16933" y="1973385"/>
                      <a:pt x="0" y="1464587"/>
                    </a:cubicBezTo>
                    <a:cubicBezTo>
                      <a:pt x="3175" y="1092025"/>
                      <a:pt x="263280" y="784330"/>
                      <a:pt x="785969" y="727180"/>
                    </a:cubicBezTo>
                    <a:cubicBezTo>
                      <a:pt x="1029946" y="697865"/>
                      <a:pt x="1110970" y="685122"/>
                      <a:pt x="1192076" y="678143"/>
                    </a:cubicBezTo>
                    <a:cubicBezTo>
                      <a:pt x="1182890" y="518370"/>
                      <a:pt x="1036964" y="440610"/>
                      <a:pt x="899685" y="412566"/>
                    </a:cubicBezTo>
                    <a:cubicBezTo>
                      <a:pt x="608510" y="393798"/>
                      <a:pt x="478098" y="442952"/>
                      <a:pt x="261013" y="553512"/>
                    </a:cubicBezTo>
                    <a:lnTo>
                      <a:pt x="164299" y="163213"/>
                    </a:lnTo>
                    <a:cubicBezTo>
                      <a:pt x="337912" y="93114"/>
                      <a:pt x="656164" y="-9890"/>
                      <a:pt x="918836" y="76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spTree>
    <p:extLst>
      <p:ext uri="{BB962C8B-B14F-4D97-AF65-F5344CB8AC3E}">
        <p14:creationId xmlns:p14="http://schemas.microsoft.com/office/powerpoint/2010/main" val="1296784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sclaimer General (English)">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7080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1"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3"/>
          <p:cNvSpPr txBox="1">
            <a:spLocks/>
          </p:cNvSpPr>
          <p:nvPr userDrawn="1"/>
        </p:nvSpPr>
        <p:spPr bwMode="gray">
          <a:xfrm>
            <a:off x="553847" y="1728787"/>
            <a:ext cx="5847863" cy="4860000"/>
          </a:xfrm>
          <a:prstGeom prst="rect">
            <a:avLst/>
          </a:prstGeom>
        </p:spPr>
        <p:txBody>
          <a:bodyPr vert="horz" wrap="square" lIns="0" tIns="0" rIns="0" bIns="0" rtlCol="0" anchor="b" anchorCtr="0">
            <a:noAutofit/>
          </a:bodyPr>
          <a:lstStyle>
            <a:lvl1pPr marL="0" indent="0" algn="l" defTabSz="1005083" rtl="0" eaLnBrk="1" latinLnBrk="0" hangingPunct="1">
              <a:lnSpc>
                <a:spcPct val="100000"/>
              </a:lnSpc>
              <a:spcBef>
                <a:spcPts val="600"/>
              </a:spcBef>
              <a:buFontTx/>
              <a:buNone/>
              <a:defRPr sz="1400" b="0" kern="1200">
                <a:solidFill>
                  <a:schemeClr val="tx2"/>
                </a:solidFill>
                <a:latin typeface="+mn-lt"/>
                <a:ea typeface="+mn-ea"/>
                <a:cs typeface="+mn-cs"/>
              </a:defRPr>
            </a:lvl1pPr>
            <a:lvl2pPr marL="0" indent="0" algn="l" defTabSz="1005083" rtl="0" eaLnBrk="1" latinLnBrk="0" hangingPunct="1">
              <a:lnSpc>
                <a:spcPct val="100000"/>
              </a:lnSpc>
              <a:spcBef>
                <a:spcPts val="600"/>
              </a:spcBef>
              <a:buFontTx/>
              <a:buNone/>
              <a:defRPr sz="1400" b="1" kern="1200">
                <a:solidFill>
                  <a:schemeClr val="accent3"/>
                </a:solidFill>
                <a:latin typeface="+mn-lt"/>
                <a:ea typeface="+mn-ea"/>
                <a:cs typeface="+mn-cs"/>
              </a:defRPr>
            </a:lvl2pPr>
            <a:lvl3pPr marL="18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3pPr>
            <a:lvl4pPr marL="36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4pPr>
            <a:lvl5pPr marL="54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5pPr>
            <a:lvl6pPr marL="2763979"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266520"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769062"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271604"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defTabSz="914400">
              <a:lnSpc>
                <a:spcPct val="110000"/>
              </a:lnSpc>
            </a:pPr>
            <a:r>
              <a:rPr lang="en-US" sz="900" dirty="0">
                <a:solidFill>
                  <a:schemeClr val="bg1">
                    <a:lumMod val="75000"/>
                  </a:schemeClr>
                </a:solidFill>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de/UeberUns for a more detailed description of DTTL and its member firms.</a:t>
            </a:r>
          </a:p>
          <a:p>
            <a:pPr defTabSz="914400">
              <a:lnSpc>
                <a:spcPct val="110000"/>
              </a:lnSpc>
            </a:pPr>
            <a:r>
              <a:rPr lang="en-US" sz="900" dirty="0">
                <a:solidFill>
                  <a:schemeClr val="bg1">
                    <a:lumMod val="75000"/>
                  </a:schemeClr>
                </a:solidFill>
              </a:rPr>
              <a:t>Deloitte provides audit, tax, consulting and financial advisory services to public and private clients spanning multiple industries; legal advisory services in Germany are provided by Deloitte Legal. With a globally connected network of member firms in more than 150 countries and territories, Deloitte brings world-class capabilities and high-quality service to clients, delivering the insights they need to address their most complex business challenges. Deloitte’s more than 200,000 professionals are committed to becoming the standard of excellence.</a:t>
            </a:r>
          </a:p>
          <a:p>
            <a:pPr defTabSz="914400">
              <a:lnSpc>
                <a:spcPct val="110000"/>
              </a:lnSpc>
            </a:pPr>
            <a:r>
              <a:rPr lang="en-US" sz="900" dirty="0">
                <a:solidFill>
                  <a:schemeClr val="bg1">
                    <a:lumMod val="75000"/>
                  </a:schemeClr>
                </a:solidFill>
              </a:rPr>
              <a:t>This presentation contains general information only, and none of Deloitte Digital GmbH or Deloitte Touche Tohmatsu Limited (“DTTL”), any of DTTL’s member firms, or any of the foregoing’s affiliates (collectively the “Deloitte Network”) are, by means of this presentation, rendering accounting, business, financial, investment, legal, tax, or other professional advice or services. In particular this presentation cannot be used as a substitute for such professional advice. No entity in the Deloitte Network shall be responsible for any loss whatsoever sustained by any person who relies on this presentation.</a:t>
            </a:r>
          </a:p>
          <a:p>
            <a:pPr defTabSz="914400">
              <a:lnSpc>
                <a:spcPct val="110000"/>
              </a:lnSpc>
            </a:pPr>
            <a:r>
              <a:rPr lang="en-US" sz="900" dirty="0">
                <a:solidFill>
                  <a:schemeClr val="bg1">
                    <a:lumMod val="75000"/>
                  </a:schemeClr>
                </a:solidFill>
              </a:rPr>
              <a:t>© 2015 Deloitte Digital GmbH</a:t>
            </a:r>
          </a:p>
        </p:txBody>
      </p:sp>
      <p:grpSp>
        <p:nvGrpSpPr>
          <p:cNvPr id="7" name="Group 6"/>
          <p:cNvGrpSpPr/>
          <p:nvPr userDrawn="1"/>
        </p:nvGrpSpPr>
        <p:grpSpPr>
          <a:xfrm>
            <a:off x="10251573" y="6015963"/>
            <a:ext cx="1361578" cy="526018"/>
            <a:chOff x="1006476" y="0"/>
            <a:chExt cx="15166973" cy="7211638"/>
          </a:xfrm>
          <a:solidFill>
            <a:schemeClr val="bg1"/>
          </a:solidFill>
        </p:grpSpPr>
        <p:grpSp>
          <p:nvGrpSpPr>
            <p:cNvPr id="10" name="Group 9"/>
            <p:cNvGrpSpPr/>
            <p:nvPr/>
          </p:nvGrpSpPr>
          <p:grpSpPr>
            <a:xfrm>
              <a:off x="1050026" y="0"/>
              <a:ext cx="15123423" cy="2811241"/>
              <a:chOff x="292101" y="403484"/>
              <a:chExt cx="14551023" cy="2704840"/>
            </a:xfrm>
            <a:grpFill/>
          </p:grpSpPr>
          <p:sp>
            <p:nvSpPr>
              <p:cNvPr id="20"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p:nvSpPr>
            <p:spPr>
              <a:xfrm>
                <a:off x="4933950" y="447675"/>
                <a:ext cx="644525" cy="2628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 name="Oval 27"/>
              <p:cNvSpPr/>
              <p:nvPr/>
            </p:nvSpPr>
            <p:spPr>
              <a:xfrm>
                <a:off x="14128749" y="2393949"/>
                <a:ext cx="714375" cy="7143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12" name="Group 11"/>
            <p:cNvGrpSpPr/>
            <p:nvPr/>
          </p:nvGrpSpPr>
          <p:grpSpPr>
            <a:xfrm>
              <a:off x="1006476" y="3535646"/>
              <a:ext cx="11165226" cy="3675992"/>
              <a:chOff x="-1506982" y="2838278"/>
              <a:chExt cx="11165226" cy="3675992"/>
            </a:xfrm>
            <a:grpFill/>
          </p:grpSpPr>
          <p:sp>
            <p:nvSpPr>
              <p:cNvPr id="13" name="Flowchart: Delay 6"/>
              <p:cNvSpPr/>
              <p:nvPr/>
            </p:nvSpPr>
            <p:spPr>
              <a:xfrm>
                <a:off x="-1506982" y="2838278"/>
                <a:ext cx="2373223" cy="2734977"/>
              </a:xfrm>
              <a:custGeom>
                <a:avLst/>
                <a:gdLst/>
                <a:ahLst/>
                <a:cxnLst/>
                <a:rect l="l" t="t" r="r" b="b"/>
                <a:pathLst>
                  <a:path w="2373223" h="2734977">
                    <a:moveTo>
                      <a:pt x="801462" y="542228"/>
                    </a:moveTo>
                    <a:cubicBezTo>
                      <a:pt x="768131" y="541817"/>
                      <a:pt x="760104" y="543372"/>
                      <a:pt x="655025" y="554586"/>
                    </a:cubicBezTo>
                    <a:lnTo>
                      <a:pt x="655025" y="2203302"/>
                    </a:lnTo>
                    <a:cubicBezTo>
                      <a:pt x="784080" y="2203302"/>
                      <a:pt x="817500" y="2209282"/>
                      <a:pt x="944423" y="2203302"/>
                    </a:cubicBezTo>
                    <a:cubicBezTo>
                      <a:pt x="1383490" y="2170407"/>
                      <a:pt x="1679558" y="1856007"/>
                      <a:pt x="1689355" y="1378944"/>
                    </a:cubicBezTo>
                    <a:cubicBezTo>
                      <a:pt x="1699152" y="901881"/>
                      <a:pt x="1339362" y="522496"/>
                      <a:pt x="915214" y="543428"/>
                    </a:cubicBezTo>
                    <a:cubicBezTo>
                      <a:pt x="850568" y="543428"/>
                      <a:pt x="821461" y="542474"/>
                      <a:pt x="801462" y="542228"/>
                    </a:cubicBezTo>
                    <a:close/>
                    <a:moveTo>
                      <a:pt x="809819" y="1363"/>
                    </a:moveTo>
                    <a:cubicBezTo>
                      <a:pt x="1782681" y="-32854"/>
                      <a:pt x="2398497" y="581163"/>
                      <a:pt x="2372427" y="1383107"/>
                    </a:cubicBezTo>
                    <a:cubicBezTo>
                      <a:pt x="2346356" y="2185050"/>
                      <a:pt x="1895110" y="2676861"/>
                      <a:pt x="888030" y="2730632"/>
                    </a:cubicBezTo>
                    <a:cubicBezTo>
                      <a:pt x="596908" y="2740409"/>
                      <a:pt x="296010" y="2730631"/>
                      <a:pt x="0" y="2730631"/>
                    </a:cubicBezTo>
                    <a:lnTo>
                      <a:pt x="0" y="35581"/>
                    </a:lnTo>
                    <a:cubicBezTo>
                      <a:pt x="385628" y="6252"/>
                      <a:pt x="414415" y="1363"/>
                      <a:pt x="809819" y="13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p:nvSpPr>
            <p:spPr>
              <a:xfrm>
                <a:off x="8998170" y="2880935"/>
                <a:ext cx="660074" cy="26923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Rectangle 37"/>
              <p:cNvSpPr/>
              <p:nvPr/>
            </p:nvSpPr>
            <p:spPr>
              <a:xfrm>
                <a:off x="1129670" y="2880934"/>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39"/>
              <p:cNvSpPr/>
              <p:nvPr/>
            </p:nvSpPr>
            <p:spPr>
              <a:xfrm>
                <a:off x="5312408" y="2975994"/>
                <a:ext cx="1405937" cy="2648882"/>
              </a:xfrm>
              <a:custGeom>
                <a:avLst/>
                <a:gdLst/>
                <a:ahLst/>
                <a:cxnLst/>
                <a:rect l="l" t="t" r="r" b="b"/>
                <a:pathLst>
                  <a:path w="1405937" h="2648882">
                    <a:moveTo>
                      <a:pt x="910735" y="0"/>
                    </a:moveTo>
                    <a:lnTo>
                      <a:pt x="910735" y="615204"/>
                    </a:lnTo>
                    <a:lnTo>
                      <a:pt x="1342826" y="615204"/>
                    </a:lnTo>
                    <a:lnTo>
                      <a:pt x="1342826" y="1113749"/>
                    </a:lnTo>
                    <a:lnTo>
                      <a:pt x="910735" y="1113749"/>
                    </a:lnTo>
                    <a:lnTo>
                      <a:pt x="910735" y="1398929"/>
                    </a:lnTo>
                    <a:lnTo>
                      <a:pt x="909291" y="1398770"/>
                    </a:lnTo>
                    <a:lnTo>
                      <a:pt x="909291" y="1852069"/>
                    </a:lnTo>
                    <a:cubicBezTo>
                      <a:pt x="913627" y="1946443"/>
                      <a:pt x="951741" y="2035139"/>
                      <a:pt x="1043315" y="2082050"/>
                    </a:cubicBezTo>
                    <a:cubicBezTo>
                      <a:pt x="1213294" y="2123725"/>
                      <a:pt x="1275245" y="2096758"/>
                      <a:pt x="1405937" y="2067341"/>
                    </a:cubicBezTo>
                    <a:lnTo>
                      <a:pt x="1405937" y="2587949"/>
                    </a:lnTo>
                    <a:cubicBezTo>
                      <a:pt x="1247419" y="2627685"/>
                      <a:pt x="816383" y="2704190"/>
                      <a:pt x="586666" y="2584585"/>
                    </a:cubicBezTo>
                    <a:cubicBezTo>
                      <a:pt x="365715" y="2484384"/>
                      <a:pt x="274877" y="2239548"/>
                      <a:pt x="255234" y="1989810"/>
                    </a:cubicBezTo>
                    <a:lnTo>
                      <a:pt x="256050" y="1989628"/>
                    </a:lnTo>
                    <a:lnTo>
                      <a:pt x="256050" y="1326914"/>
                    </a:lnTo>
                    <a:lnTo>
                      <a:pt x="256049" y="1326914"/>
                    </a:lnTo>
                    <a:lnTo>
                      <a:pt x="256049" y="1113749"/>
                    </a:lnTo>
                    <a:lnTo>
                      <a:pt x="0" y="1113749"/>
                    </a:lnTo>
                    <a:lnTo>
                      <a:pt x="0" y="615204"/>
                    </a:lnTo>
                    <a:lnTo>
                      <a:pt x="256049" y="615204"/>
                    </a:lnTo>
                    <a:lnTo>
                      <a:pt x="256049" y="720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43"/>
              <p:cNvSpPr/>
              <p:nvPr/>
            </p:nvSpPr>
            <p:spPr>
              <a:xfrm>
                <a:off x="4370090" y="2880935"/>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Oval 15"/>
              <p:cNvSpPr/>
              <p:nvPr/>
            </p:nvSpPr>
            <p:spPr>
              <a:xfrm>
                <a:off x="2021351" y="3531392"/>
                <a:ext cx="2050586" cy="2982878"/>
              </a:xfrm>
              <a:custGeom>
                <a:avLst/>
                <a:gdLst/>
                <a:ahLst/>
                <a:cxnLst/>
                <a:rect l="l" t="t" r="r" b="b"/>
                <a:pathLst>
                  <a:path w="2050586" h="2982878">
                    <a:moveTo>
                      <a:pt x="1051854" y="510196"/>
                    </a:moveTo>
                    <a:cubicBezTo>
                      <a:pt x="818915" y="514146"/>
                      <a:pt x="642809" y="709495"/>
                      <a:pt x="638909" y="1067081"/>
                    </a:cubicBezTo>
                    <a:cubicBezTo>
                      <a:pt x="635009" y="1424667"/>
                      <a:pt x="823791" y="1623966"/>
                      <a:pt x="1051854" y="1623966"/>
                    </a:cubicBezTo>
                    <a:cubicBezTo>
                      <a:pt x="1237304" y="1623966"/>
                      <a:pt x="1389689" y="1483481"/>
                      <a:pt x="1441801" y="1245336"/>
                    </a:cubicBezTo>
                    <a:lnTo>
                      <a:pt x="1441801" y="871896"/>
                    </a:lnTo>
                    <a:cubicBezTo>
                      <a:pt x="1390037" y="636468"/>
                      <a:pt x="1238194" y="507037"/>
                      <a:pt x="1051854" y="510196"/>
                    </a:cubicBezTo>
                    <a:close/>
                    <a:moveTo>
                      <a:pt x="922906" y="62"/>
                    </a:moveTo>
                    <a:cubicBezTo>
                      <a:pt x="1094124" y="2254"/>
                      <a:pt x="1286677" y="67187"/>
                      <a:pt x="1441801" y="211676"/>
                    </a:cubicBezTo>
                    <a:lnTo>
                      <a:pt x="1441801" y="59283"/>
                    </a:lnTo>
                    <a:lnTo>
                      <a:pt x="2050586" y="59283"/>
                    </a:lnTo>
                    <a:lnTo>
                      <a:pt x="2050586" y="2050529"/>
                    </a:lnTo>
                    <a:lnTo>
                      <a:pt x="2049824" y="2050529"/>
                    </a:lnTo>
                    <a:cubicBezTo>
                      <a:pt x="2042228" y="2324966"/>
                      <a:pt x="1914078" y="2586024"/>
                      <a:pt x="1741025" y="2740770"/>
                    </a:cubicBezTo>
                    <a:cubicBezTo>
                      <a:pt x="1565806" y="2897454"/>
                      <a:pt x="1260483" y="2963176"/>
                      <a:pt x="989743" y="2980332"/>
                    </a:cubicBezTo>
                    <a:cubicBezTo>
                      <a:pt x="696029" y="2998261"/>
                      <a:pt x="376391" y="2918595"/>
                      <a:pt x="186431" y="2833390"/>
                    </a:cubicBezTo>
                    <a:lnTo>
                      <a:pt x="315452" y="2340665"/>
                    </a:lnTo>
                    <a:cubicBezTo>
                      <a:pt x="472820" y="2417366"/>
                      <a:pt x="608780" y="2473080"/>
                      <a:pt x="769523" y="2498896"/>
                    </a:cubicBezTo>
                    <a:cubicBezTo>
                      <a:pt x="881706" y="2502874"/>
                      <a:pt x="1108687" y="2496171"/>
                      <a:pt x="1224291" y="2424065"/>
                    </a:cubicBezTo>
                    <a:cubicBezTo>
                      <a:pt x="1349420" y="2349578"/>
                      <a:pt x="1429412" y="2229849"/>
                      <a:pt x="1441713" y="2044829"/>
                    </a:cubicBezTo>
                    <a:cubicBezTo>
                      <a:pt x="1441742" y="2044829"/>
                      <a:pt x="1441772" y="2044829"/>
                      <a:pt x="1441801" y="2044829"/>
                    </a:cubicBezTo>
                    <a:lnTo>
                      <a:pt x="1441801" y="1865142"/>
                    </a:lnTo>
                    <a:cubicBezTo>
                      <a:pt x="1215364" y="2074903"/>
                      <a:pt x="921880" y="2106991"/>
                      <a:pt x="789556" y="2109742"/>
                    </a:cubicBezTo>
                    <a:cubicBezTo>
                      <a:pt x="560506" y="2114505"/>
                      <a:pt x="-3162" y="1870860"/>
                      <a:pt x="14" y="1066808"/>
                    </a:cubicBezTo>
                    <a:cubicBezTo>
                      <a:pt x="3189" y="262756"/>
                      <a:pt x="550982" y="-4699"/>
                      <a:pt x="922906" y="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Teardrop 10"/>
              <p:cNvSpPr/>
              <p:nvPr/>
            </p:nvSpPr>
            <p:spPr>
              <a:xfrm>
                <a:off x="6933888" y="3546707"/>
                <a:ext cx="1819195" cy="2078169"/>
              </a:xfrm>
              <a:custGeom>
                <a:avLst/>
                <a:gdLst/>
                <a:ahLst/>
                <a:cxnLst/>
                <a:rect l="l" t="t" r="r" b="b"/>
                <a:pathLst>
                  <a:path w="1819195" h="2078169">
                    <a:moveTo>
                      <a:pt x="1186796" y="1087595"/>
                    </a:moveTo>
                    <a:cubicBezTo>
                      <a:pt x="1113625" y="1090104"/>
                      <a:pt x="1058299" y="1092613"/>
                      <a:pt x="915050" y="1110177"/>
                    </a:cubicBezTo>
                    <a:cubicBezTo>
                      <a:pt x="712653" y="1132759"/>
                      <a:pt x="611934" y="1254340"/>
                      <a:pt x="610704" y="1401552"/>
                    </a:cubicBezTo>
                    <a:cubicBezTo>
                      <a:pt x="617261" y="1602596"/>
                      <a:pt x="782865" y="1640445"/>
                      <a:pt x="868331" y="1644000"/>
                    </a:cubicBezTo>
                    <a:cubicBezTo>
                      <a:pt x="1009257" y="1644000"/>
                      <a:pt x="1189411" y="1525823"/>
                      <a:pt x="1189411" y="1403702"/>
                    </a:cubicBezTo>
                    <a:close/>
                    <a:moveTo>
                      <a:pt x="918836" y="764"/>
                    </a:moveTo>
                    <a:cubicBezTo>
                      <a:pt x="1160938" y="11084"/>
                      <a:pt x="1410748" y="83418"/>
                      <a:pt x="1561827" y="205882"/>
                    </a:cubicBezTo>
                    <a:cubicBezTo>
                      <a:pt x="1712906" y="328347"/>
                      <a:pt x="1788347" y="549970"/>
                      <a:pt x="1782252" y="771155"/>
                    </a:cubicBezTo>
                    <a:lnTo>
                      <a:pt x="1781486" y="771131"/>
                    </a:lnTo>
                    <a:lnTo>
                      <a:pt x="1781486" y="1794503"/>
                    </a:lnTo>
                    <a:lnTo>
                      <a:pt x="1819195" y="2026546"/>
                    </a:lnTo>
                    <a:lnTo>
                      <a:pt x="1277253" y="2026546"/>
                    </a:lnTo>
                    <a:lnTo>
                      <a:pt x="1242709" y="1813981"/>
                    </a:lnTo>
                    <a:cubicBezTo>
                      <a:pt x="1117714" y="1972717"/>
                      <a:pt x="898491" y="2078169"/>
                      <a:pt x="665318" y="2078169"/>
                    </a:cubicBezTo>
                    <a:cubicBezTo>
                      <a:pt x="444604" y="2069173"/>
                      <a:pt x="16933" y="1973385"/>
                      <a:pt x="0" y="1464587"/>
                    </a:cubicBezTo>
                    <a:cubicBezTo>
                      <a:pt x="3175" y="1092025"/>
                      <a:pt x="263280" y="784330"/>
                      <a:pt x="785969" y="727180"/>
                    </a:cubicBezTo>
                    <a:cubicBezTo>
                      <a:pt x="1029946" y="697865"/>
                      <a:pt x="1110970" y="685122"/>
                      <a:pt x="1192076" y="678143"/>
                    </a:cubicBezTo>
                    <a:cubicBezTo>
                      <a:pt x="1182890" y="518370"/>
                      <a:pt x="1036964" y="440610"/>
                      <a:pt x="899685" y="412566"/>
                    </a:cubicBezTo>
                    <a:cubicBezTo>
                      <a:pt x="608510" y="393798"/>
                      <a:pt x="478098" y="442952"/>
                      <a:pt x="261013" y="553512"/>
                    </a:cubicBezTo>
                    <a:lnTo>
                      <a:pt x="164299" y="163213"/>
                    </a:lnTo>
                    <a:cubicBezTo>
                      <a:pt x="337912" y="93114"/>
                      <a:pt x="656164" y="-9890"/>
                      <a:pt x="918836" y="76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spTree>
    <p:extLst>
      <p:ext uri="{BB962C8B-B14F-4D97-AF65-F5344CB8AC3E}">
        <p14:creationId xmlns:p14="http://schemas.microsoft.com/office/powerpoint/2010/main" val="2465148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sclaimer Results (English)">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907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3"/>
          <p:cNvSpPr txBox="1">
            <a:spLocks/>
          </p:cNvSpPr>
          <p:nvPr userDrawn="1"/>
        </p:nvSpPr>
        <p:spPr bwMode="gray">
          <a:xfrm>
            <a:off x="553847" y="1728789"/>
            <a:ext cx="5852816" cy="4860000"/>
          </a:xfrm>
          <a:prstGeom prst="rect">
            <a:avLst/>
          </a:prstGeom>
        </p:spPr>
        <p:txBody>
          <a:bodyPr vert="horz" wrap="square" lIns="0" tIns="0" rIns="0" bIns="0" rtlCol="0" anchor="b" anchorCtr="0">
            <a:noAutofit/>
          </a:bodyPr>
          <a:lstStyle>
            <a:lvl1pPr marL="0" indent="0" algn="l" defTabSz="1005083" rtl="0" eaLnBrk="1" latinLnBrk="0" hangingPunct="1">
              <a:lnSpc>
                <a:spcPct val="100000"/>
              </a:lnSpc>
              <a:spcBef>
                <a:spcPts val="600"/>
              </a:spcBef>
              <a:buFontTx/>
              <a:buNone/>
              <a:defRPr sz="1400" b="0" kern="1200">
                <a:solidFill>
                  <a:schemeClr val="tx2"/>
                </a:solidFill>
                <a:latin typeface="+mn-lt"/>
                <a:ea typeface="+mn-ea"/>
                <a:cs typeface="+mn-cs"/>
              </a:defRPr>
            </a:lvl1pPr>
            <a:lvl2pPr marL="0" indent="0" algn="l" defTabSz="1005083" rtl="0" eaLnBrk="1" latinLnBrk="0" hangingPunct="1">
              <a:lnSpc>
                <a:spcPct val="100000"/>
              </a:lnSpc>
              <a:spcBef>
                <a:spcPts val="600"/>
              </a:spcBef>
              <a:buFontTx/>
              <a:buNone/>
              <a:defRPr sz="1400" b="1" kern="1200">
                <a:solidFill>
                  <a:schemeClr val="accent3"/>
                </a:solidFill>
                <a:latin typeface="+mn-lt"/>
                <a:ea typeface="+mn-ea"/>
                <a:cs typeface="+mn-cs"/>
              </a:defRPr>
            </a:lvl2pPr>
            <a:lvl3pPr marL="18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3pPr>
            <a:lvl4pPr marL="36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4pPr>
            <a:lvl5pPr marL="54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5pPr>
            <a:lvl6pPr marL="2763979"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266520"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769062"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271604"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defTabSz="914400">
              <a:lnSpc>
                <a:spcPct val="110000"/>
              </a:lnSpc>
            </a:pPr>
            <a:r>
              <a:rPr lang="en-US" sz="900" dirty="0">
                <a:solidFill>
                  <a:schemeClr val="bg1">
                    <a:lumMod val="75000"/>
                  </a:schemeClr>
                </a:solidFill>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de/UeberUns for a more detailed description of DTTL and its member firms.</a:t>
            </a:r>
          </a:p>
          <a:p>
            <a:pPr defTabSz="914400">
              <a:lnSpc>
                <a:spcPct val="110000"/>
              </a:lnSpc>
            </a:pPr>
            <a:r>
              <a:rPr lang="en-US" sz="900" dirty="0">
                <a:solidFill>
                  <a:schemeClr val="bg1">
                    <a:lumMod val="75000"/>
                  </a:schemeClr>
                </a:solidFill>
              </a:rPr>
              <a:t>Deloitte provides audit, tax, consulting and financial advisory services to public and private clients spanning multiple industries; legal advisory services in Germany are provided by Deloitte Legal. With a globally connected network of member firms in more than 150 countries and territories, Deloitte brings world-class capabilities and high-quality service to clients, delivering the insights they need to address their most complex business challenges. Deloitte’s more than 200,000 professionals are committed to becoming the standard of excellence.</a:t>
            </a:r>
          </a:p>
          <a:p>
            <a:pPr defTabSz="914400">
              <a:lnSpc>
                <a:spcPct val="110000"/>
              </a:lnSpc>
            </a:pPr>
            <a:r>
              <a:rPr lang="en-US" sz="900" dirty="0">
                <a:solidFill>
                  <a:schemeClr val="bg1">
                    <a:lumMod val="75000"/>
                  </a:schemeClr>
                </a:solidFill>
              </a:rPr>
              <a:t>This presentation has been solely prepared for the client in accordance with the agreed engagement letter. The presentation shall be treated as confidential. Any disclosure to third parties requires our prior express written consent, except to the extent such disclosure by the client is required by law. Unless otherwise expressly agreed in writing, no person other than the client is entitled to place reliance on the presentation or to derive any rights from the presentation. The maximum liability amount agreed with the client shall be owed altogether only once; as such the client and any third parties are joint and several creditors (Gesamtgläubiger). The presentation has been prepared on the basis of the information provided by the client, unless otherwise agreed with the client we have not verified such information as to its accuracy and completeness.</a:t>
            </a:r>
          </a:p>
          <a:p>
            <a:pPr defTabSz="914400">
              <a:lnSpc>
                <a:spcPct val="110000"/>
              </a:lnSpc>
            </a:pPr>
            <a:r>
              <a:rPr lang="en-US" sz="900" dirty="0">
                <a:solidFill>
                  <a:schemeClr val="bg1">
                    <a:lumMod val="75000"/>
                  </a:schemeClr>
                </a:solidFill>
              </a:rPr>
              <a:t>© 2015 Deloitte Digital GmbH</a:t>
            </a:r>
          </a:p>
        </p:txBody>
      </p:sp>
      <p:grpSp>
        <p:nvGrpSpPr>
          <p:cNvPr id="7" name="Group 6"/>
          <p:cNvGrpSpPr/>
          <p:nvPr userDrawn="1"/>
        </p:nvGrpSpPr>
        <p:grpSpPr>
          <a:xfrm>
            <a:off x="10251573" y="6015963"/>
            <a:ext cx="1361578" cy="526018"/>
            <a:chOff x="1006476" y="0"/>
            <a:chExt cx="15166973" cy="7211638"/>
          </a:xfrm>
          <a:solidFill>
            <a:schemeClr val="bg1"/>
          </a:solidFill>
        </p:grpSpPr>
        <p:grpSp>
          <p:nvGrpSpPr>
            <p:cNvPr id="10" name="Group 9"/>
            <p:cNvGrpSpPr/>
            <p:nvPr/>
          </p:nvGrpSpPr>
          <p:grpSpPr>
            <a:xfrm>
              <a:off x="1050026" y="0"/>
              <a:ext cx="15123423" cy="2811241"/>
              <a:chOff x="292101" y="403484"/>
              <a:chExt cx="14551023" cy="2704840"/>
            </a:xfrm>
            <a:grpFill/>
          </p:grpSpPr>
          <p:sp>
            <p:nvSpPr>
              <p:cNvPr id="20" name="Chord 11"/>
              <p:cNvSpPr/>
              <p:nvPr/>
            </p:nvSpPr>
            <p:spPr>
              <a:xfrm rot="5400000">
                <a:off x="2716039" y="1178702"/>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2"/>
                    </a:lnTo>
                    <a:cubicBezTo>
                      <a:pt x="1629623" y="1117450"/>
                      <a:pt x="1549582" y="547709"/>
                      <a:pt x="1448204" y="212686"/>
                    </a:cubicBezTo>
                    <a:lnTo>
                      <a:pt x="1891117" y="113864"/>
                    </a:lnTo>
                    <a:cubicBezTo>
                      <a:pt x="2014942" y="349607"/>
                      <a:pt x="2067329" y="923489"/>
                      <a:pt x="1948267" y="1228288"/>
                    </a:cubicBezTo>
                    <a:cubicBezTo>
                      <a:pt x="1863064" y="1438925"/>
                      <a:pt x="1688476" y="1750713"/>
                      <a:pt x="1206984" y="1819346"/>
                    </a:cubicBezTo>
                    <a:cubicBezTo>
                      <a:pt x="1206980" y="1819903"/>
                      <a:pt x="1206981" y="1820461"/>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Chord 33"/>
              <p:cNvSpPr/>
              <p:nvPr/>
            </p:nvSpPr>
            <p:spPr>
              <a:xfrm rot="5400000">
                <a:off x="11986650" y="1178703"/>
                <a:ext cx="2015271" cy="1833887"/>
              </a:xfrm>
              <a:custGeom>
                <a:avLst/>
                <a:gdLst/>
                <a:ahLst/>
                <a:cxnLst/>
                <a:rect l="l" t="t" r="r" b="b"/>
                <a:pathLst>
                  <a:path w="2015271" h="1833887">
                    <a:moveTo>
                      <a:pt x="448084" y="908145"/>
                    </a:moveTo>
                    <a:cubicBezTo>
                      <a:pt x="448859" y="1081287"/>
                      <a:pt x="597996" y="1221235"/>
                      <a:pt x="781634" y="1221143"/>
                    </a:cubicBezTo>
                    <a:lnTo>
                      <a:pt x="779132" y="592501"/>
                    </a:lnTo>
                    <a:cubicBezTo>
                      <a:pt x="595377" y="593709"/>
                      <a:pt x="447308" y="734887"/>
                      <a:pt x="448084" y="908145"/>
                    </a:cubicBezTo>
                    <a:close/>
                    <a:moveTo>
                      <a:pt x="688" y="925900"/>
                    </a:moveTo>
                    <a:cubicBezTo>
                      <a:pt x="-5101" y="764959"/>
                      <a:pt x="25537" y="597862"/>
                      <a:pt x="95275" y="449416"/>
                    </a:cubicBezTo>
                    <a:cubicBezTo>
                      <a:pt x="254876" y="169694"/>
                      <a:pt x="541635" y="-74260"/>
                      <a:pt x="1210088" y="20990"/>
                    </a:cubicBezTo>
                    <a:lnTo>
                      <a:pt x="1208037" y="1209601"/>
                    </a:lnTo>
                    <a:cubicBezTo>
                      <a:pt x="1629623" y="1117450"/>
                      <a:pt x="1549582" y="547709"/>
                      <a:pt x="1448204" y="212685"/>
                    </a:cubicBezTo>
                    <a:lnTo>
                      <a:pt x="1891117" y="113863"/>
                    </a:lnTo>
                    <a:cubicBezTo>
                      <a:pt x="2014942" y="349606"/>
                      <a:pt x="2067329" y="923488"/>
                      <a:pt x="1948267" y="1228287"/>
                    </a:cubicBezTo>
                    <a:cubicBezTo>
                      <a:pt x="1863064" y="1438925"/>
                      <a:pt x="1688476" y="1750713"/>
                      <a:pt x="1206984" y="1819345"/>
                    </a:cubicBezTo>
                    <a:cubicBezTo>
                      <a:pt x="1206980" y="1819903"/>
                      <a:pt x="1206981" y="1820460"/>
                      <a:pt x="1206981" y="1821018"/>
                    </a:cubicBezTo>
                    <a:cubicBezTo>
                      <a:pt x="633772" y="1897814"/>
                      <a:pt x="278555" y="1616265"/>
                      <a:pt x="124668" y="1365452"/>
                    </a:cubicBezTo>
                    <a:cubicBezTo>
                      <a:pt x="48695" y="1241627"/>
                      <a:pt x="6478" y="1086841"/>
                      <a:pt x="688" y="9259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Flowchart: Delay 6"/>
              <p:cNvSpPr/>
              <p:nvPr/>
            </p:nvSpPr>
            <p:spPr>
              <a:xfrm>
                <a:off x="292101" y="403484"/>
                <a:ext cx="2312176" cy="2664625"/>
              </a:xfrm>
              <a:custGeom>
                <a:avLst/>
                <a:gdLst/>
                <a:ahLst/>
                <a:cxnLst/>
                <a:rect l="l" t="t" r="r" b="b"/>
                <a:pathLst>
                  <a:path w="2312176" h="2664625">
                    <a:moveTo>
                      <a:pt x="780846" y="528280"/>
                    </a:moveTo>
                    <a:cubicBezTo>
                      <a:pt x="748373" y="527880"/>
                      <a:pt x="740552" y="529395"/>
                      <a:pt x="638176" y="540320"/>
                    </a:cubicBezTo>
                    <a:lnTo>
                      <a:pt x="638176" y="2146626"/>
                    </a:lnTo>
                    <a:cubicBezTo>
                      <a:pt x="763911" y="2146626"/>
                      <a:pt x="796472" y="2152453"/>
                      <a:pt x="920130" y="2146626"/>
                    </a:cubicBezTo>
                    <a:cubicBezTo>
                      <a:pt x="1347903" y="2114577"/>
                      <a:pt x="1636355" y="1808265"/>
                      <a:pt x="1645900" y="1343474"/>
                    </a:cubicBezTo>
                    <a:cubicBezTo>
                      <a:pt x="1655445" y="878682"/>
                      <a:pt x="1304910" y="509056"/>
                      <a:pt x="891672" y="529450"/>
                    </a:cubicBezTo>
                    <a:cubicBezTo>
                      <a:pt x="828690" y="529450"/>
                      <a:pt x="800330" y="528520"/>
                      <a:pt x="780846" y="528280"/>
                    </a:cubicBezTo>
                    <a:close/>
                    <a:moveTo>
                      <a:pt x="788988" y="1328"/>
                    </a:moveTo>
                    <a:cubicBezTo>
                      <a:pt x="1736825" y="-32009"/>
                      <a:pt x="2336800" y="566214"/>
                      <a:pt x="2311400" y="1347529"/>
                    </a:cubicBezTo>
                    <a:cubicBezTo>
                      <a:pt x="2286000" y="2128844"/>
                      <a:pt x="1846362" y="2608004"/>
                      <a:pt x="865187" y="2660392"/>
                    </a:cubicBezTo>
                    <a:cubicBezTo>
                      <a:pt x="581554" y="2669917"/>
                      <a:pt x="288396" y="2660391"/>
                      <a:pt x="0" y="2660391"/>
                    </a:cubicBezTo>
                    <a:lnTo>
                      <a:pt x="0" y="34666"/>
                    </a:lnTo>
                    <a:cubicBezTo>
                      <a:pt x="375708" y="6091"/>
                      <a:pt x="403755" y="1328"/>
                      <a:pt x="788988" y="13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p:nvSpPr>
            <p:spPr>
              <a:xfrm>
                <a:off x="4933950" y="447675"/>
                <a:ext cx="644525" cy="2628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Oval 15"/>
              <p:cNvSpPr/>
              <p:nvPr/>
            </p:nvSpPr>
            <p:spPr>
              <a:xfrm>
                <a:off x="5879163" y="1090512"/>
                <a:ext cx="2017064" cy="2014640"/>
              </a:xfrm>
              <a:custGeom>
                <a:avLst/>
                <a:gdLst/>
                <a:ahLst/>
                <a:cxnLst/>
                <a:rect l="l" t="t" r="r" b="b"/>
                <a:pathLst>
                  <a:path w="2017064" h="2014640">
                    <a:moveTo>
                      <a:pt x="1003000" y="481862"/>
                    </a:moveTo>
                    <a:cubicBezTo>
                      <a:pt x="808426" y="485634"/>
                      <a:pt x="661325" y="672196"/>
                      <a:pt x="658068" y="1013697"/>
                    </a:cubicBezTo>
                    <a:cubicBezTo>
                      <a:pt x="654809" y="1355198"/>
                      <a:pt x="812499" y="1545532"/>
                      <a:pt x="1003000" y="1545532"/>
                    </a:cubicBezTo>
                    <a:cubicBezTo>
                      <a:pt x="1193501" y="1545532"/>
                      <a:pt x="1342231" y="1342626"/>
                      <a:pt x="1347932" y="1013697"/>
                    </a:cubicBezTo>
                    <a:cubicBezTo>
                      <a:pt x="1347118" y="672196"/>
                      <a:pt x="1197573" y="478090"/>
                      <a:pt x="1003000" y="481862"/>
                    </a:cubicBezTo>
                    <a:close/>
                    <a:moveTo>
                      <a:pt x="1008604" y="102"/>
                    </a:moveTo>
                    <a:cubicBezTo>
                      <a:pt x="1577468" y="-7042"/>
                      <a:pt x="2014683" y="360584"/>
                      <a:pt x="2017064" y="1007371"/>
                    </a:cubicBezTo>
                    <a:cubicBezTo>
                      <a:pt x="2000395" y="1630345"/>
                      <a:pt x="1565561" y="2014640"/>
                      <a:pt x="1008604" y="2014640"/>
                    </a:cubicBezTo>
                    <a:cubicBezTo>
                      <a:pt x="451647" y="2014640"/>
                      <a:pt x="-9381" y="1654157"/>
                      <a:pt x="144" y="1007371"/>
                    </a:cubicBezTo>
                    <a:cubicBezTo>
                      <a:pt x="9669" y="360585"/>
                      <a:pt x="439740" y="7246"/>
                      <a:pt x="1008604" y="10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19"/>
              <p:cNvSpPr/>
              <p:nvPr/>
            </p:nvSpPr>
            <p:spPr>
              <a:xfrm>
                <a:off x="8165782" y="442912"/>
                <a:ext cx="658812" cy="2633662"/>
              </a:xfrm>
              <a:custGeom>
                <a:avLst/>
                <a:gdLst/>
                <a:ahLst/>
                <a:cxnLst/>
                <a:rect l="l" t="t" r="r" b="b"/>
                <a:pathLst>
                  <a:path w="658812" h="2633662">
                    <a:moveTo>
                      <a:pt x="14287" y="685800"/>
                    </a:moveTo>
                    <a:lnTo>
                      <a:pt x="658812" y="685800"/>
                    </a:lnTo>
                    <a:lnTo>
                      <a:pt x="658812" y="2633662"/>
                    </a:lnTo>
                    <a:lnTo>
                      <a:pt x="14287" y="2633662"/>
                    </a:lnTo>
                    <a:close/>
                    <a:moveTo>
                      <a:pt x="0" y="0"/>
                    </a:moveTo>
                    <a:lnTo>
                      <a:pt x="644525" y="0"/>
                    </a:lnTo>
                    <a:lnTo>
                      <a:pt x="644525" y="509587"/>
                    </a:lnTo>
                    <a:lnTo>
                      <a:pt x="0" y="50958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Trapezoid 16"/>
              <p:cNvSpPr/>
              <p:nvPr/>
            </p:nvSpPr>
            <p:spPr>
              <a:xfrm rot="16200000">
                <a:off x="998003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Trapezoid 27"/>
              <p:cNvSpPr/>
              <p:nvPr/>
            </p:nvSpPr>
            <p:spPr>
              <a:xfrm rot="16200000">
                <a:off x="8488487" y="1134939"/>
                <a:ext cx="2573089" cy="1363663"/>
              </a:xfrm>
              <a:custGeom>
                <a:avLst/>
                <a:gdLst/>
                <a:ahLst/>
                <a:cxnLst/>
                <a:rect l="l" t="t" r="r" b="b"/>
                <a:pathLst>
                  <a:path w="2573089" h="1363663">
                    <a:moveTo>
                      <a:pt x="2573089" y="883350"/>
                    </a:moveTo>
                    <a:lnTo>
                      <a:pt x="1975489" y="883350"/>
                    </a:lnTo>
                    <a:lnTo>
                      <a:pt x="1975489" y="1302450"/>
                    </a:lnTo>
                    <a:lnTo>
                      <a:pt x="1491208" y="1302450"/>
                    </a:lnTo>
                    <a:lnTo>
                      <a:pt x="1491208" y="883350"/>
                    </a:lnTo>
                    <a:lnTo>
                      <a:pt x="1214189" y="883350"/>
                    </a:lnTo>
                    <a:lnTo>
                      <a:pt x="1214343" y="881950"/>
                    </a:lnTo>
                    <a:lnTo>
                      <a:pt x="774018" y="881950"/>
                    </a:lnTo>
                    <a:cubicBezTo>
                      <a:pt x="682343" y="886155"/>
                      <a:pt x="596183" y="923122"/>
                      <a:pt x="550612" y="1011945"/>
                    </a:cubicBezTo>
                    <a:cubicBezTo>
                      <a:pt x="510130" y="1176813"/>
                      <a:pt x="536325" y="1236901"/>
                      <a:pt x="564901" y="1363663"/>
                    </a:cubicBezTo>
                    <a:lnTo>
                      <a:pt x="59189" y="1363663"/>
                    </a:lnTo>
                    <a:cubicBezTo>
                      <a:pt x="20590" y="1209912"/>
                      <a:pt x="-53726" y="791836"/>
                      <a:pt x="62457" y="569026"/>
                    </a:cubicBezTo>
                    <a:cubicBezTo>
                      <a:pt x="159791" y="354718"/>
                      <a:pt x="397621" y="266612"/>
                      <a:pt x="640213" y="247560"/>
                    </a:cubicBezTo>
                    <a:lnTo>
                      <a:pt x="640390" y="248350"/>
                    </a:lnTo>
                    <a:lnTo>
                      <a:pt x="1284039" y="248350"/>
                    </a:lnTo>
                    <a:lnTo>
                      <a:pt x="1491208" y="248350"/>
                    </a:lnTo>
                    <a:lnTo>
                      <a:pt x="1491208" y="0"/>
                    </a:lnTo>
                    <a:lnTo>
                      <a:pt x="1975489" y="0"/>
                    </a:lnTo>
                    <a:lnTo>
                      <a:pt x="1975489" y="248350"/>
                    </a:lnTo>
                    <a:lnTo>
                      <a:pt x="2503239" y="2483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 name="Oval 27"/>
              <p:cNvSpPr/>
              <p:nvPr/>
            </p:nvSpPr>
            <p:spPr>
              <a:xfrm>
                <a:off x="14128749" y="2393949"/>
                <a:ext cx="714375" cy="7143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nvGrpSpPr>
            <p:cNvPr id="12" name="Group 11"/>
            <p:cNvGrpSpPr/>
            <p:nvPr/>
          </p:nvGrpSpPr>
          <p:grpSpPr>
            <a:xfrm>
              <a:off x="1006476" y="3535646"/>
              <a:ext cx="11165226" cy="3675992"/>
              <a:chOff x="-1506982" y="2838278"/>
              <a:chExt cx="11165226" cy="3675992"/>
            </a:xfrm>
            <a:grpFill/>
          </p:grpSpPr>
          <p:sp>
            <p:nvSpPr>
              <p:cNvPr id="13" name="Flowchart: Delay 6"/>
              <p:cNvSpPr/>
              <p:nvPr/>
            </p:nvSpPr>
            <p:spPr>
              <a:xfrm>
                <a:off x="-1506982" y="2838278"/>
                <a:ext cx="2373223" cy="2734977"/>
              </a:xfrm>
              <a:custGeom>
                <a:avLst/>
                <a:gdLst/>
                <a:ahLst/>
                <a:cxnLst/>
                <a:rect l="l" t="t" r="r" b="b"/>
                <a:pathLst>
                  <a:path w="2373223" h="2734977">
                    <a:moveTo>
                      <a:pt x="801462" y="542228"/>
                    </a:moveTo>
                    <a:cubicBezTo>
                      <a:pt x="768131" y="541817"/>
                      <a:pt x="760104" y="543372"/>
                      <a:pt x="655025" y="554586"/>
                    </a:cubicBezTo>
                    <a:lnTo>
                      <a:pt x="655025" y="2203302"/>
                    </a:lnTo>
                    <a:cubicBezTo>
                      <a:pt x="784080" y="2203302"/>
                      <a:pt x="817500" y="2209282"/>
                      <a:pt x="944423" y="2203302"/>
                    </a:cubicBezTo>
                    <a:cubicBezTo>
                      <a:pt x="1383490" y="2170407"/>
                      <a:pt x="1679558" y="1856007"/>
                      <a:pt x="1689355" y="1378944"/>
                    </a:cubicBezTo>
                    <a:cubicBezTo>
                      <a:pt x="1699152" y="901881"/>
                      <a:pt x="1339362" y="522496"/>
                      <a:pt x="915214" y="543428"/>
                    </a:cubicBezTo>
                    <a:cubicBezTo>
                      <a:pt x="850568" y="543428"/>
                      <a:pt x="821461" y="542474"/>
                      <a:pt x="801462" y="542228"/>
                    </a:cubicBezTo>
                    <a:close/>
                    <a:moveTo>
                      <a:pt x="809819" y="1363"/>
                    </a:moveTo>
                    <a:cubicBezTo>
                      <a:pt x="1782681" y="-32854"/>
                      <a:pt x="2398497" y="581163"/>
                      <a:pt x="2372427" y="1383107"/>
                    </a:cubicBezTo>
                    <a:cubicBezTo>
                      <a:pt x="2346356" y="2185050"/>
                      <a:pt x="1895110" y="2676861"/>
                      <a:pt x="888030" y="2730632"/>
                    </a:cubicBezTo>
                    <a:cubicBezTo>
                      <a:pt x="596908" y="2740409"/>
                      <a:pt x="296010" y="2730631"/>
                      <a:pt x="0" y="2730631"/>
                    </a:cubicBezTo>
                    <a:lnTo>
                      <a:pt x="0" y="35581"/>
                    </a:lnTo>
                    <a:cubicBezTo>
                      <a:pt x="385628" y="6252"/>
                      <a:pt x="414415" y="1363"/>
                      <a:pt x="809819" y="13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Rectangle 13"/>
              <p:cNvSpPr/>
              <p:nvPr/>
            </p:nvSpPr>
            <p:spPr>
              <a:xfrm>
                <a:off x="8998170" y="2880935"/>
                <a:ext cx="660074" cy="26923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Rectangle 37"/>
              <p:cNvSpPr/>
              <p:nvPr/>
            </p:nvSpPr>
            <p:spPr>
              <a:xfrm>
                <a:off x="1129670" y="2880934"/>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39"/>
              <p:cNvSpPr/>
              <p:nvPr/>
            </p:nvSpPr>
            <p:spPr>
              <a:xfrm>
                <a:off x="5312408" y="2975994"/>
                <a:ext cx="1405937" cy="2648882"/>
              </a:xfrm>
              <a:custGeom>
                <a:avLst/>
                <a:gdLst/>
                <a:ahLst/>
                <a:cxnLst/>
                <a:rect l="l" t="t" r="r" b="b"/>
                <a:pathLst>
                  <a:path w="1405937" h="2648882">
                    <a:moveTo>
                      <a:pt x="910735" y="0"/>
                    </a:moveTo>
                    <a:lnTo>
                      <a:pt x="910735" y="615204"/>
                    </a:lnTo>
                    <a:lnTo>
                      <a:pt x="1342826" y="615204"/>
                    </a:lnTo>
                    <a:lnTo>
                      <a:pt x="1342826" y="1113749"/>
                    </a:lnTo>
                    <a:lnTo>
                      <a:pt x="910735" y="1113749"/>
                    </a:lnTo>
                    <a:lnTo>
                      <a:pt x="910735" y="1398929"/>
                    </a:lnTo>
                    <a:lnTo>
                      <a:pt x="909291" y="1398770"/>
                    </a:lnTo>
                    <a:lnTo>
                      <a:pt x="909291" y="1852069"/>
                    </a:lnTo>
                    <a:cubicBezTo>
                      <a:pt x="913627" y="1946443"/>
                      <a:pt x="951741" y="2035139"/>
                      <a:pt x="1043315" y="2082050"/>
                    </a:cubicBezTo>
                    <a:cubicBezTo>
                      <a:pt x="1213294" y="2123725"/>
                      <a:pt x="1275245" y="2096758"/>
                      <a:pt x="1405937" y="2067341"/>
                    </a:cubicBezTo>
                    <a:lnTo>
                      <a:pt x="1405937" y="2587949"/>
                    </a:lnTo>
                    <a:cubicBezTo>
                      <a:pt x="1247419" y="2627685"/>
                      <a:pt x="816383" y="2704190"/>
                      <a:pt x="586666" y="2584585"/>
                    </a:cubicBezTo>
                    <a:cubicBezTo>
                      <a:pt x="365715" y="2484384"/>
                      <a:pt x="274877" y="2239548"/>
                      <a:pt x="255234" y="1989810"/>
                    </a:cubicBezTo>
                    <a:lnTo>
                      <a:pt x="256050" y="1989628"/>
                    </a:lnTo>
                    <a:lnTo>
                      <a:pt x="256050" y="1326914"/>
                    </a:lnTo>
                    <a:lnTo>
                      <a:pt x="256049" y="1326914"/>
                    </a:lnTo>
                    <a:lnTo>
                      <a:pt x="256049" y="1113749"/>
                    </a:lnTo>
                    <a:lnTo>
                      <a:pt x="0" y="1113749"/>
                    </a:lnTo>
                    <a:lnTo>
                      <a:pt x="0" y="615204"/>
                    </a:lnTo>
                    <a:lnTo>
                      <a:pt x="256049" y="615204"/>
                    </a:lnTo>
                    <a:lnTo>
                      <a:pt x="256049" y="720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43"/>
              <p:cNvSpPr/>
              <p:nvPr/>
            </p:nvSpPr>
            <p:spPr>
              <a:xfrm>
                <a:off x="4370090" y="2880935"/>
                <a:ext cx="673484" cy="2692320"/>
              </a:xfrm>
              <a:custGeom>
                <a:avLst/>
                <a:gdLst/>
                <a:ahLst/>
                <a:cxnLst/>
                <a:rect l="l" t="t" r="r" b="b"/>
                <a:pathLst>
                  <a:path w="673484" h="2692320">
                    <a:moveTo>
                      <a:pt x="14605" y="701074"/>
                    </a:moveTo>
                    <a:lnTo>
                      <a:pt x="673484" y="701074"/>
                    </a:lnTo>
                    <a:lnTo>
                      <a:pt x="673484" y="2692320"/>
                    </a:lnTo>
                    <a:lnTo>
                      <a:pt x="14605" y="2692320"/>
                    </a:lnTo>
                    <a:close/>
                    <a:moveTo>
                      <a:pt x="0" y="0"/>
                    </a:moveTo>
                    <a:lnTo>
                      <a:pt x="658879" y="0"/>
                    </a:lnTo>
                    <a:lnTo>
                      <a:pt x="658879" y="520937"/>
                    </a:lnTo>
                    <a:lnTo>
                      <a:pt x="0" y="5209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Oval 15"/>
              <p:cNvSpPr/>
              <p:nvPr/>
            </p:nvSpPr>
            <p:spPr>
              <a:xfrm>
                <a:off x="2021351" y="3531392"/>
                <a:ext cx="2050586" cy="2982878"/>
              </a:xfrm>
              <a:custGeom>
                <a:avLst/>
                <a:gdLst/>
                <a:ahLst/>
                <a:cxnLst/>
                <a:rect l="l" t="t" r="r" b="b"/>
                <a:pathLst>
                  <a:path w="2050586" h="2982878">
                    <a:moveTo>
                      <a:pt x="1051854" y="510196"/>
                    </a:moveTo>
                    <a:cubicBezTo>
                      <a:pt x="818915" y="514146"/>
                      <a:pt x="642809" y="709495"/>
                      <a:pt x="638909" y="1067081"/>
                    </a:cubicBezTo>
                    <a:cubicBezTo>
                      <a:pt x="635009" y="1424667"/>
                      <a:pt x="823791" y="1623966"/>
                      <a:pt x="1051854" y="1623966"/>
                    </a:cubicBezTo>
                    <a:cubicBezTo>
                      <a:pt x="1237304" y="1623966"/>
                      <a:pt x="1389689" y="1483481"/>
                      <a:pt x="1441801" y="1245336"/>
                    </a:cubicBezTo>
                    <a:lnTo>
                      <a:pt x="1441801" y="871896"/>
                    </a:lnTo>
                    <a:cubicBezTo>
                      <a:pt x="1390037" y="636468"/>
                      <a:pt x="1238194" y="507037"/>
                      <a:pt x="1051854" y="510196"/>
                    </a:cubicBezTo>
                    <a:close/>
                    <a:moveTo>
                      <a:pt x="922906" y="62"/>
                    </a:moveTo>
                    <a:cubicBezTo>
                      <a:pt x="1094124" y="2254"/>
                      <a:pt x="1286677" y="67187"/>
                      <a:pt x="1441801" y="211676"/>
                    </a:cubicBezTo>
                    <a:lnTo>
                      <a:pt x="1441801" y="59283"/>
                    </a:lnTo>
                    <a:lnTo>
                      <a:pt x="2050586" y="59283"/>
                    </a:lnTo>
                    <a:lnTo>
                      <a:pt x="2050586" y="2050529"/>
                    </a:lnTo>
                    <a:lnTo>
                      <a:pt x="2049824" y="2050529"/>
                    </a:lnTo>
                    <a:cubicBezTo>
                      <a:pt x="2042228" y="2324966"/>
                      <a:pt x="1914078" y="2586024"/>
                      <a:pt x="1741025" y="2740770"/>
                    </a:cubicBezTo>
                    <a:cubicBezTo>
                      <a:pt x="1565806" y="2897454"/>
                      <a:pt x="1260483" y="2963176"/>
                      <a:pt x="989743" y="2980332"/>
                    </a:cubicBezTo>
                    <a:cubicBezTo>
                      <a:pt x="696029" y="2998261"/>
                      <a:pt x="376391" y="2918595"/>
                      <a:pt x="186431" y="2833390"/>
                    </a:cubicBezTo>
                    <a:lnTo>
                      <a:pt x="315452" y="2340665"/>
                    </a:lnTo>
                    <a:cubicBezTo>
                      <a:pt x="472820" y="2417366"/>
                      <a:pt x="608780" y="2473080"/>
                      <a:pt x="769523" y="2498896"/>
                    </a:cubicBezTo>
                    <a:cubicBezTo>
                      <a:pt x="881706" y="2502874"/>
                      <a:pt x="1108687" y="2496171"/>
                      <a:pt x="1224291" y="2424065"/>
                    </a:cubicBezTo>
                    <a:cubicBezTo>
                      <a:pt x="1349420" y="2349578"/>
                      <a:pt x="1429412" y="2229849"/>
                      <a:pt x="1441713" y="2044829"/>
                    </a:cubicBezTo>
                    <a:cubicBezTo>
                      <a:pt x="1441742" y="2044829"/>
                      <a:pt x="1441772" y="2044829"/>
                      <a:pt x="1441801" y="2044829"/>
                    </a:cubicBezTo>
                    <a:lnTo>
                      <a:pt x="1441801" y="1865142"/>
                    </a:lnTo>
                    <a:cubicBezTo>
                      <a:pt x="1215364" y="2074903"/>
                      <a:pt x="921880" y="2106991"/>
                      <a:pt x="789556" y="2109742"/>
                    </a:cubicBezTo>
                    <a:cubicBezTo>
                      <a:pt x="560506" y="2114505"/>
                      <a:pt x="-3162" y="1870860"/>
                      <a:pt x="14" y="1066808"/>
                    </a:cubicBezTo>
                    <a:cubicBezTo>
                      <a:pt x="3189" y="262756"/>
                      <a:pt x="550982" y="-4699"/>
                      <a:pt x="922906" y="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Teardrop 10"/>
              <p:cNvSpPr/>
              <p:nvPr/>
            </p:nvSpPr>
            <p:spPr>
              <a:xfrm>
                <a:off x="6933888" y="3546707"/>
                <a:ext cx="1819195" cy="2078169"/>
              </a:xfrm>
              <a:custGeom>
                <a:avLst/>
                <a:gdLst/>
                <a:ahLst/>
                <a:cxnLst/>
                <a:rect l="l" t="t" r="r" b="b"/>
                <a:pathLst>
                  <a:path w="1819195" h="2078169">
                    <a:moveTo>
                      <a:pt x="1186796" y="1087595"/>
                    </a:moveTo>
                    <a:cubicBezTo>
                      <a:pt x="1113625" y="1090104"/>
                      <a:pt x="1058299" y="1092613"/>
                      <a:pt x="915050" y="1110177"/>
                    </a:cubicBezTo>
                    <a:cubicBezTo>
                      <a:pt x="712653" y="1132759"/>
                      <a:pt x="611934" y="1254340"/>
                      <a:pt x="610704" y="1401552"/>
                    </a:cubicBezTo>
                    <a:cubicBezTo>
                      <a:pt x="617261" y="1602596"/>
                      <a:pt x="782865" y="1640445"/>
                      <a:pt x="868331" y="1644000"/>
                    </a:cubicBezTo>
                    <a:cubicBezTo>
                      <a:pt x="1009257" y="1644000"/>
                      <a:pt x="1189411" y="1525823"/>
                      <a:pt x="1189411" y="1403702"/>
                    </a:cubicBezTo>
                    <a:close/>
                    <a:moveTo>
                      <a:pt x="918836" y="764"/>
                    </a:moveTo>
                    <a:cubicBezTo>
                      <a:pt x="1160938" y="11084"/>
                      <a:pt x="1410748" y="83418"/>
                      <a:pt x="1561827" y="205882"/>
                    </a:cubicBezTo>
                    <a:cubicBezTo>
                      <a:pt x="1712906" y="328347"/>
                      <a:pt x="1788347" y="549970"/>
                      <a:pt x="1782252" y="771155"/>
                    </a:cubicBezTo>
                    <a:lnTo>
                      <a:pt x="1781486" y="771131"/>
                    </a:lnTo>
                    <a:lnTo>
                      <a:pt x="1781486" y="1794503"/>
                    </a:lnTo>
                    <a:lnTo>
                      <a:pt x="1819195" y="2026546"/>
                    </a:lnTo>
                    <a:lnTo>
                      <a:pt x="1277253" y="2026546"/>
                    </a:lnTo>
                    <a:lnTo>
                      <a:pt x="1242709" y="1813981"/>
                    </a:lnTo>
                    <a:cubicBezTo>
                      <a:pt x="1117714" y="1972717"/>
                      <a:pt x="898491" y="2078169"/>
                      <a:pt x="665318" y="2078169"/>
                    </a:cubicBezTo>
                    <a:cubicBezTo>
                      <a:pt x="444604" y="2069173"/>
                      <a:pt x="16933" y="1973385"/>
                      <a:pt x="0" y="1464587"/>
                    </a:cubicBezTo>
                    <a:cubicBezTo>
                      <a:pt x="3175" y="1092025"/>
                      <a:pt x="263280" y="784330"/>
                      <a:pt x="785969" y="727180"/>
                    </a:cubicBezTo>
                    <a:cubicBezTo>
                      <a:pt x="1029946" y="697865"/>
                      <a:pt x="1110970" y="685122"/>
                      <a:pt x="1192076" y="678143"/>
                    </a:cubicBezTo>
                    <a:cubicBezTo>
                      <a:pt x="1182890" y="518370"/>
                      <a:pt x="1036964" y="440610"/>
                      <a:pt x="899685" y="412566"/>
                    </a:cubicBezTo>
                    <a:cubicBezTo>
                      <a:pt x="608510" y="393798"/>
                      <a:pt x="478098" y="442952"/>
                      <a:pt x="261013" y="553512"/>
                    </a:cubicBezTo>
                    <a:lnTo>
                      <a:pt x="164299" y="163213"/>
                    </a:lnTo>
                    <a:cubicBezTo>
                      <a:pt x="337912" y="93114"/>
                      <a:pt x="656164" y="-9890"/>
                      <a:pt x="918836" y="76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grpSp>
    </p:spTree>
    <p:extLst>
      <p:ext uri="{BB962C8B-B14F-4D97-AF65-F5344CB8AC3E}">
        <p14:creationId xmlns:p14="http://schemas.microsoft.com/office/powerpoint/2010/main" val="566168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aterial Collec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8339020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6246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3" name="Title 1"/>
          <p:cNvSpPr>
            <a:spLocks noGrp="1"/>
          </p:cNvSpPr>
          <p:nvPr>
            <p:ph type="title" hasCustomPrompt="1"/>
          </p:nvPr>
        </p:nvSpPr>
        <p:spPr>
          <a:xfrm>
            <a:off x="553847" y="540000"/>
            <a:ext cx="11078308" cy="468000"/>
          </a:xfrm>
        </p:spPr>
        <p:txBody>
          <a:bodyPr/>
          <a:lstStyle>
            <a:lvl1pPr>
              <a:defRPr>
                <a:solidFill>
                  <a:schemeClr val="accent1"/>
                </a:solidFill>
              </a:defRPr>
            </a:lvl1pPr>
          </a:lstStyle>
          <a:p>
            <a:r>
              <a:rPr lang="en-US" dirty="0"/>
              <a:t>Structural Title...</a:t>
            </a:r>
          </a:p>
        </p:txBody>
      </p:sp>
      <p:sp>
        <p:nvSpPr>
          <p:cNvPr id="4" name="TextBox 3"/>
          <p:cNvSpPr txBox="1"/>
          <p:nvPr userDrawn="1"/>
        </p:nvSpPr>
        <p:spPr>
          <a:xfrm rot="16200000">
            <a:off x="-3215502" y="3199420"/>
            <a:ext cx="6874085" cy="443077"/>
          </a:xfrm>
          <a:prstGeom prst="rect">
            <a:avLst/>
          </a:prstGeom>
          <a:solidFill>
            <a:schemeClr val="accent2"/>
          </a:solidFill>
          <a:ln>
            <a:noFill/>
          </a:ln>
        </p:spPr>
        <p:txBody>
          <a:bodyPr vert="horz" wrap="none" lIns="91440" tIns="45720" rIns="91440" bIns="45720" rtlCol="0" anchor="ctr">
            <a:normAutofit/>
          </a:bodyPr>
          <a:lstStyle/>
          <a:p>
            <a:pPr algn="ctr"/>
            <a:r>
              <a:rPr lang="en-US" sz="1800" b="0" spc="300" baseline="0" dirty="0">
                <a:solidFill>
                  <a:schemeClr val="bg1"/>
                </a:solidFill>
              </a:rPr>
              <a:t>NON-CONTENT</a:t>
            </a:r>
          </a:p>
        </p:txBody>
      </p:sp>
    </p:spTree>
    <p:extLst>
      <p:ext uri="{BB962C8B-B14F-4D97-AF65-F5344CB8AC3E}">
        <p14:creationId xmlns:p14="http://schemas.microsoft.com/office/powerpoint/2010/main" val="2075009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hank you Contact U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9308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Rectangle 22"/>
          <p:cNvSpPr/>
          <p:nvPr userDrawn="1"/>
        </p:nvSpPr>
        <p:spPr>
          <a:xfrm>
            <a:off x="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sz="1800" dirty="0"/>
          </a:p>
        </p:txBody>
      </p:sp>
      <p:pic>
        <p:nvPicPr>
          <p:cNvPr id="24" name="Picture 23" descr="DD_RGB_white.png"/>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128447" y="5853128"/>
            <a:ext cx="1419370" cy="590708"/>
          </a:xfrm>
          <a:prstGeom prst="rect">
            <a:avLst/>
          </a:prstGeom>
        </p:spPr>
      </p:pic>
      <p:sp>
        <p:nvSpPr>
          <p:cNvPr id="3" name="Content Placeholder 2"/>
          <p:cNvSpPr>
            <a:spLocks noGrp="1"/>
          </p:cNvSpPr>
          <p:nvPr>
            <p:ph sz="quarter" idx="10" hasCustomPrompt="1"/>
          </p:nvPr>
        </p:nvSpPr>
        <p:spPr>
          <a:xfrm>
            <a:off x="819151" y="2424115"/>
            <a:ext cx="9933516" cy="1330325"/>
          </a:xfrm>
        </p:spPr>
        <p:txBody>
          <a:bodyPr>
            <a:noAutofit/>
          </a:bodyPr>
          <a:lstStyle>
            <a:lvl1pPr marL="0" indent="0">
              <a:buNone/>
              <a:defRPr sz="5800">
                <a:solidFill>
                  <a:schemeClr val="bg1"/>
                </a:solidFill>
              </a:defRPr>
            </a:lvl1pPr>
          </a:lstStyle>
          <a:p>
            <a:pPr lvl="0"/>
            <a:r>
              <a:rPr lang="en-US" dirty="0"/>
              <a:t>Thank You.</a:t>
            </a:r>
          </a:p>
        </p:txBody>
      </p:sp>
      <p:sp>
        <p:nvSpPr>
          <p:cNvPr id="14" name="Content Placeholder 2"/>
          <p:cNvSpPr>
            <a:spLocks noGrp="1"/>
          </p:cNvSpPr>
          <p:nvPr>
            <p:ph sz="quarter" idx="11" hasCustomPrompt="1"/>
          </p:nvPr>
        </p:nvSpPr>
        <p:spPr>
          <a:xfrm>
            <a:off x="819151" y="3961969"/>
            <a:ext cx="9933516" cy="651596"/>
          </a:xfrm>
        </p:spPr>
        <p:txBody>
          <a:bodyPr>
            <a:noAutofit/>
          </a:bodyPr>
          <a:lstStyle>
            <a:lvl1pPr marL="0" indent="0">
              <a:buNone/>
              <a:defRPr sz="1800">
                <a:solidFill>
                  <a:schemeClr val="bg1">
                    <a:lumMod val="65000"/>
                  </a:schemeClr>
                </a:solidFill>
              </a:defRPr>
            </a:lvl1pPr>
          </a:lstStyle>
          <a:p>
            <a:pPr lvl="0"/>
            <a:r>
              <a:rPr lang="en-US" dirty="0"/>
              <a:t>Contact Us.</a:t>
            </a:r>
          </a:p>
        </p:txBody>
      </p:sp>
      <p:sp>
        <p:nvSpPr>
          <p:cNvPr id="15" name="Content Placeholder 2"/>
          <p:cNvSpPr>
            <a:spLocks noGrp="1"/>
          </p:cNvSpPr>
          <p:nvPr>
            <p:ph sz="quarter" idx="12" hasCustomPrompt="1"/>
          </p:nvPr>
        </p:nvSpPr>
        <p:spPr>
          <a:xfrm>
            <a:off x="819152" y="4764234"/>
            <a:ext cx="2542885" cy="305309"/>
          </a:xfrm>
        </p:spPr>
        <p:txBody>
          <a:bodyPr>
            <a:noAutofit/>
          </a:bodyPr>
          <a:lstStyle>
            <a:lvl1pPr marL="0" indent="0">
              <a:buNone/>
              <a:defRPr sz="1200" b="1" baseline="0">
                <a:solidFill>
                  <a:schemeClr val="accent5"/>
                </a:solidFill>
              </a:defRPr>
            </a:lvl1pPr>
          </a:lstStyle>
          <a:p>
            <a:pPr lvl="0"/>
            <a:r>
              <a:rPr lang="en-US" dirty="0"/>
              <a:t>First Last</a:t>
            </a:r>
          </a:p>
        </p:txBody>
      </p:sp>
      <p:sp>
        <p:nvSpPr>
          <p:cNvPr id="16" name="Content Placeholder 2"/>
          <p:cNvSpPr>
            <a:spLocks noGrp="1"/>
          </p:cNvSpPr>
          <p:nvPr>
            <p:ph sz="quarter" idx="13" hasCustomPrompt="1"/>
          </p:nvPr>
        </p:nvSpPr>
        <p:spPr>
          <a:xfrm>
            <a:off x="819152" y="5055177"/>
            <a:ext cx="2542885" cy="415636"/>
          </a:xfrm>
        </p:spPr>
        <p:txBody>
          <a:bodyPr>
            <a:noAutofit/>
          </a:bodyPr>
          <a:lstStyle>
            <a:lvl1pPr marL="0" indent="0">
              <a:buNone/>
              <a:defRPr sz="1200" baseline="0">
                <a:solidFill>
                  <a:schemeClr val="bg1"/>
                </a:solidFill>
              </a:defRPr>
            </a:lvl1pPr>
          </a:lstStyle>
          <a:p>
            <a:pPr lvl="0"/>
            <a:r>
              <a:rPr lang="en-US" dirty="0"/>
              <a:t>Title</a:t>
            </a:r>
          </a:p>
          <a:p>
            <a:pPr lvl="0"/>
            <a:r>
              <a:rPr lang="en-US" dirty="0"/>
              <a:t>Email Address</a:t>
            </a:r>
          </a:p>
        </p:txBody>
      </p:sp>
      <p:sp>
        <p:nvSpPr>
          <p:cNvPr id="17" name="Content Placeholder 2"/>
          <p:cNvSpPr>
            <a:spLocks noGrp="1"/>
          </p:cNvSpPr>
          <p:nvPr>
            <p:ph sz="quarter" idx="14" hasCustomPrompt="1"/>
          </p:nvPr>
        </p:nvSpPr>
        <p:spPr>
          <a:xfrm>
            <a:off x="819152" y="5637071"/>
            <a:ext cx="2542885" cy="310507"/>
          </a:xfrm>
        </p:spPr>
        <p:txBody>
          <a:bodyPr>
            <a:noAutofit/>
          </a:bodyPr>
          <a:lstStyle>
            <a:lvl1pPr marL="0" indent="0">
              <a:buNone/>
              <a:defRPr sz="1200" b="1" baseline="0">
                <a:solidFill>
                  <a:schemeClr val="accent5"/>
                </a:solidFill>
              </a:defRPr>
            </a:lvl1pPr>
          </a:lstStyle>
          <a:p>
            <a:pPr lvl="0"/>
            <a:r>
              <a:rPr lang="en-US" dirty="0"/>
              <a:t>First Last</a:t>
            </a:r>
          </a:p>
        </p:txBody>
      </p:sp>
      <p:sp>
        <p:nvSpPr>
          <p:cNvPr id="18" name="Content Placeholder 2"/>
          <p:cNvSpPr>
            <a:spLocks noGrp="1"/>
          </p:cNvSpPr>
          <p:nvPr>
            <p:ph sz="quarter" idx="15" hasCustomPrompt="1"/>
          </p:nvPr>
        </p:nvSpPr>
        <p:spPr>
          <a:xfrm>
            <a:off x="819152" y="5928014"/>
            <a:ext cx="2542885" cy="415636"/>
          </a:xfrm>
        </p:spPr>
        <p:txBody>
          <a:bodyPr>
            <a:noAutofit/>
          </a:bodyPr>
          <a:lstStyle>
            <a:lvl1pPr marL="0" indent="0">
              <a:buNone/>
              <a:defRPr sz="1200" baseline="0">
                <a:solidFill>
                  <a:schemeClr val="bg1"/>
                </a:solidFill>
              </a:defRPr>
            </a:lvl1pPr>
          </a:lstStyle>
          <a:p>
            <a:pPr lvl="0"/>
            <a:r>
              <a:rPr lang="en-US" dirty="0"/>
              <a:t>Title</a:t>
            </a:r>
          </a:p>
          <a:p>
            <a:pPr lvl="0"/>
            <a:r>
              <a:rPr lang="en-US" dirty="0"/>
              <a:t>Email Address</a:t>
            </a:r>
          </a:p>
        </p:txBody>
      </p:sp>
      <p:sp>
        <p:nvSpPr>
          <p:cNvPr id="19" name="Content Placeholder 2"/>
          <p:cNvSpPr>
            <a:spLocks noGrp="1"/>
          </p:cNvSpPr>
          <p:nvPr>
            <p:ph sz="quarter" idx="16" hasCustomPrompt="1"/>
          </p:nvPr>
        </p:nvSpPr>
        <p:spPr>
          <a:xfrm>
            <a:off x="3977988" y="4764234"/>
            <a:ext cx="2542885" cy="300749"/>
          </a:xfrm>
        </p:spPr>
        <p:txBody>
          <a:bodyPr>
            <a:noAutofit/>
          </a:bodyPr>
          <a:lstStyle>
            <a:lvl1pPr marL="0" indent="0">
              <a:buNone/>
              <a:defRPr sz="1200" b="1" baseline="0">
                <a:solidFill>
                  <a:schemeClr val="accent5"/>
                </a:solidFill>
              </a:defRPr>
            </a:lvl1pPr>
          </a:lstStyle>
          <a:p>
            <a:pPr lvl="0"/>
            <a:r>
              <a:rPr lang="en-US" dirty="0"/>
              <a:t>First Last</a:t>
            </a:r>
          </a:p>
        </p:txBody>
      </p:sp>
      <p:sp>
        <p:nvSpPr>
          <p:cNvPr id="20" name="Content Placeholder 2"/>
          <p:cNvSpPr>
            <a:spLocks noGrp="1"/>
          </p:cNvSpPr>
          <p:nvPr>
            <p:ph sz="quarter" idx="17" hasCustomPrompt="1"/>
          </p:nvPr>
        </p:nvSpPr>
        <p:spPr>
          <a:xfrm>
            <a:off x="3977988" y="5055177"/>
            <a:ext cx="2542885" cy="415636"/>
          </a:xfrm>
        </p:spPr>
        <p:txBody>
          <a:bodyPr>
            <a:noAutofit/>
          </a:bodyPr>
          <a:lstStyle>
            <a:lvl1pPr marL="0" indent="0">
              <a:buNone/>
              <a:defRPr sz="1200" baseline="0">
                <a:solidFill>
                  <a:schemeClr val="bg1"/>
                </a:solidFill>
              </a:defRPr>
            </a:lvl1pPr>
          </a:lstStyle>
          <a:p>
            <a:pPr lvl="0"/>
            <a:r>
              <a:rPr lang="en-US" dirty="0"/>
              <a:t>Title</a:t>
            </a:r>
          </a:p>
          <a:p>
            <a:pPr lvl="0"/>
            <a:r>
              <a:rPr lang="en-US" dirty="0"/>
              <a:t>Email Address</a:t>
            </a:r>
          </a:p>
        </p:txBody>
      </p:sp>
      <p:sp>
        <p:nvSpPr>
          <p:cNvPr id="21" name="Content Placeholder 2"/>
          <p:cNvSpPr>
            <a:spLocks noGrp="1"/>
          </p:cNvSpPr>
          <p:nvPr>
            <p:ph sz="quarter" idx="18" hasCustomPrompt="1"/>
          </p:nvPr>
        </p:nvSpPr>
        <p:spPr>
          <a:xfrm>
            <a:off x="3977988" y="5637071"/>
            <a:ext cx="2542885" cy="310507"/>
          </a:xfrm>
        </p:spPr>
        <p:txBody>
          <a:bodyPr>
            <a:noAutofit/>
          </a:bodyPr>
          <a:lstStyle>
            <a:lvl1pPr marL="0" indent="0">
              <a:buNone/>
              <a:defRPr sz="1200" b="1" baseline="0">
                <a:solidFill>
                  <a:schemeClr val="accent5"/>
                </a:solidFill>
              </a:defRPr>
            </a:lvl1pPr>
          </a:lstStyle>
          <a:p>
            <a:pPr lvl="0"/>
            <a:r>
              <a:rPr lang="en-US" dirty="0"/>
              <a:t>First Last</a:t>
            </a:r>
          </a:p>
        </p:txBody>
      </p:sp>
      <p:sp>
        <p:nvSpPr>
          <p:cNvPr id="22" name="Content Placeholder 2"/>
          <p:cNvSpPr>
            <a:spLocks noGrp="1"/>
          </p:cNvSpPr>
          <p:nvPr>
            <p:ph sz="quarter" idx="19" hasCustomPrompt="1"/>
          </p:nvPr>
        </p:nvSpPr>
        <p:spPr>
          <a:xfrm>
            <a:off x="3977988" y="5928014"/>
            <a:ext cx="2542885" cy="415636"/>
          </a:xfrm>
        </p:spPr>
        <p:txBody>
          <a:bodyPr>
            <a:noAutofit/>
          </a:bodyPr>
          <a:lstStyle>
            <a:lvl1pPr marL="0" indent="0">
              <a:buNone/>
              <a:defRPr sz="1200" baseline="0">
                <a:solidFill>
                  <a:schemeClr val="bg1"/>
                </a:solidFill>
              </a:defRPr>
            </a:lvl1pPr>
          </a:lstStyle>
          <a:p>
            <a:pPr lvl="0"/>
            <a:r>
              <a:rPr lang="en-US" dirty="0"/>
              <a:t>Title</a:t>
            </a:r>
          </a:p>
          <a:p>
            <a:pPr lvl="0"/>
            <a:r>
              <a:rPr lang="en-US" dirty="0"/>
              <a:t>Email Address</a:t>
            </a:r>
          </a:p>
        </p:txBody>
      </p:sp>
    </p:spTree>
    <p:extLst>
      <p:ext uri="{BB962C8B-B14F-4D97-AF65-F5344CB8AC3E}">
        <p14:creationId xmlns:p14="http://schemas.microsoft.com/office/powerpoint/2010/main" val="23689078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cSld name="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33166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1" name="think-cell Slide" r:id="rId4" imgW="473" imgH="473" progId="TCLayout.ActiveDocument.1">
                  <p:embed/>
                </p:oleObj>
              </mc:Choice>
              <mc:Fallback>
                <p:oleObj name="think-cell Slide" r:id="rId4" imgW="473" imgH="47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GB"/>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GB"/>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Date</a:t>
            </a:r>
          </a:p>
        </p:txBody>
      </p:sp>
      <p:pic>
        <p:nvPicPr>
          <p:cNvPr id="9" name="Picture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GB"/>
              <a:t>Click to insert picture</a:t>
            </a:r>
          </a:p>
        </p:txBody>
      </p:sp>
    </p:spTree>
    <p:extLst>
      <p:ext uri="{BB962C8B-B14F-4D97-AF65-F5344CB8AC3E}">
        <p14:creationId xmlns:p14="http://schemas.microsoft.com/office/powerpoint/2010/main" val="166345534"/>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ea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62612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5"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14400" y="694944"/>
            <a:ext cx="10363200" cy="594360"/>
          </a:xfrm>
        </p:spPr>
        <p:txBody>
          <a:bodyPr vert="horz" lIns="0" tIns="45720" rIns="0" bIns="0" rtlCol="0" anchor="t" anchorCtr="0">
            <a:noAutofit/>
          </a:bodyPr>
          <a:lstStyle>
            <a:lvl1pPr>
              <a:defRPr lang="en-US" sz="2800" b="0" spc="-75" dirty="0">
                <a:latin typeface="+mj-lt"/>
              </a:defRPr>
            </a:lvl1pPr>
          </a:lstStyle>
          <a:p>
            <a:pPr lvl="0" defTabSz="685800">
              <a:lnSpc>
                <a:spcPct val="85000"/>
              </a:lnSpc>
            </a:pPr>
            <a:r>
              <a:rPr lang="en-GB"/>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Edit Master text styles</a:t>
            </a:r>
          </a:p>
        </p:txBody>
      </p:sp>
      <p:sp>
        <p:nvSpPr>
          <p:cNvPr id="6"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Tree>
    <p:extLst>
      <p:ext uri="{BB962C8B-B14F-4D97-AF65-F5344CB8AC3E}">
        <p14:creationId xmlns:p14="http://schemas.microsoft.com/office/powerpoint/2010/main" val="27455929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5736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46567" y="762001"/>
            <a:ext cx="1788289" cy="828260"/>
          </a:xfrm>
          <a:prstGeom prst="rect">
            <a:avLst/>
          </a:prstGeom>
        </p:spPr>
      </p:pic>
    </p:spTree>
    <p:extLst>
      <p:ext uri="{BB962C8B-B14F-4D97-AF65-F5344CB8AC3E}">
        <p14:creationId xmlns:p14="http://schemas.microsoft.com/office/powerpoint/2010/main" val="1267128311"/>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Subhead &amp; Breadcrumb">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98415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9"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14400" y="694944"/>
            <a:ext cx="10363200" cy="594360"/>
          </a:xfrm>
        </p:spPr>
        <p:txBody>
          <a:bodyPr vert="horz" lIns="0" tIns="45720" rIns="0" bIns="0" rtlCol="0" anchor="t" anchorCtr="0">
            <a:noAutofit/>
          </a:bodyPr>
          <a:lstStyle>
            <a:lvl1pPr>
              <a:defRPr lang="en-US" sz="2800" spc="-75" dirty="0">
                <a:latin typeface="+mj-lt"/>
              </a:defRPr>
            </a:lvl1pPr>
          </a:lstStyle>
          <a:p>
            <a:pPr lvl="0" defTabSz="685800">
              <a:lnSpc>
                <a:spcPct val="85000"/>
              </a:lnSpc>
            </a:pPr>
            <a:r>
              <a:rPr lang="en-GB"/>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Tree>
    <p:extLst>
      <p:ext uri="{BB962C8B-B14F-4D97-AF65-F5344CB8AC3E}">
        <p14:creationId xmlns:p14="http://schemas.microsoft.com/office/powerpoint/2010/main" val="36620551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Digital Vision - Qual Turquois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7583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3"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14400" y="694944"/>
            <a:ext cx="7754613" cy="594360"/>
          </a:xfrm>
        </p:spPr>
        <p:txBody>
          <a:bodyPr vert="horz" lIns="0" tIns="45720" rIns="0" bIns="0" rtlCol="0" anchor="t" anchorCtr="0">
            <a:noAutofit/>
          </a:bodyPr>
          <a:lstStyle>
            <a:lvl1pPr>
              <a:defRPr lang="en-US" sz="2800" spc="-75" dirty="0">
                <a:latin typeface="+mj-lt"/>
              </a:defRPr>
            </a:lvl1pPr>
          </a:lstStyle>
          <a:p>
            <a:pPr lvl="0" defTabSz="685800">
              <a:lnSpc>
                <a:spcPct val="85000"/>
              </a:lnSpc>
            </a:pPr>
            <a:r>
              <a:rPr lang="en-GB"/>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Tree>
    <p:extLst>
      <p:ext uri="{BB962C8B-B14F-4D97-AF65-F5344CB8AC3E}">
        <p14:creationId xmlns:p14="http://schemas.microsoft.com/office/powerpoint/2010/main" val="2347306341"/>
      </p:ext>
    </p:extLst>
  </p:cSld>
  <p:clrMapOvr>
    <a:masterClrMapping/>
  </p:clrMapOvr>
  <p:extLst>
    <p:ext uri="{DCECCB84-F9BA-43D5-87BE-67443E8EF086}">
      <p15:sldGuideLst xmlns:p15="http://schemas.microsoft.com/office/powerpoint/2012/main">
        <p15:guide id="1" orient="horz" pos="100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Digital Proposition - Qual Yellow">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4327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7"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14400" y="694944"/>
            <a:ext cx="7754613" cy="594360"/>
          </a:xfrm>
        </p:spPr>
        <p:txBody>
          <a:bodyPr vert="horz" lIns="0" tIns="45720" rIns="0" bIns="0" rtlCol="0" anchor="t" anchorCtr="0">
            <a:noAutofit/>
          </a:bodyPr>
          <a:lstStyle>
            <a:lvl1pPr>
              <a:defRPr lang="en-US" sz="2800" spc="-75" dirty="0">
                <a:latin typeface="+mj-lt"/>
              </a:defRPr>
            </a:lvl1pPr>
          </a:lstStyle>
          <a:p>
            <a:pPr lvl="0" defTabSz="685800">
              <a:lnSpc>
                <a:spcPct val="85000"/>
              </a:lnSpc>
            </a:pPr>
            <a:r>
              <a:rPr lang="en-GB"/>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Tree>
    <p:extLst>
      <p:ext uri="{BB962C8B-B14F-4D97-AF65-F5344CB8AC3E}">
        <p14:creationId xmlns:p14="http://schemas.microsoft.com/office/powerpoint/2010/main" val="24148295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Digital Migration - Qual Green">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4388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61"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14400" y="694944"/>
            <a:ext cx="7754613" cy="594360"/>
          </a:xfrm>
        </p:spPr>
        <p:txBody>
          <a:bodyPr vert="horz" lIns="0" tIns="45720" rIns="0" bIns="0" rtlCol="0" anchor="t" anchorCtr="0">
            <a:noAutofit/>
          </a:bodyPr>
          <a:lstStyle>
            <a:lvl1pPr>
              <a:defRPr lang="en-US" sz="2800" spc="-75" dirty="0">
                <a:latin typeface="+mj-lt"/>
              </a:defRPr>
            </a:lvl1pPr>
          </a:lstStyle>
          <a:p>
            <a:pPr lvl="0" defTabSz="685800">
              <a:lnSpc>
                <a:spcPct val="85000"/>
              </a:lnSpc>
            </a:pPr>
            <a:r>
              <a:rPr lang="en-GB"/>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Tree>
    <p:extLst>
      <p:ext uri="{BB962C8B-B14F-4D97-AF65-F5344CB8AC3E}">
        <p14:creationId xmlns:p14="http://schemas.microsoft.com/office/powerpoint/2010/main" val="9279455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Beyond Digital Platform - Qual Blu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3512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5"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14400" y="694944"/>
            <a:ext cx="7754613" cy="594360"/>
          </a:xfrm>
        </p:spPr>
        <p:txBody>
          <a:bodyPr vert="horz" lIns="0" tIns="45720" rIns="0" bIns="0" rtlCol="0" anchor="t" anchorCtr="0">
            <a:noAutofit/>
          </a:bodyPr>
          <a:lstStyle>
            <a:lvl1pPr>
              <a:defRPr lang="en-US" sz="2800" spc="-75" dirty="0">
                <a:latin typeface="+mj-lt"/>
              </a:defRPr>
            </a:lvl1pPr>
          </a:lstStyle>
          <a:p>
            <a:pPr lvl="0" defTabSz="685800">
              <a:lnSpc>
                <a:spcPct val="85000"/>
              </a:lnSpc>
            </a:pPr>
            <a:r>
              <a:rPr lang="en-GB"/>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Tree>
    <p:extLst>
      <p:ext uri="{BB962C8B-B14F-4D97-AF65-F5344CB8AC3E}">
        <p14:creationId xmlns:p14="http://schemas.microsoft.com/office/powerpoint/2010/main" val="2889706544"/>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gital Vision - Turquoise Intr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5174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9"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Oval 83">
            <a:extLst>
              <a:ext uri="{FF2B5EF4-FFF2-40B4-BE49-F238E27FC236}">
                <a16:creationId xmlns:a16="http://schemas.microsoft.com/office/drawing/2014/main" id="{615284ED-FF70-6C45-8563-ED27D75B87B8}"/>
              </a:ext>
            </a:extLst>
          </p:cNvPr>
          <p:cNvSpPr/>
          <p:nvPr userDrawn="1"/>
        </p:nvSpPr>
        <p:spPr>
          <a:xfrm>
            <a:off x="4696200" y="2323690"/>
            <a:ext cx="330024" cy="330024"/>
          </a:xfrm>
          <a:prstGeom prst="ellipse">
            <a:avLst/>
          </a:prstGeom>
          <a:solidFill>
            <a:schemeClr val="accent4">
              <a:lumMod val="20000"/>
              <a:lumOff val="80000"/>
            </a:schemeClr>
          </a:solidFill>
          <a:ln w="22225">
            <a:noFill/>
          </a:ln>
          <a:effectLst>
            <a:outerShdw blurRad="635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5" name="TextBox 14">
            <a:extLst>
              <a:ext uri="{FF2B5EF4-FFF2-40B4-BE49-F238E27FC236}">
                <a16:creationId xmlns:a16="http://schemas.microsoft.com/office/drawing/2014/main" id="{4FF43CF5-39A7-404E-92AF-974B8DE4D555}"/>
              </a:ext>
            </a:extLst>
          </p:cNvPr>
          <p:cNvSpPr txBox="1"/>
          <p:nvPr userDrawn="1"/>
        </p:nvSpPr>
        <p:spPr>
          <a:xfrm>
            <a:off x="4739439" y="3068824"/>
            <a:ext cx="1499515" cy="307777"/>
          </a:xfrm>
          <a:prstGeom prst="rect">
            <a:avLst/>
          </a:prstGeom>
          <a:noFill/>
        </p:spPr>
        <p:txBody>
          <a:bodyPr wrap="square" lIns="0" tIns="0" rIns="0" bIns="0" rtlCol="0">
            <a:spAutoFit/>
          </a:bodyPr>
          <a:lstStyle/>
          <a:p>
            <a:r>
              <a:rPr lang="en-GB" sz="2000" b="1" i="0" spc="300">
                <a:latin typeface="Open Sans Semibold" panose="020B0606030504020204" pitchFamily="34" charset="0"/>
                <a:ea typeface="Open Sans Semibold" panose="020B0606030504020204" pitchFamily="34" charset="0"/>
                <a:cs typeface="Open Sans Semibold" panose="020B0606030504020204" pitchFamily="34" charset="0"/>
              </a:rPr>
              <a:t>CLIENT</a:t>
            </a:r>
          </a:p>
        </p:txBody>
      </p:sp>
      <p:sp>
        <p:nvSpPr>
          <p:cNvPr id="27" name="Rectangle 26">
            <a:extLst>
              <a:ext uri="{FF2B5EF4-FFF2-40B4-BE49-F238E27FC236}">
                <a16:creationId xmlns:a16="http://schemas.microsoft.com/office/drawing/2014/main" id="{224AE537-C257-2641-B4DA-16BAA81EBAF0}"/>
              </a:ext>
            </a:extLst>
          </p:cNvPr>
          <p:cNvSpPr/>
          <p:nvPr userDrawn="1"/>
        </p:nvSpPr>
        <p:spPr>
          <a:xfrm>
            <a:off x="7399128" y="3068824"/>
            <a:ext cx="2018879" cy="307777"/>
          </a:xfrm>
          <a:prstGeom prst="rect">
            <a:avLst/>
          </a:prstGeom>
          <a:noFill/>
        </p:spPr>
        <p:txBody>
          <a:bodyPr wrap="square" lIns="0" tIns="0" rIns="0" bIns="0" rtlCol="0">
            <a:spAutoFit/>
          </a:bodyPr>
          <a:lstStyle/>
          <a:p>
            <a:r>
              <a:rPr lang="en-GB" sz="2000" b="1" i="0" spc="300">
                <a:latin typeface="Open Sans Semibold" panose="020B0606030504020204" pitchFamily="34" charset="0"/>
                <a:ea typeface="Open Sans Semibold" panose="020B0606030504020204" pitchFamily="34" charset="0"/>
                <a:cs typeface="Open Sans Semibold" panose="020B0606030504020204" pitchFamily="34" charset="0"/>
              </a:rPr>
              <a:t>AMBITION</a:t>
            </a:r>
          </a:p>
        </p:txBody>
      </p:sp>
      <p:cxnSp>
        <p:nvCxnSpPr>
          <p:cNvPr id="74" name="Straight Connector 73">
            <a:extLst>
              <a:ext uri="{FF2B5EF4-FFF2-40B4-BE49-F238E27FC236}">
                <a16:creationId xmlns:a16="http://schemas.microsoft.com/office/drawing/2014/main" id="{67CAAD79-FAF3-4149-9A96-5A1D8903EBAA}"/>
              </a:ext>
            </a:extLst>
          </p:cNvPr>
          <p:cNvCxnSpPr>
            <a:cxnSpLocks/>
          </p:cNvCxnSpPr>
          <p:nvPr userDrawn="1"/>
        </p:nvCxnSpPr>
        <p:spPr>
          <a:xfrm flipV="1">
            <a:off x="4856929" y="2488702"/>
            <a:ext cx="5985132" cy="1"/>
          </a:xfrm>
          <a:prstGeom prst="line">
            <a:avLst/>
          </a:prstGeom>
          <a:ln w="28575" cap="rnd">
            <a:solidFill>
              <a:schemeClr val="accent4"/>
            </a:solidFill>
            <a:prstDash val="sysDot"/>
            <a:round/>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97" name="Oval 96">
            <a:extLst>
              <a:ext uri="{FF2B5EF4-FFF2-40B4-BE49-F238E27FC236}">
                <a16:creationId xmlns:a16="http://schemas.microsoft.com/office/drawing/2014/main" id="{37AAE770-91A7-1046-AC93-978A4F16C1AA}"/>
              </a:ext>
            </a:extLst>
          </p:cNvPr>
          <p:cNvSpPr/>
          <p:nvPr userDrawn="1"/>
        </p:nvSpPr>
        <p:spPr>
          <a:xfrm>
            <a:off x="10764854" y="2406445"/>
            <a:ext cx="164515" cy="164515"/>
          </a:xfrm>
          <a:prstGeom prst="ellipse">
            <a:avLst/>
          </a:prstGeom>
          <a:solidFill>
            <a:schemeClr val="accent4">
              <a:lumMod val="20000"/>
              <a:lumOff val="80000"/>
            </a:schemeClr>
          </a:solidFill>
          <a:ln w="22225">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9" name="Oval 18">
            <a:extLst>
              <a:ext uri="{FF2B5EF4-FFF2-40B4-BE49-F238E27FC236}">
                <a16:creationId xmlns:a16="http://schemas.microsoft.com/office/drawing/2014/main" id="{1D15B86C-1D74-634B-8D08-A250CE3AF700}"/>
              </a:ext>
            </a:extLst>
          </p:cNvPr>
          <p:cNvSpPr/>
          <p:nvPr userDrawn="1"/>
        </p:nvSpPr>
        <p:spPr>
          <a:xfrm>
            <a:off x="7285285" y="2247490"/>
            <a:ext cx="482424" cy="482424"/>
          </a:xfrm>
          <a:prstGeom prst="ellipse">
            <a:avLst/>
          </a:prstGeom>
          <a:solidFill>
            <a:schemeClr val="accent4">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1" name="Oval 20">
            <a:extLst>
              <a:ext uri="{FF2B5EF4-FFF2-40B4-BE49-F238E27FC236}">
                <a16:creationId xmlns:a16="http://schemas.microsoft.com/office/drawing/2014/main" id="{EC81DF2A-E571-1549-9C14-4A99244B2909}"/>
              </a:ext>
            </a:extLst>
          </p:cNvPr>
          <p:cNvSpPr/>
          <p:nvPr userDrawn="1"/>
        </p:nvSpPr>
        <p:spPr>
          <a:xfrm>
            <a:off x="7407595" y="2369800"/>
            <a:ext cx="237805" cy="237805"/>
          </a:xfrm>
          <a:prstGeom prst="ellipse">
            <a:avLst/>
          </a:prstGeom>
          <a:solidFill>
            <a:schemeClr val="accent4"/>
          </a:solidFill>
          <a:ln w="28575">
            <a:solidFill>
              <a:schemeClr val="accent4"/>
            </a:solidFill>
          </a:ln>
          <a:effectLst>
            <a:outerShdw blurRad="635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pic>
        <p:nvPicPr>
          <p:cNvPr id="17" name="Picture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395784" y="1819275"/>
            <a:ext cx="1435488" cy="1435488"/>
          </a:xfrm>
          <a:prstGeom prst="flowChartConnector">
            <a:avLst/>
          </a:prstGeom>
        </p:spPr>
      </p:pic>
      <p:sp>
        <p:nvSpPr>
          <p:cNvPr id="23" name="Freeform 24">
            <a:extLst>
              <a:ext uri="{FF2B5EF4-FFF2-40B4-BE49-F238E27FC236}">
                <a16:creationId xmlns:a16="http://schemas.microsoft.com/office/drawing/2014/main" id="{B9A19FF1-DFC6-CF48-8029-10530AF291CB}"/>
              </a:ext>
            </a:extLst>
          </p:cNvPr>
          <p:cNvSpPr>
            <a:spLocks noEditPoints="1"/>
          </p:cNvSpPr>
          <p:nvPr/>
        </p:nvSpPr>
        <p:spPr bwMode="auto">
          <a:xfrm>
            <a:off x="1584662" y="2008525"/>
            <a:ext cx="1037172" cy="1034017"/>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1 w 658"/>
              <a:gd name="T21" fmla="*/ 172 h 657"/>
              <a:gd name="T22" fmla="*/ 97 w 658"/>
              <a:gd name="T23" fmla="*/ 97 h 657"/>
              <a:gd name="T24" fmla="*/ 174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1 w 658"/>
              <a:gd name="T71" fmla="*/ 215 h 657"/>
              <a:gd name="T72" fmla="*/ 41 w 658"/>
              <a:gd name="T73" fmla="*/ 298 h 657"/>
              <a:gd name="T74" fmla="*/ 41 w 658"/>
              <a:gd name="T75" fmla="*/ 359 h 657"/>
              <a:gd name="T76" fmla="*/ 61 w 658"/>
              <a:gd name="T77" fmla="*/ 442 h 657"/>
              <a:gd name="T78" fmla="*/ 105 w 658"/>
              <a:gd name="T79" fmla="*/ 513 h 657"/>
              <a:gd name="T80" fmla="*/ 167 w 658"/>
              <a:gd name="T81" fmla="*/ 569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1" y="642"/>
                </a:lnTo>
                <a:lnTo>
                  <a:pt x="202" y="631"/>
                </a:lnTo>
                <a:lnTo>
                  <a:pt x="174" y="618"/>
                </a:lnTo>
                <a:lnTo>
                  <a:pt x="145" y="600"/>
                </a:lnTo>
                <a:lnTo>
                  <a:pt x="121" y="582"/>
                </a:lnTo>
                <a:lnTo>
                  <a:pt x="97" y="561"/>
                </a:lnTo>
                <a:lnTo>
                  <a:pt x="75"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6"/>
                </a:lnTo>
                <a:lnTo>
                  <a:pt x="4" y="278"/>
                </a:lnTo>
                <a:lnTo>
                  <a:pt x="7" y="262"/>
                </a:lnTo>
                <a:lnTo>
                  <a:pt x="11" y="246"/>
                </a:lnTo>
                <a:lnTo>
                  <a:pt x="15" y="231"/>
                </a:lnTo>
                <a:lnTo>
                  <a:pt x="27" y="200"/>
                </a:lnTo>
                <a:lnTo>
                  <a:pt x="41" y="172"/>
                </a:lnTo>
                <a:lnTo>
                  <a:pt x="57" y="145"/>
                </a:lnTo>
                <a:lnTo>
                  <a:pt x="75" y="120"/>
                </a:lnTo>
                <a:lnTo>
                  <a:pt x="97" y="97"/>
                </a:lnTo>
                <a:lnTo>
                  <a:pt x="121" y="75"/>
                </a:lnTo>
                <a:lnTo>
                  <a:pt x="145" y="57"/>
                </a:lnTo>
                <a:lnTo>
                  <a:pt x="174" y="39"/>
                </a:lnTo>
                <a:lnTo>
                  <a:pt x="202" y="26"/>
                </a:lnTo>
                <a:lnTo>
                  <a:pt x="231" y="15"/>
                </a:lnTo>
                <a:lnTo>
                  <a:pt x="247" y="10"/>
                </a:lnTo>
                <a:lnTo>
                  <a:pt x="263" y="7"/>
                </a:lnTo>
                <a:lnTo>
                  <a:pt x="280"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5"/>
                </a:lnTo>
                <a:lnTo>
                  <a:pt x="562" y="97"/>
                </a:lnTo>
                <a:lnTo>
                  <a:pt x="583" y="120"/>
                </a:lnTo>
                <a:lnTo>
                  <a:pt x="602" y="145"/>
                </a:lnTo>
                <a:lnTo>
                  <a:pt x="618" y="172"/>
                </a:lnTo>
                <a:lnTo>
                  <a:pt x="633" y="200"/>
                </a:lnTo>
                <a:lnTo>
                  <a:pt x="643" y="231"/>
                </a:lnTo>
                <a:lnTo>
                  <a:pt x="647" y="246"/>
                </a:lnTo>
                <a:lnTo>
                  <a:pt x="651" y="262"/>
                </a:lnTo>
                <a:lnTo>
                  <a:pt x="654" y="278"/>
                </a:lnTo>
                <a:lnTo>
                  <a:pt x="657" y="296"/>
                </a:lnTo>
                <a:lnTo>
                  <a:pt x="658" y="312"/>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5"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6" y="61"/>
                </a:lnTo>
                <a:lnTo>
                  <a:pt x="191" y="73"/>
                </a:lnTo>
                <a:lnTo>
                  <a:pt x="167" y="87"/>
                </a:lnTo>
                <a:lnTo>
                  <a:pt x="144" y="104"/>
                </a:lnTo>
                <a:lnTo>
                  <a:pt x="124" y="122"/>
                </a:lnTo>
                <a:lnTo>
                  <a:pt x="105" y="144"/>
                </a:lnTo>
                <a:lnTo>
                  <a:pt x="88" y="165"/>
                </a:lnTo>
                <a:lnTo>
                  <a:pt x="74" y="189"/>
                </a:lnTo>
                <a:lnTo>
                  <a:pt x="61" y="215"/>
                </a:lnTo>
                <a:lnTo>
                  <a:pt x="51" y="242"/>
                </a:lnTo>
                <a:lnTo>
                  <a:pt x="45" y="270"/>
                </a:lnTo>
                <a:lnTo>
                  <a:pt x="41" y="298"/>
                </a:lnTo>
                <a:lnTo>
                  <a:pt x="38" y="329"/>
                </a:lnTo>
                <a:lnTo>
                  <a:pt x="38" y="329"/>
                </a:lnTo>
                <a:lnTo>
                  <a:pt x="41" y="359"/>
                </a:lnTo>
                <a:lnTo>
                  <a:pt x="45" y="387"/>
                </a:lnTo>
                <a:lnTo>
                  <a:pt x="51" y="415"/>
                </a:lnTo>
                <a:lnTo>
                  <a:pt x="61" y="442"/>
                </a:lnTo>
                <a:lnTo>
                  <a:pt x="74" y="467"/>
                </a:lnTo>
                <a:lnTo>
                  <a:pt x="88" y="492"/>
                </a:lnTo>
                <a:lnTo>
                  <a:pt x="105" y="513"/>
                </a:lnTo>
                <a:lnTo>
                  <a:pt x="124" y="535"/>
                </a:lnTo>
                <a:lnTo>
                  <a:pt x="144" y="553"/>
                </a:lnTo>
                <a:lnTo>
                  <a:pt x="167" y="569"/>
                </a:lnTo>
                <a:lnTo>
                  <a:pt x="191" y="584"/>
                </a:lnTo>
                <a:lnTo>
                  <a:pt x="216" y="596"/>
                </a:lnTo>
                <a:lnTo>
                  <a:pt x="243" y="607"/>
                </a:lnTo>
                <a:lnTo>
                  <a:pt x="272" y="614"/>
                </a:lnTo>
                <a:lnTo>
                  <a:pt x="300" y="618"/>
                </a:lnTo>
                <a:lnTo>
                  <a:pt x="329" y="619"/>
                </a:lnTo>
                <a:lnTo>
                  <a:pt x="329" y="619"/>
                </a:lnTo>
                <a:lnTo>
                  <a:pt x="359" y="618"/>
                </a:lnTo>
                <a:lnTo>
                  <a:pt x="388" y="614"/>
                </a:lnTo>
                <a:lnTo>
                  <a:pt x="417" y="607"/>
                </a:lnTo>
                <a:lnTo>
                  <a:pt x="442" y="596"/>
                </a:lnTo>
                <a:lnTo>
                  <a:pt x="468" y="584"/>
                </a:lnTo>
                <a:lnTo>
                  <a:pt x="492" y="569"/>
                </a:lnTo>
                <a:lnTo>
                  <a:pt x="515" y="553"/>
                </a:lnTo>
                <a:lnTo>
                  <a:pt x="535" y="535"/>
                </a:lnTo>
                <a:lnTo>
                  <a:pt x="553"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3" y="144"/>
                </a:lnTo>
                <a:lnTo>
                  <a:pt x="535" y="122"/>
                </a:lnTo>
                <a:lnTo>
                  <a:pt x="515" y="104"/>
                </a:lnTo>
                <a:lnTo>
                  <a:pt x="492" y="87"/>
                </a:lnTo>
                <a:lnTo>
                  <a:pt x="468" y="73"/>
                </a:lnTo>
                <a:lnTo>
                  <a:pt x="442" y="61"/>
                </a:lnTo>
                <a:lnTo>
                  <a:pt x="417" y="51"/>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nvGrpSpPr>
          <p:cNvPr id="37" name="Group 36">
            <a:extLst>
              <a:ext uri="{FF2B5EF4-FFF2-40B4-BE49-F238E27FC236}">
                <a16:creationId xmlns:a16="http://schemas.microsoft.com/office/drawing/2014/main" id="{7CE30D8A-2D04-8741-9167-2399216F9FD7}"/>
              </a:ext>
            </a:extLst>
          </p:cNvPr>
          <p:cNvGrpSpPr>
            <a:grpSpLocks noChangeAspect="1"/>
          </p:cNvGrpSpPr>
          <p:nvPr/>
        </p:nvGrpSpPr>
        <p:grpSpPr>
          <a:xfrm>
            <a:off x="1915333" y="2278814"/>
            <a:ext cx="358292" cy="493438"/>
            <a:chOff x="725488" y="3476625"/>
            <a:chExt cx="180975" cy="249238"/>
          </a:xfrm>
        </p:grpSpPr>
        <p:sp>
          <p:nvSpPr>
            <p:cNvPr id="40" name="Freeform 147">
              <a:extLst>
                <a:ext uri="{FF2B5EF4-FFF2-40B4-BE49-F238E27FC236}">
                  <a16:creationId xmlns:a16="http://schemas.microsoft.com/office/drawing/2014/main" id="{AC31F184-94A1-F849-AC31-7D1558378FD3}"/>
                </a:ext>
              </a:extLst>
            </p:cNvPr>
            <p:cNvSpPr>
              <a:spLocks/>
            </p:cNvSpPr>
            <p:nvPr/>
          </p:nvSpPr>
          <p:spPr bwMode="auto">
            <a:xfrm>
              <a:off x="725488" y="3709988"/>
              <a:ext cx="180975" cy="15875"/>
            </a:xfrm>
            <a:custGeom>
              <a:avLst/>
              <a:gdLst>
                <a:gd name="T0" fmla="*/ 0 w 227"/>
                <a:gd name="T1" fmla="*/ 6 h 22"/>
                <a:gd name="T2" fmla="*/ 0 w 227"/>
                <a:gd name="T3" fmla="*/ 16 h 22"/>
                <a:gd name="T4" fmla="*/ 0 w 227"/>
                <a:gd name="T5" fmla="*/ 16 h 22"/>
                <a:gd name="T6" fmla="*/ 0 w 227"/>
                <a:gd name="T7" fmla="*/ 19 h 22"/>
                <a:gd name="T8" fmla="*/ 2 w 227"/>
                <a:gd name="T9" fmla="*/ 20 h 22"/>
                <a:gd name="T10" fmla="*/ 3 w 227"/>
                <a:gd name="T11" fmla="*/ 22 h 22"/>
                <a:gd name="T12" fmla="*/ 6 w 227"/>
                <a:gd name="T13" fmla="*/ 22 h 22"/>
                <a:gd name="T14" fmla="*/ 222 w 227"/>
                <a:gd name="T15" fmla="*/ 22 h 22"/>
                <a:gd name="T16" fmla="*/ 222 w 227"/>
                <a:gd name="T17" fmla="*/ 22 h 22"/>
                <a:gd name="T18" fmla="*/ 223 w 227"/>
                <a:gd name="T19" fmla="*/ 22 h 22"/>
                <a:gd name="T20" fmla="*/ 226 w 227"/>
                <a:gd name="T21" fmla="*/ 20 h 22"/>
                <a:gd name="T22" fmla="*/ 227 w 227"/>
                <a:gd name="T23" fmla="*/ 19 h 22"/>
                <a:gd name="T24" fmla="*/ 227 w 227"/>
                <a:gd name="T25" fmla="*/ 16 h 22"/>
                <a:gd name="T26" fmla="*/ 227 w 227"/>
                <a:gd name="T27" fmla="*/ 6 h 22"/>
                <a:gd name="T28" fmla="*/ 227 w 227"/>
                <a:gd name="T29" fmla="*/ 6 h 22"/>
                <a:gd name="T30" fmla="*/ 227 w 227"/>
                <a:gd name="T31" fmla="*/ 4 h 22"/>
                <a:gd name="T32" fmla="*/ 226 w 227"/>
                <a:gd name="T33" fmla="*/ 2 h 22"/>
                <a:gd name="T34" fmla="*/ 223 w 227"/>
                <a:gd name="T35" fmla="*/ 0 h 22"/>
                <a:gd name="T36" fmla="*/ 222 w 227"/>
                <a:gd name="T37" fmla="*/ 0 h 22"/>
                <a:gd name="T38" fmla="*/ 6 w 227"/>
                <a:gd name="T39" fmla="*/ 0 h 22"/>
                <a:gd name="T40" fmla="*/ 6 w 227"/>
                <a:gd name="T41" fmla="*/ 0 h 22"/>
                <a:gd name="T42" fmla="*/ 3 w 227"/>
                <a:gd name="T43" fmla="*/ 0 h 22"/>
                <a:gd name="T44" fmla="*/ 2 w 227"/>
                <a:gd name="T45" fmla="*/ 2 h 22"/>
                <a:gd name="T46" fmla="*/ 0 w 227"/>
                <a:gd name="T47" fmla="*/ 4 h 22"/>
                <a:gd name="T48" fmla="*/ 0 w 227"/>
                <a:gd name="T49" fmla="*/ 6 h 22"/>
                <a:gd name="T50" fmla="*/ 0 w 227"/>
                <a:gd name="T5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7" h="22">
                  <a:moveTo>
                    <a:pt x="0" y="6"/>
                  </a:moveTo>
                  <a:lnTo>
                    <a:pt x="0" y="16"/>
                  </a:lnTo>
                  <a:lnTo>
                    <a:pt x="0" y="16"/>
                  </a:lnTo>
                  <a:lnTo>
                    <a:pt x="0" y="19"/>
                  </a:lnTo>
                  <a:lnTo>
                    <a:pt x="2" y="20"/>
                  </a:lnTo>
                  <a:lnTo>
                    <a:pt x="3" y="22"/>
                  </a:lnTo>
                  <a:lnTo>
                    <a:pt x="6" y="22"/>
                  </a:lnTo>
                  <a:lnTo>
                    <a:pt x="222" y="22"/>
                  </a:lnTo>
                  <a:lnTo>
                    <a:pt x="222" y="22"/>
                  </a:lnTo>
                  <a:lnTo>
                    <a:pt x="223" y="22"/>
                  </a:lnTo>
                  <a:lnTo>
                    <a:pt x="226" y="20"/>
                  </a:lnTo>
                  <a:lnTo>
                    <a:pt x="227" y="19"/>
                  </a:lnTo>
                  <a:lnTo>
                    <a:pt x="227" y="16"/>
                  </a:lnTo>
                  <a:lnTo>
                    <a:pt x="227" y="6"/>
                  </a:lnTo>
                  <a:lnTo>
                    <a:pt x="227" y="6"/>
                  </a:lnTo>
                  <a:lnTo>
                    <a:pt x="227" y="4"/>
                  </a:lnTo>
                  <a:lnTo>
                    <a:pt x="226" y="2"/>
                  </a:lnTo>
                  <a:lnTo>
                    <a:pt x="223" y="0"/>
                  </a:lnTo>
                  <a:lnTo>
                    <a:pt x="222" y="0"/>
                  </a:lnTo>
                  <a:lnTo>
                    <a:pt x="6" y="0"/>
                  </a:lnTo>
                  <a:lnTo>
                    <a:pt x="6" y="0"/>
                  </a:lnTo>
                  <a:lnTo>
                    <a:pt x="3" y="0"/>
                  </a:lnTo>
                  <a:lnTo>
                    <a:pt x="2" y="2"/>
                  </a:lnTo>
                  <a:lnTo>
                    <a:pt x="0" y="4"/>
                  </a:lnTo>
                  <a:lnTo>
                    <a:pt x="0" y="6"/>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41" name="Freeform 148">
              <a:extLst>
                <a:ext uri="{FF2B5EF4-FFF2-40B4-BE49-F238E27FC236}">
                  <a16:creationId xmlns:a16="http://schemas.microsoft.com/office/drawing/2014/main" id="{114D2C50-9E82-D746-8BA9-5A5E48B591B7}"/>
                </a:ext>
              </a:extLst>
            </p:cNvPr>
            <p:cNvSpPr>
              <a:spLocks/>
            </p:cNvSpPr>
            <p:nvPr/>
          </p:nvSpPr>
          <p:spPr bwMode="auto">
            <a:xfrm>
              <a:off x="735013" y="3476625"/>
              <a:ext cx="161925" cy="223838"/>
            </a:xfrm>
            <a:custGeom>
              <a:avLst/>
              <a:gdLst>
                <a:gd name="T0" fmla="*/ 5 w 206"/>
                <a:gd name="T1" fmla="*/ 0 h 282"/>
                <a:gd name="T2" fmla="*/ 3 w 206"/>
                <a:gd name="T3" fmla="*/ 1 h 282"/>
                <a:gd name="T4" fmla="*/ 0 w 206"/>
                <a:gd name="T5" fmla="*/ 4 h 282"/>
                <a:gd name="T6" fmla="*/ 0 w 206"/>
                <a:gd name="T7" fmla="*/ 81 h 282"/>
                <a:gd name="T8" fmla="*/ 0 w 206"/>
                <a:gd name="T9" fmla="*/ 84 h 282"/>
                <a:gd name="T10" fmla="*/ 52 w 206"/>
                <a:gd name="T11" fmla="*/ 116 h 282"/>
                <a:gd name="T12" fmla="*/ 21 w 206"/>
                <a:gd name="T13" fmla="*/ 275 h 282"/>
                <a:gd name="T14" fmla="*/ 23 w 206"/>
                <a:gd name="T15" fmla="*/ 280 h 282"/>
                <a:gd name="T16" fmla="*/ 24 w 206"/>
                <a:gd name="T17" fmla="*/ 282 h 282"/>
                <a:gd name="T18" fmla="*/ 179 w 206"/>
                <a:gd name="T19" fmla="*/ 282 h 282"/>
                <a:gd name="T20" fmla="*/ 180 w 206"/>
                <a:gd name="T21" fmla="*/ 282 h 282"/>
                <a:gd name="T22" fmla="*/ 183 w 206"/>
                <a:gd name="T23" fmla="*/ 280 h 282"/>
                <a:gd name="T24" fmla="*/ 184 w 206"/>
                <a:gd name="T25" fmla="*/ 275 h 282"/>
                <a:gd name="T26" fmla="*/ 203 w 206"/>
                <a:gd name="T27" fmla="*/ 85 h 282"/>
                <a:gd name="T28" fmla="*/ 204 w 206"/>
                <a:gd name="T29" fmla="*/ 84 h 282"/>
                <a:gd name="T30" fmla="*/ 206 w 206"/>
                <a:gd name="T31" fmla="*/ 5 h 282"/>
                <a:gd name="T32" fmla="*/ 206 w 206"/>
                <a:gd name="T33" fmla="*/ 4 h 282"/>
                <a:gd name="T34" fmla="*/ 201 w 206"/>
                <a:gd name="T35" fmla="*/ 1 h 282"/>
                <a:gd name="T36" fmla="*/ 168 w 206"/>
                <a:gd name="T37" fmla="*/ 0 h 282"/>
                <a:gd name="T38" fmla="*/ 165 w 206"/>
                <a:gd name="T39" fmla="*/ 1 h 282"/>
                <a:gd name="T40" fmla="*/ 163 w 206"/>
                <a:gd name="T41" fmla="*/ 4 h 282"/>
                <a:gd name="T42" fmla="*/ 163 w 206"/>
                <a:gd name="T43" fmla="*/ 33 h 282"/>
                <a:gd name="T44" fmla="*/ 129 w 206"/>
                <a:gd name="T45" fmla="*/ 5 h 282"/>
                <a:gd name="T46" fmla="*/ 129 w 206"/>
                <a:gd name="T47" fmla="*/ 4 h 282"/>
                <a:gd name="T48" fmla="*/ 126 w 206"/>
                <a:gd name="T49" fmla="*/ 1 h 282"/>
                <a:gd name="T50" fmla="*/ 81 w 206"/>
                <a:gd name="T51" fmla="*/ 0 h 282"/>
                <a:gd name="T52" fmla="*/ 79 w 206"/>
                <a:gd name="T53" fmla="*/ 1 h 282"/>
                <a:gd name="T54" fmla="*/ 75 w 206"/>
                <a:gd name="T55" fmla="*/ 4 h 282"/>
                <a:gd name="T56" fmla="*/ 75 w 206"/>
                <a:gd name="T57" fmla="*/ 33 h 282"/>
                <a:gd name="T58" fmla="*/ 43 w 206"/>
                <a:gd name="T59" fmla="*/ 5 h 282"/>
                <a:gd name="T60" fmla="*/ 43 w 206"/>
                <a:gd name="T61" fmla="*/ 4 h 282"/>
                <a:gd name="T62" fmla="*/ 39 w 206"/>
                <a:gd name="T63" fmla="*/ 1 h 282"/>
                <a:gd name="T64" fmla="*/ 38 w 206"/>
                <a:gd name="T65"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6" h="282">
                  <a:moveTo>
                    <a:pt x="38" y="0"/>
                  </a:moveTo>
                  <a:lnTo>
                    <a:pt x="5" y="0"/>
                  </a:lnTo>
                  <a:lnTo>
                    <a:pt x="5" y="0"/>
                  </a:lnTo>
                  <a:lnTo>
                    <a:pt x="3" y="1"/>
                  </a:lnTo>
                  <a:lnTo>
                    <a:pt x="1" y="2"/>
                  </a:lnTo>
                  <a:lnTo>
                    <a:pt x="0" y="4"/>
                  </a:lnTo>
                  <a:lnTo>
                    <a:pt x="0" y="5"/>
                  </a:lnTo>
                  <a:lnTo>
                    <a:pt x="0" y="81"/>
                  </a:lnTo>
                  <a:lnTo>
                    <a:pt x="0" y="81"/>
                  </a:lnTo>
                  <a:lnTo>
                    <a:pt x="0" y="84"/>
                  </a:lnTo>
                  <a:lnTo>
                    <a:pt x="3" y="85"/>
                  </a:lnTo>
                  <a:lnTo>
                    <a:pt x="52" y="116"/>
                  </a:lnTo>
                  <a:lnTo>
                    <a:pt x="21" y="275"/>
                  </a:lnTo>
                  <a:lnTo>
                    <a:pt x="21" y="275"/>
                  </a:lnTo>
                  <a:lnTo>
                    <a:pt x="21" y="278"/>
                  </a:lnTo>
                  <a:lnTo>
                    <a:pt x="23" y="280"/>
                  </a:lnTo>
                  <a:lnTo>
                    <a:pt x="23" y="280"/>
                  </a:lnTo>
                  <a:lnTo>
                    <a:pt x="24" y="282"/>
                  </a:lnTo>
                  <a:lnTo>
                    <a:pt x="27" y="282"/>
                  </a:lnTo>
                  <a:lnTo>
                    <a:pt x="179" y="282"/>
                  </a:lnTo>
                  <a:lnTo>
                    <a:pt x="179" y="282"/>
                  </a:lnTo>
                  <a:lnTo>
                    <a:pt x="180" y="282"/>
                  </a:lnTo>
                  <a:lnTo>
                    <a:pt x="183" y="280"/>
                  </a:lnTo>
                  <a:lnTo>
                    <a:pt x="183" y="280"/>
                  </a:lnTo>
                  <a:lnTo>
                    <a:pt x="184" y="278"/>
                  </a:lnTo>
                  <a:lnTo>
                    <a:pt x="184" y="275"/>
                  </a:lnTo>
                  <a:lnTo>
                    <a:pt x="152" y="116"/>
                  </a:lnTo>
                  <a:lnTo>
                    <a:pt x="203" y="85"/>
                  </a:lnTo>
                  <a:lnTo>
                    <a:pt x="203" y="85"/>
                  </a:lnTo>
                  <a:lnTo>
                    <a:pt x="204" y="84"/>
                  </a:lnTo>
                  <a:lnTo>
                    <a:pt x="206" y="81"/>
                  </a:lnTo>
                  <a:lnTo>
                    <a:pt x="206" y="5"/>
                  </a:lnTo>
                  <a:lnTo>
                    <a:pt x="206" y="5"/>
                  </a:lnTo>
                  <a:lnTo>
                    <a:pt x="206" y="4"/>
                  </a:lnTo>
                  <a:lnTo>
                    <a:pt x="204" y="2"/>
                  </a:lnTo>
                  <a:lnTo>
                    <a:pt x="201" y="1"/>
                  </a:lnTo>
                  <a:lnTo>
                    <a:pt x="200" y="0"/>
                  </a:lnTo>
                  <a:lnTo>
                    <a:pt x="168" y="0"/>
                  </a:lnTo>
                  <a:lnTo>
                    <a:pt x="168" y="0"/>
                  </a:lnTo>
                  <a:lnTo>
                    <a:pt x="165" y="1"/>
                  </a:lnTo>
                  <a:lnTo>
                    <a:pt x="164" y="2"/>
                  </a:lnTo>
                  <a:lnTo>
                    <a:pt x="163" y="4"/>
                  </a:lnTo>
                  <a:lnTo>
                    <a:pt x="163" y="5"/>
                  </a:lnTo>
                  <a:lnTo>
                    <a:pt x="163" y="33"/>
                  </a:lnTo>
                  <a:lnTo>
                    <a:pt x="129" y="33"/>
                  </a:lnTo>
                  <a:lnTo>
                    <a:pt x="129" y="5"/>
                  </a:lnTo>
                  <a:lnTo>
                    <a:pt x="129" y="5"/>
                  </a:lnTo>
                  <a:lnTo>
                    <a:pt x="129" y="4"/>
                  </a:lnTo>
                  <a:lnTo>
                    <a:pt x="128" y="2"/>
                  </a:lnTo>
                  <a:lnTo>
                    <a:pt x="126" y="1"/>
                  </a:lnTo>
                  <a:lnTo>
                    <a:pt x="124" y="0"/>
                  </a:lnTo>
                  <a:lnTo>
                    <a:pt x="81" y="0"/>
                  </a:lnTo>
                  <a:lnTo>
                    <a:pt x="81" y="0"/>
                  </a:lnTo>
                  <a:lnTo>
                    <a:pt x="79" y="1"/>
                  </a:lnTo>
                  <a:lnTo>
                    <a:pt x="77" y="2"/>
                  </a:lnTo>
                  <a:lnTo>
                    <a:pt x="75" y="4"/>
                  </a:lnTo>
                  <a:lnTo>
                    <a:pt x="75" y="5"/>
                  </a:lnTo>
                  <a:lnTo>
                    <a:pt x="75" y="33"/>
                  </a:lnTo>
                  <a:lnTo>
                    <a:pt x="43" y="33"/>
                  </a:lnTo>
                  <a:lnTo>
                    <a:pt x="43" y="5"/>
                  </a:lnTo>
                  <a:lnTo>
                    <a:pt x="43" y="5"/>
                  </a:lnTo>
                  <a:lnTo>
                    <a:pt x="43" y="4"/>
                  </a:lnTo>
                  <a:lnTo>
                    <a:pt x="42" y="2"/>
                  </a:lnTo>
                  <a:lnTo>
                    <a:pt x="39" y="1"/>
                  </a:lnTo>
                  <a:lnTo>
                    <a:pt x="38" y="0"/>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sp>
        <p:nvSpPr>
          <p:cNvPr id="20" name="Text Placeholder 1">
            <a:extLst>
              <a:ext uri="{FF2B5EF4-FFF2-40B4-BE49-F238E27FC236}">
                <a16:creationId xmlns:a16="http://schemas.microsoft.com/office/drawing/2014/main" id="{FA0DD9EC-6D4E-884F-9F61-96A046ACBEAD}"/>
              </a:ext>
            </a:extLst>
          </p:cNvPr>
          <p:cNvSpPr txBox="1">
            <a:spLocks/>
          </p:cNvSpPr>
          <p:nvPr userDrawn="1"/>
        </p:nvSpPr>
        <p:spPr>
          <a:xfrm>
            <a:off x="1428204" y="4461538"/>
            <a:ext cx="1868998" cy="5417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2000" b="0" i="0" kern="1200" spc="-3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i="1"/>
              <a:t>Case study</a:t>
            </a:r>
          </a:p>
        </p:txBody>
      </p:sp>
      <p:sp>
        <p:nvSpPr>
          <p:cNvPr id="22" name="Title 62">
            <a:extLst>
              <a:ext uri="{FF2B5EF4-FFF2-40B4-BE49-F238E27FC236}">
                <a16:creationId xmlns:a16="http://schemas.microsoft.com/office/drawing/2014/main" id="{3DF0720F-FE98-F44D-A906-7FF6A89C9427}"/>
              </a:ext>
            </a:extLst>
          </p:cNvPr>
          <p:cNvSpPr txBox="1">
            <a:spLocks/>
          </p:cNvSpPr>
          <p:nvPr userDrawn="1"/>
        </p:nvSpPr>
        <p:spPr>
          <a:xfrm>
            <a:off x="1428204" y="3580475"/>
            <a:ext cx="2838996" cy="881063"/>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mj-lt"/>
                <a:ea typeface="Bebas Neue" charset="0"/>
                <a:cs typeface="Chronicle Display Black"/>
              </a:defRPr>
            </a:lvl1pPr>
          </a:lstStyle>
          <a:p>
            <a:r>
              <a:rPr lang="en-GB" sz="3200"/>
              <a:t>Digital </a:t>
            </a:r>
            <a:br>
              <a:rPr lang="en-GB" sz="3200"/>
            </a:br>
            <a:r>
              <a:rPr lang="en-GB" sz="3200"/>
              <a:t>transformation</a:t>
            </a:r>
          </a:p>
        </p:txBody>
      </p:sp>
      <p:sp>
        <p:nvSpPr>
          <p:cNvPr id="24" name="Text Placeholder 3">
            <a:extLst>
              <a:ext uri="{FF2B5EF4-FFF2-40B4-BE49-F238E27FC236}">
                <a16:creationId xmlns:a16="http://schemas.microsoft.com/office/drawing/2014/main" id="{A277D9B1-FA02-8243-A632-C7E885C5F484}"/>
              </a:ext>
            </a:extLst>
          </p:cNvPr>
          <p:cNvSpPr>
            <a:spLocks noGrp="1"/>
          </p:cNvSpPr>
          <p:nvPr>
            <p:ph type="body" sz="quarter" idx="15"/>
          </p:nvPr>
        </p:nvSpPr>
        <p:spPr>
          <a:xfrm>
            <a:off x="7399128" y="3611863"/>
            <a:ext cx="3189800" cy="541762"/>
          </a:xfrm>
        </p:spPr>
        <p:txBody>
          <a:bodyPr anchor="t" anchorCtr="0"/>
          <a:lstStyle>
            <a:lvl1pPr marL="0" indent="0" eaLnBrk="1">
              <a:buFont typeface="Arial" panose="020B0604020202020204" pitchFamily="34" charset="0"/>
              <a:buNone/>
              <a:defRPr sz="1600" b="0" i="0">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GB"/>
          </a:p>
        </p:txBody>
      </p:sp>
      <p:sp>
        <p:nvSpPr>
          <p:cNvPr id="25" name="Text Placeholder 3">
            <a:extLst>
              <a:ext uri="{FF2B5EF4-FFF2-40B4-BE49-F238E27FC236}">
                <a16:creationId xmlns:a16="http://schemas.microsoft.com/office/drawing/2014/main" id="{5201CEDE-E69A-764F-857C-F0F82981339D}"/>
              </a:ext>
            </a:extLst>
          </p:cNvPr>
          <p:cNvSpPr>
            <a:spLocks noGrp="1"/>
          </p:cNvSpPr>
          <p:nvPr>
            <p:ph type="body" sz="quarter" idx="16"/>
          </p:nvPr>
        </p:nvSpPr>
        <p:spPr>
          <a:xfrm>
            <a:off x="4739439" y="3611863"/>
            <a:ext cx="2321761" cy="541762"/>
          </a:xfrm>
        </p:spPr>
        <p:txBody>
          <a:bodyPr anchor="t" anchorCtr="0"/>
          <a:lstStyle>
            <a:lvl1pPr marL="0" indent="0" eaLnBrk="1">
              <a:buFont typeface="Arial" panose="020B0604020202020204" pitchFamily="34" charse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GB"/>
          </a:p>
        </p:txBody>
      </p:sp>
    </p:spTree>
    <p:extLst>
      <p:ext uri="{BB962C8B-B14F-4D97-AF65-F5344CB8AC3E}">
        <p14:creationId xmlns:p14="http://schemas.microsoft.com/office/powerpoint/2010/main" val="1760902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 fill="hold"/>
                                        <p:tgtEl>
                                          <p:spTgt spid="1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gital Proposition - Yellow Intr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21697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3"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2" name="Picture 2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395029" y="1819275"/>
            <a:ext cx="1435488" cy="1435488"/>
          </a:xfrm>
          <a:prstGeom prst="flowChartConnector">
            <a:avLst/>
          </a:prstGeom>
        </p:spPr>
      </p:pic>
      <p:sp>
        <p:nvSpPr>
          <p:cNvPr id="15" name="TextBox 14">
            <a:extLst>
              <a:ext uri="{FF2B5EF4-FFF2-40B4-BE49-F238E27FC236}">
                <a16:creationId xmlns:a16="http://schemas.microsoft.com/office/drawing/2014/main" id="{2CD08B16-AD60-544B-8EAA-B32293E8EFE9}"/>
              </a:ext>
            </a:extLst>
          </p:cNvPr>
          <p:cNvSpPr txBox="1"/>
          <p:nvPr userDrawn="1"/>
        </p:nvSpPr>
        <p:spPr>
          <a:xfrm>
            <a:off x="4739439" y="3068824"/>
            <a:ext cx="1499515" cy="307777"/>
          </a:xfrm>
          <a:prstGeom prst="rect">
            <a:avLst/>
          </a:prstGeom>
          <a:noFill/>
        </p:spPr>
        <p:txBody>
          <a:bodyPr wrap="square" lIns="0" tIns="0" rIns="0" bIns="0" rtlCol="0">
            <a:spAutoFit/>
          </a:bodyPr>
          <a:lstStyle/>
          <a:p>
            <a:r>
              <a:rPr lang="en-GB" sz="2000" b="1" i="0" spc="300">
                <a:latin typeface="Open Sans Semibold" panose="020B0606030504020204" pitchFamily="34" charset="0"/>
                <a:ea typeface="Open Sans Semibold" panose="020B0606030504020204" pitchFamily="34" charset="0"/>
                <a:cs typeface="Open Sans Semibold" panose="020B0606030504020204" pitchFamily="34" charset="0"/>
              </a:rPr>
              <a:t>CLIENT</a:t>
            </a:r>
          </a:p>
        </p:txBody>
      </p:sp>
      <p:sp>
        <p:nvSpPr>
          <p:cNvPr id="27" name="Rectangle 26">
            <a:extLst>
              <a:ext uri="{FF2B5EF4-FFF2-40B4-BE49-F238E27FC236}">
                <a16:creationId xmlns:a16="http://schemas.microsoft.com/office/drawing/2014/main" id="{80DFC1A1-A4AC-F64C-B4CD-72EBAFB1956C}"/>
              </a:ext>
            </a:extLst>
          </p:cNvPr>
          <p:cNvSpPr/>
          <p:nvPr userDrawn="1"/>
        </p:nvSpPr>
        <p:spPr>
          <a:xfrm>
            <a:off x="7399128" y="3068824"/>
            <a:ext cx="2018879" cy="307777"/>
          </a:xfrm>
          <a:prstGeom prst="rect">
            <a:avLst/>
          </a:prstGeom>
          <a:noFill/>
        </p:spPr>
        <p:txBody>
          <a:bodyPr wrap="square" lIns="0" tIns="0" rIns="0" bIns="0" rtlCol="0">
            <a:spAutoFit/>
          </a:bodyPr>
          <a:lstStyle/>
          <a:p>
            <a:r>
              <a:rPr lang="en-GB" sz="2000" b="1" i="0" spc="300">
                <a:latin typeface="Open Sans Semibold" panose="020B0606030504020204" pitchFamily="34" charset="0"/>
                <a:ea typeface="Open Sans Semibold" panose="020B0606030504020204" pitchFamily="34" charset="0"/>
                <a:cs typeface="Open Sans Semibold" panose="020B0606030504020204" pitchFamily="34" charset="0"/>
              </a:rPr>
              <a:t>AMBITION</a:t>
            </a:r>
          </a:p>
        </p:txBody>
      </p:sp>
      <p:sp>
        <p:nvSpPr>
          <p:cNvPr id="57" name="Oval 56">
            <a:extLst>
              <a:ext uri="{FF2B5EF4-FFF2-40B4-BE49-F238E27FC236}">
                <a16:creationId xmlns:a16="http://schemas.microsoft.com/office/drawing/2014/main" id="{2AB68837-B324-7F4E-A9E6-653ACF7C1C6F}"/>
              </a:ext>
            </a:extLst>
          </p:cNvPr>
          <p:cNvSpPr/>
          <p:nvPr userDrawn="1"/>
        </p:nvSpPr>
        <p:spPr>
          <a:xfrm>
            <a:off x="4696200" y="2323690"/>
            <a:ext cx="330024" cy="330024"/>
          </a:xfrm>
          <a:prstGeom prst="ellipse">
            <a:avLst/>
          </a:prstGeom>
          <a:solidFill>
            <a:schemeClr val="accent3">
              <a:lumMod val="20000"/>
              <a:lumOff val="80000"/>
            </a:schemeClr>
          </a:solidFill>
          <a:ln w="22225">
            <a:noFill/>
          </a:ln>
          <a:effectLst>
            <a:outerShdw blurRad="635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cxnSp>
        <p:nvCxnSpPr>
          <p:cNvPr id="59" name="Straight Connector 58">
            <a:extLst>
              <a:ext uri="{FF2B5EF4-FFF2-40B4-BE49-F238E27FC236}">
                <a16:creationId xmlns:a16="http://schemas.microsoft.com/office/drawing/2014/main" id="{E829CFD7-70E1-C74F-9773-48BBD2D1BA70}"/>
              </a:ext>
            </a:extLst>
          </p:cNvPr>
          <p:cNvCxnSpPr>
            <a:cxnSpLocks/>
          </p:cNvCxnSpPr>
          <p:nvPr userDrawn="1"/>
        </p:nvCxnSpPr>
        <p:spPr>
          <a:xfrm flipV="1">
            <a:off x="4856929" y="2488702"/>
            <a:ext cx="5985132" cy="1"/>
          </a:xfrm>
          <a:prstGeom prst="line">
            <a:avLst/>
          </a:prstGeom>
          <a:ln w="28575" cap="rnd">
            <a:solidFill>
              <a:schemeClr val="accent3"/>
            </a:solidFill>
            <a:prstDash val="sysDot"/>
            <a:round/>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9BDEA737-4A65-B646-8353-B84363CA7531}"/>
              </a:ext>
            </a:extLst>
          </p:cNvPr>
          <p:cNvSpPr/>
          <p:nvPr userDrawn="1"/>
        </p:nvSpPr>
        <p:spPr>
          <a:xfrm>
            <a:off x="10764854" y="2406445"/>
            <a:ext cx="164515" cy="164515"/>
          </a:xfrm>
          <a:prstGeom prst="ellipse">
            <a:avLst/>
          </a:prstGeom>
          <a:solidFill>
            <a:schemeClr val="accent3">
              <a:lumMod val="20000"/>
              <a:lumOff val="80000"/>
            </a:schemeClr>
          </a:solidFill>
          <a:ln w="22225">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9" name="Oval 18">
            <a:extLst>
              <a:ext uri="{FF2B5EF4-FFF2-40B4-BE49-F238E27FC236}">
                <a16:creationId xmlns:a16="http://schemas.microsoft.com/office/drawing/2014/main" id="{DAC10D46-3DE1-9649-9F84-293BECF7B9BD}"/>
              </a:ext>
            </a:extLst>
          </p:cNvPr>
          <p:cNvSpPr/>
          <p:nvPr userDrawn="1"/>
        </p:nvSpPr>
        <p:spPr>
          <a:xfrm>
            <a:off x="7285285" y="2247490"/>
            <a:ext cx="482424" cy="482424"/>
          </a:xfrm>
          <a:prstGeom prst="ellipse">
            <a:avLst/>
          </a:prstGeom>
          <a:solidFill>
            <a:schemeClr val="accent3">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1" name="Oval 20">
            <a:extLst>
              <a:ext uri="{FF2B5EF4-FFF2-40B4-BE49-F238E27FC236}">
                <a16:creationId xmlns:a16="http://schemas.microsoft.com/office/drawing/2014/main" id="{BE2F935F-56DF-CD44-B62A-A8E3C07001CB}"/>
              </a:ext>
            </a:extLst>
          </p:cNvPr>
          <p:cNvSpPr/>
          <p:nvPr userDrawn="1"/>
        </p:nvSpPr>
        <p:spPr>
          <a:xfrm>
            <a:off x="7407595" y="2369800"/>
            <a:ext cx="237805" cy="237805"/>
          </a:xfrm>
          <a:prstGeom prst="ellipse">
            <a:avLst/>
          </a:prstGeom>
          <a:solidFill>
            <a:schemeClr val="accent3"/>
          </a:solidFill>
          <a:ln w="28575">
            <a:solidFill>
              <a:schemeClr val="accent3"/>
            </a:solidFill>
          </a:ln>
          <a:effectLst>
            <a:outerShdw blurRad="635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0" name="Freeform 24">
            <a:extLst>
              <a:ext uri="{FF2B5EF4-FFF2-40B4-BE49-F238E27FC236}">
                <a16:creationId xmlns:a16="http://schemas.microsoft.com/office/drawing/2014/main" id="{B9A19FF1-DFC6-CF48-8029-10530AF291CB}"/>
              </a:ext>
            </a:extLst>
          </p:cNvPr>
          <p:cNvSpPr>
            <a:spLocks noEditPoints="1"/>
          </p:cNvSpPr>
          <p:nvPr userDrawn="1"/>
        </p:nvSpPr>
        <p:spPr bwMode="auto">
          <a:xfrm>
            <a:off x="1584662" y="2008525"/>
            <a:ext cx="1037172" cy="1034017"/>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1 w 658"/>
              <a:gd name="T21" fmla="*/ 172 h 657"/>
              <a:gd name="T22" fmla="*/ 97 w 658"/>
              <a:gd name="T23" fmla="*/ 97 h 657"/>
              <a:gd name="T24" fmla="*/ 174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1 w 658"/>
              <a:gd name="T71" fmla="*/ 215 h 657"/>
              <a:gd name="T72" fmla="*/ 41 w 658"/>
              <a:gd name="T73" fmla="*/ 298 h 657"/>
              <a:gd name="T74" fmla="*/ 41 w 658"/>
              <a:gd name="T75" fmla="*/ 359 h 657"/>
              <a:gd name="T76" fmla="*/ 61 w 658"/>
              <a:gd name="T77" fmla="*/ 442 h 657"/>
              <a:gd name="T78" fmla="*/ 105 w 658"/>
              <a:gd name="T79" fmla="*/ 513 h 657"/>
              <a:gd name="T80" fmla="*/ 167 w 658"/>
              <a:gd name="T81" fmla="*/ 569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1" y="642"/>
                </a:lnTo>
                <a:lnTo>
                  <a:pt x="202" y="631"/>
                </a:lnTo>
                <a:lnTo>
                  <a:pt x="174" y="618"/>
                </a:lnTo>
                <a:lnTo>
                  <a:pt x="145" y="600"/>
                </a:lnTo>
                <a:lnTo>
                  <a:pt x="121" y="582"/>
                </a:lnTo>
                <a:lnTo>
                  <a:pt x="97" y="561"/>
                </a:lnTo>
                <a:lnTo>
                  <a:pt x="75"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6"/>
                </a:lnTo>
                <a:lnTo>
                  <a:pt x="4" y="278"/>
                </a:lnTo>
                <a:lnTo>
                  <a:pt x="7" y="262"/>
                </a:lnTo>
                <a:lnTo>
                  <a:pt x="11" y="246"/>
                </a:lnTo>
                <a:lnTo>
                  <a:pt x="15" y="231"/>
                </a:lnTo>
                <a:lnTo>
                  <a:pt x="27" y="200"/>
                </a:lnTo>
                <a:lnTo>
                  <a:pt x="41" y="172"/>
                </a:lnTo>
                <a:lnTo>
                  <a:pt x="57" y="145"/>
                </a:lnTo>
                <a:lnTo>
                  <a:pt x="75" y="120"/>
                </a:lnTo>
                <a:lnTo>
                  <a:pt x="97" y="97"/>
                </a:lnTo>
                <a:lnTo>
                  <a:pt x="121" y="75"/>
                </a:lnTo>
                <a:lnTo>
                  <a:pt x="145" y="57"/>
                </a:lnTo>
                <a:lnTo>
                  <a:pt x="174" y="39"/>
                </a:lnTo>
                <a:lnTo>
                  <a:pt x="202" y="26"/>
                </a:lnTo>
                <a:lnTo>
                  <a:pt x="231" y="15"/>
                </a:lnTo>
                <a:lnTo>
                  <a:pt x="247" y="10"/>
                </a:lnTo>
                <a:lnTo>
                  <a:pt x="263" y="7"/>
                </a:lnTo>
                <a:lnTo>
                  <a:pt x="280"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5"/>
                </a:lnTo>
                <a:lnTo>
                  <a:pt x="562" y="97"/>
                </a:lnTo>
                <a:lnTo>
                  <a:pt x="583" y="120"/>
                </a:lnTo>
                <a:lnTo>
                  <a:pt x="602" y="145"/>
                </a:lnTo>
                <a:lnTo>
                  <a:pt x="618" y="172"/>
                </a:lnTo>
                <a:lnTo>
                  <a:pt x="633" y="200"/>
                </a:lnTo>
                <a:lnTo>
                  <a:pt x="643" y="231"/>
                </a:lnTo>
                <a:lnTo>
                  <a:pt x="647" y="246"/>
                </a:lnTo>
                <a:lnTo>
                  <a:pt x="651" y="262"/>
                </a:lnTo>
                <a:lnTo>
                  <a:pt x="654" y="278"/>
                </a:lnTo>
                <a:lnTo>
                  <a:pt x="657" y="296"/>
                </a:lnTo>
                <a:lnTo>
                  <a:pt x="658" y="312"/>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5"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6" y="61"/>
                </a:lnTo>
                <a:lnTo>
                  <a:pt x="191" y="73"/>
                </a:lnTo>
                <a:lnTo>
                  <a:pt x="167" y="87"/>
                </a:lnTo>
                <a:lnTo>
                  <a:pt x="144" y="104"/>
                </a:lnTo>
                <a:lnTo>
                  <a:pt x="124" y="122"/>
                </a:lnTo>
                <a:lnTo>
                  <a:pt x="105" y="144"/>
                </a:lnTo>
                <a:lnTo>
                  <a:pt x="88" y="165"/>
                </a:lnTo>
                <a:lnTo>
                  <a:pt x="74" y="189"/>
                </a:lnTo>
                <a:lnTo>
                  <a:pt x="61" y="215"/>
                </a:lnTo>
                <a:lnTo>
                  <a:pt x="51" y="242"/>
                </a:lnTo>
                <a:lnTo>
                  <a:pt x="45" y="270"/>
                </a:lnTo>
                <a:lnTo>
                  <a:pt x="41" y="298"/>
                </a:lnTo>
                <a:lnTo>
                  <a:pt x="38" y="329"/>
                </a:lnTo>
                <a:lnTo>
                  <a:pt x="38" y="329"/>
                </a:lnTo>
                <a:lnTo>
                  <a:pt x="41" y="359"/>
                </a:lnTo>
                <a:lnTo>
                  <a:pt x="45" y="387"/>
                </a:lnTo>
                <a:lnTo>
                  <a:pt x="51" y="415"/>
                </a:lnTo>
                <a:lnTo>
                  <a:pt x="61" y="442"/>
                </a:lnTo>
                <a:lnTo>
                  <a:pt x="74" y="467"/>
                </a:lnTo>
                <a:lnTo>
                  <a:pt x="88" y="492"/>
                </a:lnTo>
                <a:lnTo>
                  <a:pt x="105" y="513"/>
                </a:lnTo>
                <a:lnTo>
                  <a:pt x="124" y="535"/>
                </a:lnTo>
                <a:lnTo>
                  <a:pt x="144" y="553"/>
                </a:lnTo>
                <a:lnTo>
                  <a:pt x="167" y="569"/>
                </a:lnTo>
                <a:lnTo>
                  <a:pt x="191" y="584"/>
                </a:lnTo>
                <a:lnTo>
                  <a:pt x="216" y="596"/>
                </a:lnTo>
                <a:lnTo>
                  <a:pt x="243" y="607"/>
                </a:lnTo>
                <a:lnTo>
                  <a:pt x="272" y="614"/>
                </a:lnTo>
                <a:lnTo>
                  <a:pt x="300" y="618"/>
                </a:lnTo>
                <a:lnTo>
                  <a:pt x="329" y="619"/>
                </a:lnTo>
                <a:lnTo>
                  <a:pt x="329" y="619"/>
                </a:lnTo>
                <a:lnTo>
                  <a:pt x="359" y="618"/>
                </a:lnTo>
                <a:lnTo>
                  <a:pt x="388" y="614"/>
                </a:lnTo>
                <a:lnTo>
                  <a:pt x="417" y="607"/>
                </a:lnTo>
                <a:lnTo>
                  <a:pt x="442" y="596"/>
                </a:lnTo>
                <a:lnTo>
                  <a:pt x="468" y="584"/>
                </a:lnTo>
                <a:lnTo>
                  <a:pt x="492" y="569"/>
                </a:lnTo>
                <a:lnTo>
                  <a:pt x="515" y="553"/>
                </a:lnTo>
                <a:lnTo>
                  <a:pt x="535" y="535"/>
                </a:lnTo>
                <a:lnTo>
                  <a:pt x="553"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3" y="144"/>
                </a:lnTo>
                <a:lnTo>
                  <a:pt x="535" y="122"/>
                </a:lnTo>
                <a:lnTo>
                  <a:pt x="515" y="104"/>
                </a:lnTo>
                <a:lnTo>
                  <a:pt x="492" y="87"/>
                </a:lnTo>
                <a:lnTo>
                  <a:pt x="468" y="73"/>
                </a:lnTo>
                <a:lnTo>
                  <a:pt x="442" y="61"/>
                </a:lnTo>
                <a:lnTo>
                  <a:pt x="417" y="51"/>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nvGrpSpPr>
          <p:cNvPr id="44" name="Group 43">
            <a:extLst>
              <a:ext uri="{FF2B5EF4-FFF2-40B4-BE49-F238E27FC236}">
                <a16:creationId xmlns:a16="http://schemas.microsoft.com/office/drawing/2014/main" id="{51630129-7C9C-C045-BCA3-FD4CF6F54EAD}"/>
              </a:ext>
            </a:extLst>
          </p:cNvPr>
          <p:cNvGrpSpPr>
            <a:grpSpLocks noChangeAspect="1"/>
          </p:cNvGrpSpPr>
          <p:nvPr/>
        </p:nvGrpSpPr>
        <p:grpSpPr>
          <a:xfrm>
            <a:off x="1891276" y="2270181"/>
            <a:ext cx="444503" cy="510704"/>
            <a:chOff x="6869113" y="1797050"/>
            <a:chExt cx="223838" cy="257175"/>
          </a:xfrm>
        </p:grpSpPr>
        <p:sp>
          <p:nvSpPr>
            <p:cNvPr id="47" name="Freeform 277">
              <a:extLst>
                <a:ext uri="{FF2B5EF4-FFF2-40B4-BE49-F238E27FC236}">
                  <a16:creationId xmlns:a16="http://schemas.microsoft.com/office/drawing/2014/main" id="{B2C6EE6C-2B6C-524C-B27C-A0537DBD4548}"/>
                </a:ext>
              </a:extLst>
            </p:cNvPr>
            <p:cNvSpPr>
              <a:spLocks noEditPoints="1"/>
            </p:cNvSpPr>
            <p:nvPr/>
          </p:nvSpPr>
          <p:spPr bwMode="auto">
            <a:xfrm>
              <a:off x="6996113" y="1901825"/>
              <a:ext cx="96838" cy="152400"/>
            </a:xfrm>
            <a:custGeom>
              <a:avLst/>
              <a:gdLst>
                <a:gd name="T0" fmla="*/ 22 w 123"/>
                <a:gd name="T1" fmla="*/ 0 h 191"/>
                <a:gd name="T2" fmla="*/ 17 w 123"/>
                <a:gd name="T3" fmla="*/ 0 h 191"/>
                <a:gd name="T4" fmla="*/ 7 w 123"/>
                <a:gd name="T5" fmla="*/ 5 h 191"/>
                <a:gd name="T6" fmla="*/ 2 w 123"/>
                <a:gd name="T7" fmla="*/ 16 h 191"/>
                <a:gd name="T8" fmla="*/ 0 w 123"/>
                <a:gd name="T9" fmla="*/ 171 h 191"/>
                <a:gd name="T10" fmla="*/ 2 w 123"/>
                <a:gd name="T11" fmla="*/ 175 h 191"/>
                <a:gd name="T12" fmla="*/ 7 w 123"/>
                <a:gd name="T13" fmla="*/ 185 h 191"/>
                <a:gd name="T14" fmla="*/ 17 w 123"/>
                <a:gd name="T15" fmla="*/ 191 h 191"/>
                <a:gd name="T16" fmla="*/ 103 w 123"/>
                <a:gd name="T17" fmla="*/ 191 h 191"/>
                <a:gd name="T18" fmla="*/ 107 w 123"/>
                <a:gd name="T19" fmla="*/ 191 h 191"/>
                <a:gd name="T20" fmla="*/ 117 w 123"/>
                <a:gd name="T21" fmla="*/ 185 h 191"/>
                <a:gd name="T22" fmla="*/ 123 w 123"/>
                <a:gd name="T23" fmla="*/ 175 h 191"/>
                <a:gd name="T24" fmla="*/ 123 w 123"/>
                <a:gd name="T25" fmla="*/ 20 h 191"/>
                <a:gd name="T26" fmla="*/ 123 w 123"/>
                <a:gd name="T27" fmla="*/ 16 h 191"/>
                <a:gd name="T28" fmla="*/ 117 w 123"/>
                <a:gd name="T29" fmla="*/ 5 h 191"/>
                <a:gd name="T30" fmla="*/ 107 w 123"/>
                <a:gd name="T31" fmla="*/ 0 h 191"/>
                <a:gd name="T32" fmla="*/ 103 w 123"/>
                <a:gd name="T33" fmla="*/ 0 h 191"/>
                <a:gd name="T34" fmla="*/ 62 w 123"/>
                <a:gd name="T35" fmla="*/ 184 h 191"/>
                <a:gd name="T36" fmla="*/ 56 w 123"/>
                <a:gd name="T37" fmla="*/ 180 h 191"/>
                <a:gd name="T38" fmla="*/ 51 w 123"/>
                <a:gd name="T39" fmla="*/ 173 h 191"/>
                <a:gd name="T40" fmla="*/ 53 w 123"/>
                <a:gd name="T41" fmla="*/ 169 h 191"/>
                <a:gd name="T42" fmla="*/ 58 w 123"/>
                <a:gd name="T43" fmla="*/ 164 h 191"/>
                <a:gd name="T44" fmla="*/ 62 w 123"/>
                <a:gd name="T45" fmla="*/ 164 h 191"/>
                <a:gd name="T46" fmla="*/ 69 w 123"/>
                <a:gd name="T47" fmla="*/ 166 h 191"/>
                <a:gd name="T48" fmla="*/ 72 w 123"/>
                <a:gd name="T49" fmla="*/ 173 h 191"/>
                <a:gd name="T50" fmla="*/ 72 w 123"/>
                <a:gd name="T51" fmla="*/ 177 h 191"/>
                <a:gd name="T52" fmla="*/ 66 w 123"/>
                <a:gd name="T53" fmla="*/ 183 h 191"/>
                <a:gd name="T54" fmla="*/ 62 w 123"/>
                <a:gd name="T55" fmla="*/ 184 h 191"/>
                <a:gd name="T56" fmla="*/ 115 w 123"/>
                <a:gd name="T57" fmla="*/ 152 h 191"/>
                <a:gd name="T58" fmla="*/ 109 w 123"/>
                <a:gd name="T59" fmla="*/ 156 h 191"/>
                <a:gd name="T60" fmla="*/ 14 w 123"/>
                <a:gd name="T61" fmla="*/ 156 h 191"/>
                <a:gd name="T62" fmla="*/ 10 w 123"/>
                <a:gd name="T63" fmla="*/ 153 h 191"/>
                <a:gd name="T64" fmla="*/ 9 w 123"/>
                <a:gd name="T65" fmla="*/ 17 h 191"/>
                <a:gd name="T66" fmla="*/ 10 w 123"/>
                <a:gd name="T67" fmla="*/ 15 h 191"/>
                <a:gd name="T68" fmla="*/ 14 w 123"/>
                <a:gd name="T69" fmla="*/ 12 h 191"/>
                <a:gd name="T70" fmla="*/ 109 w 123"/>
                <a:gd name="T71" fmla="*/ 12 h 191"/>
                <a:gd name="T72" fmla="*/ 115 w 123"/>
                <a:gd name="T73" fmla="*/ 1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 h="191">
                  <a:moveTo>
                    <a:pt x="103" y="0"/>
                  </a:moveTo>
                  <a:lnTo>
                    <a:pt x="22" y="0"/>
                  </a:lnTo>
                  <a:lnTo>
                    <a:pt x="22" y="0"/>
                  </a:lnTo>
                  <a:lnTo>
                    <a:pt x="17" y="0"/>
                  </a:lnTo>
                  <a:lnTo>
                    <a:pt x="14" y="1"/>
                  </a:lnTo>
                  <a:lnTo>
                    <a:pt x="7" y="5"/>
                  </a:lnTo>
                  <a:lnTo>
                    <a:pt x="3" y="12"/>
                  </a:lnTo>
                  <a:lnTo>
                    <a:pt x="2" y="16"/>
                  </a:lnTo>
                  <a:lnTo>
                    <a:pt x="0" y="20"/>
                  </a:lnTo>
                  <a:lnTo>
                    <a:pt x="0" y="171"/>
                  </a:lnTo>
                  <a:lnTo>
                    <a:pt x="0" y="171"/>
                  </a:lnTo>
                  <a:lnTo>
                    <a:pt x="2" y="175"/>
                  </a:lnTo>
                  <a:lnTo>
                    <a:pt x="3" y="179"/>
                  </a:lnTo>
                  <a:lnTo>
                    <a:pt x="7" y="185"/>
                  </a:lnTo>
                  <a:lnTo>
                    <a:pt x="14" y="189"/>
                  </a:lnTo>
                  <a:lnTo>
                    <a:pt x="17" y="191"/>
                  </a:lnTo>
                  <a:lnTo>
                    <a:pt x="22" y="191"/>
                  </a:lnTo>
                  <a:lnTo>
                    <a:pt x="103" y="191"/>
                  </a:lnTo>
                  <a:lnTo>
                    <a:pt x="103" y="191"/>
                  </a:lnTo>
                  <a:lnTo>
                    <a:pt x="107" y="191"/>
                  </a:lnTo>
                  <a:lnTo>
                    <a:pt x="111" y="189"/>
                  </a:lnTo>
                  <a:lnTo>
                    <a:pt x="117" y="185"/>
                  </a:lnTo>
                  <a:lnTo>
                    <a:pt x="121" y="179"/>
                  </a:lnTo>
                  <a:lnTo>
                    <a:pt x="123" y="175"/>
                  </a:lnTo>
                  <a:lnTo>
                    <a:pt x="123" y="171"/>
                  </a:lnTo>
                  <a:lnTo>
                    <a:pt x="123" y="20"/>
                  </a:lnTo>
                  <a:lnTo>
                    <a:pt x="123" y="20"/>
                  </a:lnTo>
                  <a:lnTo>
                    <a:pt x="123" y="16"/>
                  </a:lnTo>
                  <a:lnTo>
                    <a:pt x="121" y="12"/>
                  </a:lnTo>
                  <a:lnTo>
                    <a:pt x="117" y="5"/>
                  </a:lnTo>
                  <a:lnTo>
                    <a:pt x="111" y="1"/>
                  </a:lnTo>
                  <a:lnTo>
                    <a:pt x="107" y="0"/>
                  </a:lnTo>
                  <a:lnTo>
                    <a:pt x="103" y="0"/>
                  </a:lnTo>
                  <a:lnTo>
                    <a:pt x="103" y="0"/>
                  </a:lnTo>
                  <a:close/>
                  <a:moveTo>
                    <a:pt x="62" y="184"/>
                  </a:moveTo>
                  <a:lnTo>
                    <a:pt x="62" y="184"/>
                  </a:lnTo>
                  <a:lnTo>
                    <a:pt x="58" y="183"/>
                  </a:lnTo>
                  <a:lnTo>
                    <a:pt x="56" y="180"/>
                  </a:lnTo>
                  <a:lnTo>
                    <a:pt x="53" y="177"/>
                  </a:lnTo>
                  <a:lnTo>
                    <a:pt x="51" y="173"/>
                  </a:lnTo>
                  <a:lnTo>
                    <a:pt x="51" y="173"/>
                  </a:lnTo>
                  <a:lnTo>
                    <a:pt x="53" y="169"/>
                  </a:lnTo>
                  <a:lnTo>
                    <a:pt x="56" y="166"/>
                  </a:lnTo>
                  <a:lnTo>
                    <a:pt x="58" y="164"/>
                  </a:lnTo>
                  <a:lnTo>
                    <a:pt x="62" y="164"/>
                  </a:lnTo>
                  <a:lnTo>
                    <a:pt x="62" y="164"/>
                  </a:lnTo>
                  <a:lnTo>
                    <a:pt x="66" y="164"/>
                  </a:lnTo>
                  <a:lnTo>
                    <a:pt x="69" y="166"/>
                  </a:lnTo>
                  <a:lnTo>
                    <a:pt x="72" y="169"/>
                  </a:lnTo>
                  <a:lnTo>
                    <a:pt x="72" y="173"/>
                  </a:lnTo>
                  <a:lnTo>
                    <a:pt x="72" y="173"/>
                  </a:lnTo>
                  <a:lnTo>
                    <a:pt x="72" y="177"/>
                  </a:lnTo>
                  <a:lnTo>
                    <a:pt x="69" y="180"/>
                  </a:lnTo>
                  <a:lnTo>
                    <a:pt x="66" y="183"/>
                  </a:lnTo>
                  <a:lnTo>
                    <a:pt x="62" y="184"/>
                  </a:lnTo>
                  <a:lnTo>
                    <a:pt x="62" y="184"/>
                  </a:lnTo>
                  <a:close/>
                  <a:moveTo>
                    <a:pt x="115" y="152"/>
                  </a:moveTo>
                  <a:lnTo>
                    <a:pt x="115" y="152"/>
                  </a:lnTo>
                  <a:lnTo>
                    <a:pt x="113" y="154"/>
                  </a:lnTo>
                  <a:lnTo>
                    <a:pt x="109" y="156"/>
                  </a:lnTo>
                  <a:lnTo>
                    <a:pt x="14" y="156"/>
                  </a:lnTo>
                  <a:lnTo>
                    <a:pt x="14" y="156"/>
                  </a:lnTo>
                  <a:lnTo>
                    <a:pt x="11" y="154"/>
                  </a:lnTo>
                  <a:lnTo>
                    <a:pt x="10" y="153"/>
                  </a:lnTo>
                  <a:lnTo>
                    <a:pt x="9" y="152"/>
                  </a:lnTo>
                  <a:lnTo>
                    <a:pt x="9" y="17"/>
                  </a:lnTo>
                  <a:lnTo>
                    <a:pt x="9" y="17"/>
                  </a:lnTo>
                  <a:lnTo>
                    <a:pt x="10" y="15"/>
                  </a:lnTo>
                  <a:lnTo>
                    <a:pt x="11" y="13"/>
                  </a:lnTo>
                  <a:lnTo>
                    <a:pt x="14" y="12"/>
                  </a:lnTo>
                  <a:lnTo>
                    <a:pt x="109" y="12"/>
                  </a:lnTo>
                  <a:lnTo>
                    <a:pt x="109" y="12"/>
                  </a:lnTo>
                  <a:lnTo>
                    <a:pt x="113" y="13"/>
                  </a:lnTo>
                  <a:lnTo>
                    <a:pt x="115" y="17"/>
                  </a:lnTo>
                  <a:lnTo>
                    <a:pt x="115" y="1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48" name="Freeform 278">
              <a:extLst>
                <a:ext uri="{FF2B5EF4-FFF2-40B4-BE49-F238E27FC236}">
                  <a16:creationId xmlns:a16="http://schemas.microsoft.com/office/drawing/2014/main" id="{7C24733B-1313-A14C-AEE9-14FA2DA4BE8C}"/>
                </a:ext>
              </a:extLst>
            </p:cNvPr>
            <p:cNvSpPr>
              <a:spLocks noEditPoints="1"/>
            </p:cNvSpPr>
            <p:nvPr/>
          </p:nvSpPr>
          <p:spPr bwMode="auto">
            <a:xfrm>
              <a:off x="6869113" y="1797050"/>
              <a:ext cx="177800" cy="231775"/>
            </a:xfrm>
            <a:custGeom>
              <a:avLst/>
              <a:gdLst>
                <a:gd name="T0" fmla="*/ 20 w 225"/>
                <a:gd name="T1" fmla="*/ 25 h 291"/>
                <a:gd name="T2" fmla="*/ 22 w 225"/>
                <a:gd name="T3" fmla="*/ 21 h 291"/>
                <a:gd name="T4" fmla="*/ 200 w 225"/>
                <a:gd name="T5" fmla="*/ 20 h 291"/>
                <a:gd name="T6" fmla="*/ 204 w 225"/>
                <a:gd name="T7" fmla="*/ 21 h 291"/>
                <a:gd name="T8" fmla="*/ 206 w 225"/>
                <a:gd name="T9" fmla="*/ 111 h 291"/>
                <a:gd name="T10" fmla="*/ 225 w 225"/>
                <a:gd name="T11" fmla="*/ 31 h 291"/>
                <a:gd name="T12" fmla="*/ 225 w 225"/>
                <a:gd name="T13" fmla="*/ 24 h 291"/>
                <a:gd name="T14" fmla="*/ 219 w 225"/>
                <a:gd name="T15" fmla="*/ 13 h 291"/>
                <a:gd name="T16" fmla="*/ 211 w 225"/>
                <a:gd name="T17" fmla="*/ 5 h 291"/>
                <a:gd name="T18" fmla="*/ 200 w 225"/>
                <a:gd name="T19" fmla="*/ 1 h 291"/>
                <a:gd name="T20" fmla="*/ 31 w 225"/>
                <a:gd name="T21" fmla="*/ 0 h 291"/>
                <a:gd name="T22" fmla="*/ 26 w 225"/>
                <a:gd name="T23" fmla="*/ 1 h 291"/>
                <a:gd name="T24" fmla="*/ 14 w 225"/>
                <a:gd name="T25" fmla="*/ 5 h 291"/>
                <a:gd name="T26" fmla="*/ 6 w 225"/>
                <a:gd name="T27" fmla="*/ 13 h 291"/>
                <a:gd name="T28" fmla="*/ 2 w 225"/>
                <a:gd name="T29" fmla="*/ 24 h 291"/>
                <a:gd name="T30" fmla="*/ 0 w 225"/>
                <a:gd name="T31" fmla="*/ 262 h 291"/>
                <a:gd name="T32" fmla="*/ 2 w 225"/>
                <a:gd name="T33" fmla="*/ 267 h 291"/>
                <a:gd name="T34" fmla="*/ 6 w 225"/>
                <a:gd name="T35" fmla="*/ 278 h 291"/>
                <a:gd name="T36" fmla="*/ 14 w 225"/>
                <a:gd name="T37" fmla="*/ 286 h 291"/>
                <a:gd name="T38" fmla="*/ 26 w 225"/>
                <a:gd name="T39" fmla="*/ 291 h 291"/>
                <a:gd name="T40" fmla="*/ 144 w 225"/>
                <a:gd name="T41" fmla="*/ 291 h 291"/>
                <a:gd name="T42" fmla="*/ 26 w 225"/>
                <a:gd name="T43" fmla="*/ 231 h 291"/>
                <a:gd name="T44" fmla="*/ 22 w 225"/>
                <a:gd name="T45" fmla="*/ 230 h 291"/>
                <a:gd name="T46" fmla="*/ 20 w 225"/>
                <a:gd name="T47" fmla="*/ 226 h 291"/>
                <a:gd name="T48" fmla="*/ 113 w 225"/>
                <a:gd name="T49" fmla="*/ 246 h 291"/>
                <a:gd name="T50" fmla="*/ 124 w 225"/>
                <a:gd name="T51" fmla="*/ 251 h 291"/>
                <a:gd name="T52" fmla="*/ 128 w 225"/>
                <a:gd name="T53" fmla="*/ 262 h 291"/>
                <a:gd name="T54" fmla="*/ 127 w 225"/>
                <a:gd name="T55" fmla="*/ 267 h 291"/>
                <a:gd name="T56" fmla="*/ 118 w 225"/>
                <a:gd name="T57" fmla="*/ 275 h 291"/>
                <a:gd name="T58" fmla="*/ 113 w 225"/>
                <a:gd name="T59" fmla="*/ 277 h 291"/>
                <a:gd name="T60" fmla="*/ 102 w 225"/>
                <a:gd name="T61" fmla="*/ 271 h 291"/>
                <a:gd name="T62" fmla="*/ 97 w 225"/>
                <a:gd name="T63" fmla="*/ 262 h 291"/>
                <a:gd name="T64" fmla="*/ 98 w 225"/>
                <a:gd name="T65" fmla="*/ 255 h 291"/>
                <a:gd name="T66" fmla="*/ 106 w 225"/>
                <a:gd name="T67" fmla="*/ 247 h 291"/>
                <a:gd name="T68" fmla="*/ 113 w 225"/>
                <a:gd name="T69" fmla="*/ 246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 h="291">
                  <a:moveTo>
                    <a:pt x="20" y="226"/>
                  </a:moveTo>
                  <a:lnTo>
                    <a:pt x="20" y="25"/>
                  </a:lnTo>
                  <a:lnTo>
                    <a:pt x="20" y="25"/>
                  </a:lnTo>
                  <a:lnTo>
                    <a:pt x="22" y="21"/>
                  </a:lnTo>
                  <a:lnTo>
                    <a:pt x="26" y="20"/>
                  </a:lnTo>
                  <a:lnTo>
                    <a:pt x="200" y="20"/>
                  </a:lnTo>
                  <a:lnTo>
                    <a:pt x="200" y="20"/>
                  </a:lnTo>
                  <a:lnTo>
                    <a:pt x="204" y="21"/>
                  </a:lnTo>
                  <a:lnTo>
                    <a:pt x="206" y="25"/>
                  </a:lnTo>
                  <a:lnTo>
                    <a:pt x="206" y="111"/>
                  </a:lnTo>
                  <a:lnTo>
                    <a:pt x="225" y="111"/>
                  </a:lnTo>
                  <a:lnTo>
                    <a:pt x="225" y="31"/>
                  </a:lnTo>
                  <a:lnTo>
                    <a:pt x="225" y="31"/>
                  </a:lnTo>
                  <a:lnTo>
                    <a:pt x="225" y="24"/>
                  </a:lnTo>
                  <a:lnTo>
                    <a:pt x="223" y="19"/>
                  </a:lnTo>
                  <a:lnTo>
                    <a:pt x="219" y="13"/>
                  </a:lnTo>
                  <a:lnTo>
                    <a:pt x="217" y="9"/>
                  </a:lnTo>
                  <a:lnTo>
                    <a:pt x="211" y="5"/>
                  </a:lnTo>
                  <a:lnTo>
                    <a:pt x="206" y="3"/>
                  </a:lnTo>
                  <a:lnTo>
                    <a:pt x="200" y="1"/>
                  </a:lnTo>
                  <a:lnTo>
                    <a:pt x="195" y="0"/>
                  </a:lnTo>
                  <a:lnTo>
                    <a:pt x="31" y="0"/>
                  </a:lnTo>
                  <a:lnTo>
                    <a:pt x="31" y="0"/>
                  </a:lnTo>
                  <a:lnTo>
                    <a:pt x="26" y="1"/>
                  </a:lnTo>
                  <a:lnTo>
                    <a:pt x="19" y="3"/>
                  </a:lnTo>
                  <a:lnTo>
                    <a:pt x="14" y="5"/>
                  </a:lnTo>
                  <a:lnTo>
                    <a:pt x="10" y="9"/>
                  </a:lnTo>
                  <a:lnTo>
                    <a:pt x="6" y="13"/>
                  </a:lnTo>
                  <a:lnTo>
                    <a:pt x="3" y="19"/>
                  </a:lnTo>
                  <a:lnTo>
                    <a:pt x="2" y="24"/>
                  </a:lnTo>
                  <a:lnTo>
                    <a:pt x="0" y="31"/>
                  </a:lnTo>
                  <a:lnTo>
                    <a:pt x="0" y="262"/>
                  </a:lnTo>
                  <a:lnTo>
                    <a:pt x="0" y="262"/>
                  </a:lnTo>
                  <a:lnTo>
                    <a:pt x="2" y="267"/>
                  </a:lnTo>
                  <a:lnTo>
                    <a:pt x="3" y="273"/>
                  </a:lnTo>
                  <a:lnTo>
                    <a:pt x="6" y="278"/>
                  </a:lnTo>
                  <a:lnTo>
                    <a:pt x="10" y="282"/>
                  </a:lnTo>
                  <a:lnTo>
                    <a:pt x="14" y="286"/>
                  </a:lnTo>
                  <a:lnTo>
                    <a:pt x="19" y="289"/>
                  </a:lnTo>
                  <a:lnTo>
                    <a:pt x="26" y="291"/>
                  </a:lnTo>
                  <a:lnTo>
                    <a:pt x="31" y="291"/>
                  </a:lnTo>
                  <a:lnTo>
                    <a:pt x="144" y="291"/>
                  </a:lnTo>
                  <a:lnTo>
                    <a:pt x="144" y="231"/>
                  </a:lnTo>
                  <a:lnTo>
                    <a:pt x="26" y="231"/>
                  </a:lnTo>
                  <a:lnTo>
                    <a:pt x="26" y="231"/>
                  </a:lnTo>
                  <a:lnTo>
                    <a:pt x="22" y="230"/>
                  </a:lnTo>
                  <a:lnTo>
                    <a:pt x="20" y="226"/>
                  </a:lnTo>
                  <a:lnTo>
                    <a:pt x="20" y="226"/>
                  </a:lnTo>
                  <a:close/>
                  <a:moveTo>
                    <a:pt x="113" y="246"/>
                  </a:moveTo>
                  <a:lnTo>
                    <a:pt x="113" y="246"/>
                  </a:lnTo>
                  <a:lnTo>
                    <a:pt x="118" y="247"/>
                  </a:lnTo>
                  <a:lnTo>
                    <a:pt x="124" y="251"/>
                  </a:lnTo>
                  <a:lnTo>
                    <a:pt x="127" y="255"/>
                  </a:lnTo>
                  <a:lnTo>
                    <a:pt x="128" y="262"/>
                  </a:lnTo>
                  <a:lnTo>
                    <a:pt x="128" y="262"/>
                  </a:lnTo>
                  <a:lnTo>
                    <a:pt x="127" y="267"/>
                  </a:lnTo>
                  <a:lnTo>
                    <a:pt x="124" y="271"/>
                  </a:lnTo>
                  <a:lnTo>
                    <a:pt x="118" y="275"/>
                  </a:lnTo>
                  <a:lnTo>
                    <a:pt x="113" y="277"/>
                  </a:lnTo>
                  <a:lnTo>
                    <a:pt x="113" y="277"/>
                  </a:lnTo>
                  <a:lnTo>
                    <a:pt x="106" y="275"/>
                  </a:lnTo>
                  <a:lnTo>
                    <a:pt x="102" y="271"/>
                  </a:lnTo>
                  <a:lnTo>
                    <a:pt x="98" y="267"/>
                  </a:lnTo>
                  <a:lnTo>
                    <a:pt x="97" y="262"/>
                  </a:lnTo>
                  <a:lnTo>
                    <a:pt x="97" y="262"/>
                  </a:lnTo>
                  <a:lnTo>
                    <a:pt x="98" y="255"/>
                  </a:lnTo>
                  <a:lnTo>
                    <a:pt x="102" y="251"/>
                  </a:lnTo>
                  <a:lnTo>
                    <a:pt x="106" y="247"/>
                  </a:lnTo>
                  <a:lnTo>
                    <a:pt x="113" y="246"/>
                  </a:lnTo>
                  <a:lnTo>
                    <a:pt x="113" y="2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sp>
        <p:nvSpPr>
          <p:cNvPr id="17" name="Text Placeholder 1">
            <a:extLst>
              <a:ext uri="{FF2B5EF4-FFF2-40B4-BE49-F238E27FC236}">
                <a16:creationId xmlns:a16="http://schemas.microsoft.com/office/drawing/2014/main" id="{CB88F254-57D4-B240-B5FA-5001CB849F93}"/>
              </a:ext>
            </a:extLst>
          </p:cNvPr>
          <p:cNvSpPr txBox="1">
            <a:spLocks/>
          </p:cNvSpPr>
          <p:nvPr userDrawn="1"/>
        </p:nvSpPr>
        <p:spPr>
          <a:xfrm>
            <a:off x="1428204" y="4461538"/>
            <a:ext cx="1868998" cy="5417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2000" b="0" i="0" kern="1200" spc="-3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i="1"/>
              <a:t>Case study</a:t>
            </a:r>
          </a:p>
        </p:txBody>
      </p:sp>
      <p:sp>
        <p:nvSpPr>
          <p:cNvPr id="23" name="Title 62">
            <a:extLst>
              <a:ext uri="{FF2B5EF4-FFF2-40B4-BE49-F238E27FC236}">
                <a16:creationId xmlns:a16="http://schemas.microsoft.com/office/drawing/2014/main" id="{8CEEAE9D-F539-6B4B-B635-BFB15ABC6CF7}"/>
              </a:ext>
            </a:extLst>
          </p:cNvPr>
          <p:cNvSpPr txBox="1">
            <a:spLocks/>
          </p:cNvSpPr>
          <p:nvPr userDrawn="1"/>
        </p:nvSpPr>
        <p:spPr>
          <a:xfrm>
            <a:off x="1428204" y="3580475"/>
            <a:ext cx="2838996" cy="881063"/>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mj-lt"/>
                <a:ea typeface="Bebas Neue" charset="0"/>
                <a:cs typeface="Chronicle Display Black"/>
              </a:defRPr>
            </a:lvl1pPr>
          </a:lstStyle>
          <a:p>
            <a:r>
              <a:rPr lang="en-GB" sz="3200"/>
              <a:t>Digital </a:t>
            </a:r>
            <a:br>
              <a:rPr lang="en-GB" sz="3200"/>
            </a:br>
            <a:r>
              <a:rPr lang="en-GB" sz="3200"/>
              <a:t>proposition</a:t>
            </a:r>
          </a:p>
        </p:txBody>
      </p:sp>
      <p:sp>
        <p:nvSpPr>
          <p:cNvPr id="26" name="Text Placeholder 3">
            <a:extLst>
              <a:ext uri="{FF2B5EF4-FFF2-40B4-BE49-F238E27FC236}">
                <a16:creationId xmlns:a16="http://schemas.microsoft.com/office/drawing/2014/main" id="{18E15BC7-7AE1-1846-858F-8684620C413C}"/>
              </a:ext>
            </a:extLst>
          </p:cNvPr>
          <p:cNvSpPr>
            <a:spLocks noGrp="1"/>
          </p:cNvSpPr>
          <p:nvPr>
            <p:ph type="body" sz="quarter" idx="15"/>
          </p:nvPr>
        </p:nvSpPr>
        <p:spPr>
          <a:xfrm>
            <a:off x="7399128" y="3611863"/>
            <a:ext cx="3189800" cy="541762"/>
          </a:xfrm>
        </p:spPr>
        <p:txBody>
          <a:bodyPr anchor="t" anchorCtr="0"/>
          <a:lstStyle>
            <a:lvl1pPr marL="0" indent="0" eaLnBrk="1">
              <a:buFont typeface="Arial" panose="020B0604020202020204" pitchFamily="34" charset="0"/>
              <a:buNone/>
              <a:defRPr sz="1600" b="0" i="0">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GB"/>
          </a:p>
        </p:txBody>
      </p:sp>
      <p:sp>
        <p:nvSpPr>
          <p:cNvPr id="29" name="Text Placeholder 3">
            <a:extLst>
              <a:ext uri="{FF2B5EF4-FFF2-40B4-BE49-F238E27FC236}">
                <a16:creationId xmlns:a16="http://schemas.microsoft.com/office/drawing/2014/main" id="{4E8C7048-61CA-F843-AEB2-DE5CDE687074}"/>
              </a:ext>
            </a:extLst>
          </p:cNvPr>
          <p:cNvSpPr>
            <a:spLocks noGrp="1"/>
          </p:cNvSpPr>
          <p:nvPr>
            <p:ph type="body" sz="quarter" idx="16"/>
          </p:nvPr>
        </p:nvSpPr>
        <p:spPr>
          <a:xfrm>
            <a:off x="4739439" y="3611863"/>
            <a:ext cx="2321761" cy="541762"/>
          </a:xfrm>
        </p:spPr>
        <p:txBody>
          <a:bodyPr anchor="t" anchorCtr="0"/>
          <a:lstStyle>
            <a:lvl1pPr marL="0" indent="0" eaLnBrk="1">
              <a:buFont typeface="Arial" panose="020B0604020202020204" pitchFamily="34" charse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GB"/>
          </a:p>
        </p:txBody>
      </p:sp>
    </p:spTree>
    <p:extLst>
      <p:ext uri="{BB962C8B-B14F-4D97-AF65-F5344CB8AC3E}">
        <p14:creationId xmlns:p14="http://schemas.microsoft.com/office/powerpoint/2010/main" val="4066078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 fill="hold"/>
                                        <p:tgtEl>
                                          <p:spTgt spid="2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gital Migration - Green Intr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0943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7"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384644" y="1807789"/>
            <a:ext cx="1437209" cy="1435488"/>
          </a:xfrm>
          <a:prstGeom prst="flowChartConnector">
            <a:avLst/>
          </a:prstGeom>
        </p:spPr>
      </p:pic>
      <p:grpSp>
        <p:nvGrpSpPr>
          <p:cNvPr id="36" name="Group 35">
            <a:extLst>
              <a:ext uri="{FF2B5EF4-FFF2-40B4-BE49-F238E27FC236}">
                <a16:creationId xmlns:a16="http://schemas.microsoft.com/office/drawing/2014/main" id="{3165461F-358A-AC4F-A8A4-688905F29FD1}"/>
              </a:ext>
            </a:extLst>
          </p:cNvPr>
          <p:cNvGrpSpPr>
            <a:grpSpLocks noChangeAspect="1"/>
          </p:cNvGrpSpPr>
          <p:nvPr/>
        </p:nvGrpSpPr>
        <p:grpSpPr>
          <a:xfrm>
            <a:off x="1584662" y="2008525"/>
            <a:ext cx="1037172" cy="1034017"/>
            <a:chOff x="7594601" y="1657350"/>
            <a:chExt cx="522288" cy="520700"/>
          </a:xfrm>
        </p:grpSpPr>
        <p:sp>
          <p:nvSpPr>
            <p:cNvPr id="38" name="Freeform 24">
              <a:extLst>
                <a:ext uri="{FF2B5EF4-FFF2-40B4-BE49-F238E27FC236}">
                  <a16:creationId xmlns:a16="http://schemas.microsoft.com/office/drawing/2014/main" id="{B9A19FF1-DFC6-CF48-8029-10530AF291CB}"/>
                </a:ext>
              </a:extLst>
            </p:cNvPr>
            <p:cNvSpPr>
              <a:spLocks noEditPoints="1"/>
            </p:cNvSpPr>
            <p:nvPr/>
          </p:nvSpPr>
          <p:spPr bwMode="auto">
            <a:xfrm>
              <a:off x="7594601" y="1657350"/>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1 w 658"/>
                <a:gd name="T21" fmla="*/ 172 h 657"/>
                <a:gd name="T22" fmla="*/ 97 w 658"/>
                <a:gd name="T23" fmla="*/ 97 h 657"/>
                <a:gd name="T24" fmla="*/ 174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1 w 658"/>
                <a:gd name="T71" fmla="*/ 215 h 657"/>
                <a:gd name="T72" fmla="*/ 41 w 658"/>
                <a:gd name="T73" fmla="*/ 298 h 657"/>
                <a:gd name="T74" fmla="*/ 41 w 658"/>
                <a:gd name="T75" fmla="*/ 359 h 657"/>
                <a:gd name="T76" fmla="*/ 61 w 658"/>
                <a:gd name="T77" fmla="*/ 442 h 657"/>
                <a:gd name="T78" fmla="*/ 105 w 658"/>
                <a:gd name="T79" fmla="*/ 513 h 657"/>
                <a:gd name="T80" fmla="*/ 167 w 658"/>
                <a:gd name="T81" fmla="*/ 569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1" y="642"/>
                  </a:lnTo>
                  <a:lnTo>
                    <a:pt x="202" y="631"/>
                  </a:lnTo>
                  <a:lnTo>
                    <a:pt x="174" y="618"/>
                  </a:lnTo>
                  <a:lnTo>
                    <a:pt x="145" y="600"/>
                  </a:lnTo>
                  <a:lnTo>
                    <a:pt x="121" y="582"/>
                  </a:lnTo>
                  <a:lnTo>
                    <a:pt x="97" y="561"/>
                  </a:lnTo>
                  <a:lnTo>
                    <a:pt x="75"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6"/>
                  </a:lnTo>
                  <a:lnTo>
                    <a:pt x="4" y="278"/>
                  </a:lnTo>
                  <a:lnTo>
                    <a:pt x="7" y="262"/>
                  </a:lnTo>
                  <a:lnTo>
                    <a:pt x="11" y="246"/>
                  </a:lnTo>
                  <a:lnTo>
                    <a:pt x="15" y="231"/>
                  </a:lnTo>
                  <a:lnTo>
                    <a:pt x="27" y="200"/>
                  </a:lnTo>
                  <a:lnTo>
                    <a:pt x="41" y="172"/>
                  </a:lnTo>
                  <a:lnTo>
                    <a:pt x="57" y="145"/>
                  </a:lnTo>
                  <a:lnTo>
                    <a:pt x="75" y="120"/>
                  </a:lnTo>
                  <a:lnTo>
                    <a:pt x="97" y="97"/>
                  </a:lnTo>
                  <a:lnTo>
                    <a:pt x="121" y="75"/>
                  </a:lnTo>
                  <a:lnTo>
                    <a:pt x="145" y="57"/>
                  </a:lnTo>
                  <a:lnTo>
                    <a:pt x="174" y="39"/>
                  </a:lnTo>
                  <a:lnTo>
                    <a:pt x="202" y="26"/>
                  </a:lnTo>
                  <a:lnTo>
                    <a:pt x="231" y="15"/>
                  </a:lnTo>
                  <a:lnTo>
                    <a:pt x="247" y="10"/>
                  </a:lnTo>
                  <a:lnTo>
                    <a:pt x="263" y="7"/>
                  </a:lnTo>
                  <a:lnTo>
                    <a:pt x="280"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5"/>
                  </a:lnTo>
                  <a:lnTo>
                    <a:pt x="562" y="97"/>
                  </a:lnTo>
                  <a:lnTo>
                    <a:pt x="583" y="120"/>
                  </a:lnTo>
                  <a:lnTo>
                    <a:pt x="602" y="145"/>
                  </a:lnTo>
                  <a:lnTo>
                    <a:pt x="618" y="172"/>
                  </a:lnTo>
                  <a:lnTo>
                    <a:pt x="633" y="200"/>
                  </a:lnTo>
                  <a:lnTo>
                    <a:pt x="643" y="231"/>
                  </a:lnTo>
                  <a:lnTo>
                    <a:pt x="647" y="246"/>
                  </a:lnTo>
                  <a:lnTo>
                    <a:pt x="651" y="262"/>
                  </a:lnTo>
                  <a:lnTo>
                    <a:pt x="654" y="278"/>
                  </a:lnTo>
                  <a:lnTo>
                    <a:pt x="657" y="296"/>
                  </a:lnTo>
                  <a:lnTo>
                    <a:pt x="658" y="312"/>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5"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6" y="61"/>
                  </a:lnTo>
                  <a:lnTo>
                    <a:pt x="191" y="73"/>
                  </a:lnTo>
                  <a:lnTo>
                    <a:pt x="167" y="87"/>
                  </a:lnTo>
                  <a:lnTo>
                    <a:pt x="144" y="104"/>
                  </a:lnTo>
                  <a:lnTo>
                    <a:pt x="124" y="122"/>
                  </a:lnTo>
                  <a:lnTo>
                    <a:pt x="105" y="144"/>
                  </a:lnTo>
                  <a:lnTo>
                    <a:pt x="88" y="165"/>
                  </a:lnTo>
                  <a:lnTo>
                    <a:pt x="74" y="189"/>
                  </a:lnTo>
                  <a:lnTo>
                    <a:pt x="61" y="215"/>
                  </a:lnTo>
                  <a:lnTo>
                    <a:pt x="51" y="242"/>
                  </a:lnTo>
                  <a:lnTo>
                    <a:pt x="45" y="270"/>
                  </a:lnTo>
                  <a:lnTo>
                    <a:pt x="41" y="298"/>
                  </a:lnTo>
                  <a:lnTo>
                    <a:pt x="38" y="329"/>
                  </a:lnTo>
                  <a:lnTo>
                    <a:pt x="38" y="329"/>
                  </a:lnTo>
                  <a:lnTo>
                    <a:pt x="41" y="359"/>
                  </a:lnTo>
                  <a:lnTo>
                    <a:pt x="45" y="387"/>
                  </a:lnTo>
                  <a:lnTo>
                    <a:pt x="51" y="415"/>
                  </a:lnTo>
                  <a:lnTo>
                    <a:pt x="61" y="442"/>
                  </a:lnTo>
                  <a:lnTo>
                    <a:pt x="74" y="467"/>
                  </a:lnTo>
                  <a:lnTo>
                    <a:pt x="88" y="492"/>
                  </a:lnTo>
                  <a:lnTo>
                    <a:pt x="105" y="513"/>
                  </a:lnTo>
                  <a:lnTo>
                    <a:pt x="124" y="535"/>
                  </a:lnTo>
                  <a:lnTo>
                    <a:pt x="144" y="553"/>
                  </a:lnTo>
                  <a:lnTo>
                    <a:pt x="167" y="569"/>
                  </a:lnTo>
                  <a:lnTo>
                    <a:pt x="191" y="584"/>
                  </a:lnTo>
                  <a:lnTo>
                    <a:pt x="216" y="596"/>
                  </a:lnTo>
                  <a:lnTo>
                    <a:pt x="243" y="607"/>
                  </a:lnTo>
                  <a:lnTo>
                    <a:pt x="272" y="614"/>
                  </a:lnTo>
                  <a:lnTo>
                    <a:pt x="300" y="618"/>
                  </a:lnTo>
                  <a:lnTo>
                    <a:pt x="329" y="619"/>
                  </a:lnTo>
                  <a:lnTo>
                    <a:pt x="329" y="619"/>
                  </a:lnTo>
                  <a:lnTo>
                    <a:pt x="359" y="618"/>
                  </a:lnTo>
                  <a:lnTo>
                    <a:pt x="388" y="614"/>
                  </a:lnTo>
                  <a:lnTo>
                    <a:pt x="417" y="607"/>
                  </a:lnTo>
                  <a:lnTo>
                    <a:pt x="442" y="596"/>
                  </a:lnTo>
                  <a:lnTo>
                    <a:pt x="468" y="584"/>
                  </a:lnTo>
                  <a:lnTo>
                    <a:pt x="492" y="569"/>
                  </a:lnTo>
                  <a:lnTo>
                    <a:pt x="515" y="553"/>
                  </a:lnTo>
                  <a:lnTo>
                    <a:pt x="535" y="535"/>
                  </a:lnTo>
                  <a:lnTo>
                    <a:pt x="553"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3" y="144"/>
                  </a:lnTo>
                  <a:lnTo>
                    <a:pt x="535" y="122"/>
                  </a:lnTo>
                  <a:lnTo>
                    <a:pt x="515" y="104"/>
                  </a:lnTo>
                  <a:lnTo>
                    <a:pt x="492" y="87"/>
                  </a:lnTo>
                  <a:lnTo>
                    <a:pt x="468" y="73"/>
                  </a:lnTo>
                  <a:lnTo>
                    <a:pt x="442" y="61"/>
                  </a:lnTo>
                  <a:lnTo>
                    <a:pt x="417" y="51"/>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39" name="Freeform 109">
              <a:extLst>
                <a:ext uri="{FF2B5EF4-FFF2-40B4-BE49-F238E27FC236}">
                  <a16:creationId xmlns:a16="http://schemas.microsoft.com/office/drawing/2014/main" id="{DDA7CF83-FD5D-DD4D-982D-6AEBD691A373}"/>
                </a:ext>
              </a:extLst>
            </p:cNvPr>
            <p:cNvSpPr>
              <a:spLocks/>
            </p:cNvSpPr>
            <p:nvPr/>
          </p:nvSpPr>
          <p:spPr bwMode="auto">
            <a:xfrm>
              <a:off x="7739063" y="1905000"/>
              <a:ext cx="127000" cy="125413"/>
            </a:xfrm>
            <a:custGeom>
              <a:avLst/>
              <a:gdLst>
                <a:gd name="T0" fmla="*/ 149 w 158"/>
                <a:gd name="T1" fmla="*/ 140 h 157"/>
                <a:gd name="T2" fmla="*/ 79 w 158"/>
                <a:gd name="T3" fmla="*/ 140 h 157"/>
                <a:gd name="T4" fmla="*/ 79 w 158"/>
                <a:gd name="T5" fmla="*/ 140 h 157"/>
                <a:gd name="T6" fmla="*/ 67 w 158"/>
                <a:gd name="T7" fmla="*/ 140 h 157"/>
                <a:gd name="T8" fmla="*/ 55 w 158"/>
                <a:gd name="T9" fmla="*/ 136 h 157"/>
                <a:gd name="T10" fmla="*/ 44 w 158"/>
                <a:gd name="T11" fmla="*/ 130 h 157"/>
                <a:gd name="T12" fmla="*/ 35 w 158"/>
                <a:gd name="T13" fmla="*/ 122 h 157"/>
                <a:gd name="T14" fmla="*/ 28 w 158"/>
                <a:gd name="T15" fmla="*/ 113 h 157"/>
                <a:gd name="T16" fmla="*/ 23 w 158"/>
                <a:gd name="T17" fmla="*/ 102 h 157"/>
                <a:gd name="T18" fmla="*/ 19 w 158"/>
                <a:gd name="T19" fmla="*/ 91 h 157"/>
                <a:gd name="T20" fmla="*/ 17 w 158"/>
                <a:gd name="T21" fmla="*/ 79 h 157"/>
                <a:gd name="T22" fmla="*/ 17 w 158"/>
                <a:gd name="T23" fmla="*/ 79 h 157"/>
                <a:gd name="T24" fmla="*/ 19 w 158"/>
                <a:gd name="T25" fmla="*/ 67 h 157"/>
                <a:gd name="T26" fmla="*/ 21 w 158"/>
                <a:gd name="T27" fmla="*/ 56 h 157"/>
                <a:gd name="T28" fmla="*/ 27 w 158"/>
                <a:gd name="T29" fmla="*/ 47 h 157"/>
                <a:gd name="T30" fmla="*/ 32 w 158"/>
                <a:gd name="T31" fmla="*/ 39 h 157"/>
                <a:gd name="T32" fmla="*/ 40 w 158"/>
                <a:gd name="T33" fmla="*/ 31 h 157"/>
                <a:gd name="T34" fmla="*/ 50 w 158"/>
                <a:gd name="T35" fmla="*/ 26 h 157"/>
                <a:gd name="T36" fmla="*/ 59 w 158"/>
                <a:gd name="T37" fmla="*/ 20 h 157"/>
                <a:gd name="T38" fmla="*/ 71 w 158"/>
                <a:gd name="T39" fmla="*/ 17 h 157"/>
                <a:gd name="T40" fmla="*/ 74 w 158"/>
                <a:gd name="T41" fmla="*/ 17 h 157"/>
                <a:gd name="T42" fmla="*/ 74 w 158"/>
                <a:gd name="T43" fmla="*/ 12 h 157"/>
                <a:gd name="T44" fmla="*/ 74 w 158"/>
                <a:gd name="T45" fmla="*/ 12 h 157"/>
                <a:gd name="T46" fmla="*/ 74 w 158"/>
                <a:gd name="T47" fmla="*/ 8 h 157"/>
                <a:gd name="T48" fmla="*/ 74 w 158"/>
                <a:gd name="T49" fmla="*/ 8 h 157"/>
                <a:gd name="T50" fmla="*/ 74 w 158"/>
                <a:gd name="T51" fmla="*/ 7 h 157"/>
                <a:gd name="T52" fmla="*/ 74 w 158"/>
                <a:gd name="T53" fmla="*/ 0 h 157"/>
                <a:gd name="T54" fmla="*/ 70 w 158"/>
                <a:gd name="T55" fmla="*/ 0 h 157"/>
                <a:gd name="T56" fmla="*/ 70 w 158"/>
                <a:gd name="T57" fmla="*/ 0 h 157"/>
                <a:gd name="T58" fmla="*/ 55 w 158"/>
                <a:gd name="T59" fmla="*/ 4 h 157"/>
                <a:gd name="T60" fmla="*/ 42 w 158"/>
                <a:gd name="T61" fmla="*/ 9 h 157"/>
                <a:gd name="T62" fmla="*/ 29 w 158"/>
                <a:gd name="T63" fmla="*/ 17 h 157"/>
                <a:gd name="T64" fmla="*/ 20 w 158"/>
                <a:gd name="T65" fmla="*/ 27 h 157"/>
                <a:gd name="T66" fmla="*/ 12 w 158"/>
                <a:gd name="T67" fmla="*/ 38 h 157"/>
                <a:gd name="T68" fmla="*/ 5 w 158"/>
                <a:gd name="T69" fmla="*/ 51 h 157"/>
                <a:gd name="T70" fmla="*/ 1 w 158"/>
                <a:gd name="T71" fmla="*/ 64 h 157"/>
                <a:gd name="T72" fmla="*/ 0 w 158"/>
                <a:gd name="T73" fmla="*/ 79 h 157"/>
                <a:gd name="T74" fmla="*/ 0 w 158"/>
                <a:gd name="T75" fmla="*/ 79 h 157"/>
                <a:gd name="T76" fmla="*/ 0 w 158"/>
                <a:gd name="T77" fmla="*/ 87 h 157"/>
                <a:gd name="T78" fmla="*/ 1 w 158"/>
                <a:gd name="T79" fmla="*/ 94 h 157"/>
                <a:gd name="T80" fmla="*/ 7 w 158"/>
                <a:gd name="T81" fmla="*/ 110 h 157"/>
                <a:gd name="T82" fmla="*/ 13 w 158"/>
                <a:gd name="T83" fmla="*/ 124 h 157"/>
                <a:gd name="T84" fmla="*/ 23 w 158"/>
                <a:gd name="T85" fmla="*/ 134 h 157"/>
                <a:gd name="T86" fmla="*/ 35 w 158"/>
                <a:gd name="T87" fmla="*/ 144 h 157"/>
                <a:gd name="T88" fmla="*/ 48 w 158"/>
                <a:gd name="T89" fmla="*/ 152 h 157"/>
                <a:gd name="T90" fmla="*/ 63 w 158"/>
                <a:gd name="T91" fmla="*/ 156 h 157"/>
                <a:gd name="T92" fmla="*/ 71 w 158"/>
                <a:gd name="T93" fmla="*/ 157 h 157"/>
                <a:gd name="T94" fmla="*/ 79 w 158"/>
                <a:gd name="T95" fmla="*/ 157 h 157"/>
                <a:gd name="T96" fmla="*/ 149 w 158"/>
                <a:gd name="T97" fmla="*/ 157 h 157"/>
                <a:gd name="T98" fmla="*/ 149 w 158"/>
                <a:gd name="T99" fmla="*/ 157 h 157"/>
                <a:gd name="T100" fmla="*/ 153 w 158"/>
                <a:gd name="T101" fmla="*/ 157 h 157"/>
                <a:gd name="T102" fmla="*/ 156 w 158"/>
                <a:gd name="T103" fmla="*/ 156 h 157"/>
                <a:gd name="T104" fmla="*/ 157 w 158"/>
                <a:gd name="T105" fmla="*/ 152 h 157"/>
                <a:gd name="T106" fmla="*/ 158 w 158"/>
                <a:gd name="T107" fmla="*/ 149 h 157"/>
                <a:gd name="T108" fmla="*/ 158 w 158"/>
                <a:gd name="T109" fmla="*/ 149 h 157"/>
                <a:gd name="T110" fmla="*/ 157 w 158"/>
                <a:gd name="T111" fmla="*/ 145 h 157"/>
                <a:gd name="T112" fmla="*/ 156 w 158"/>
                <a:gd name="T113" fmla="*/ 142 h 157"/>
                <a:gd name="T114" fmla="*/ 153 w 158"/>
                <a:gd name="T115" fmla="*/ 141 h 157"/>
                <a:gd name="T116" fmla="*/ 149 w 158"/>
                <a:gd name="T117" fmla="*/ 140 h 157"/>
                <a:gd name="T118" fmla="*/ 149 w 158"/>
                <a:gd name="T119" fmla="*/ 14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157">
                  <a:moveTo>
                    <a:pt x="149" y="140"/>
                  </a:moveTo>
                  <a:lnTo>
                    <a:pt x="79" y="140"/>
                  </a:lnTo>
                  <a:lnTo>
                    <a:pt x="79" y="140"/>
                  </a:lnTo>
                  <a:lnTo>
                    <a:pt x="67" y="140"/>
                  </a:lnTo>
                  <a:lnTo>
                    <a:pt x="55" y="136"/>
                  </a:lnTo>
                  <a:lnTo>
                    <a:pt x="44" y="130"/>
                  </a:lnTo>
                  <a:lnTo>
                    <a:pt x="35" y="122"/>
                  </a:lnTo>
                  <a:lnTo>
                    <a:pt x="28" y="113"/>
                  </a:lnTo>
                  <a:lnTo>
                    <a:pt x="23" y="102"/>
                  </a:lnTo>
                  <a:lnTo>
                    <a:pt x="19" y="91"/>
                  </a:lnTo>
                  <a:lnTo>
                    <a:pt x="17" y="79"/>
                  </a:lnTo>
                  <a:lnTo>
                    <a:pt x="17" y="79"/>
                  </a:lnTo>
                  <a:lnTo>
                    <a:pt x="19" y="67"/>
                  </a:lnTo>
                  <a:lnTo>
                    <a:pt x="21" y="56"/>
                  </a:lnTo>
                  <a:lnTo>
                    <a:pt x="27" y="47"/>
                  </a:lnTo>
                  <a:lnTo>
                    <a:pt x="32" y="39"/>
                  </a:lnTo>
                  <a:lnTo>
                    <a:pt x="40" y="31"/>
                  </a:lnTo>
                  <a:lnTo>
                    <a:pt x="50" y="26"/>
                  </a:lnTo>
                  <a:lnTo>
                    <a:pt x="59" y="20"/>
                  </a:lnTo>
                  <a:lnTo>
                    <a:pt x="71" y="17"/>
                  </a:lnTo>
                  <a:lnTo>
                    <a:pt x="74" y="17"/>
                  </a:lnTo>
                  <a:lnTo>
                    <a:pt x="74" y="12"/>
                  </a:lnTo>
                  <a:lnTo>
                    <a:pt x="74" y="12"/>
                  </a:lnTo>
                  <a:lnTo>
                    <a:pt x="74" y="8"/>
                  </a:lnTo>
                  <a:lnTo>
                    <a:pt x="74" y="8"/>
                  </a:lnTo>
                  <a:lnTo>
                    <a:pt x="74" y="7"/>
                  </a:lnTo>
                  <a:lnTo>
                    <a:pt x="74" y="0"/>
                  </a:lnTo>
                  <a:lnTo>
                    <a:pt x="70" y="0"/>
                  </a:lnTo>
                  <a:lnTo>
                    <a:pt x="70" y="0"/>
                  </a:lnTo>
                  <a:lnTo>
                    <a:pt x="55" y="4"/>
                  </a:lnTo>
                  <a:lnTo>
                    <a:pt x="42" y="9"/>
                  </a:lnTo>
                  <a:lnTo>
                    <a:pt x="29" y="17"/>
                  </a:lnTo>
                  <a:lnTo>
                    <a:pt x="20" y="27"/>
                  </a:lnTo>
                  <a:lnTo>
                    <a:pt x="12" y="38"/>
                  </a:lnTo>
                  <a:lnTo>
                    <a:pt x="5" y="51"/>
                  </a:lnTo>
                  <a:lnTo>
                    <a:pt x="1" y="64"/>
                  </a:lnTo>
                  <a:lnTo>
                    <a:pt x="0" y="79"/>
                  </a:lnTo>
                  <a:lnTo>
                    <a:pt x="0" y="79"/>
                  </a:lnTo>
                  <a:lnTo>
                    <a:pt x="0" y="87"/>
                  </a:lnTo>
                  <a:lnTo>
                    <a:pt x="1" y="94"/>
                  </a:lnTo>
                  <a:lnTo>
                    <a:pt x="7" y="110"/>
                  </a:lnTo>
                  <a:lnTo>
                    <a:pt x="13" y="124"/>
                  </a:lnTo>
                  <a:lnTo>
                    <a:pt x="23" y="134"/>
                  </a:lnTo>
                  <a:lnTo>
                    <a:pt x="35" y="144"/>
                  </a:lnTo>
                  <a:lnTo>
                    <a:pt x="48" y="152"/>
                  </a:lnTo>
                  <a:lnTo>
                    <a:pt x="63" y="156"/>
                  </a:lnTo>
                  <a:lnTo>
                    <a:pt x="71" y="157"/>
                  </a:lnTo>
                  <a:lnTo>
                    <a:pt x="79" y="157"/>
                  </a:lnTo>
                  <a:lnTo>
                    <a:pt x="149" y="157"/>
                  </a:lnTo>
                  <a:lnTo>
                    <a:pt x="149" y="157"/>
                  </a:lnTo>
                  <a:lnTo>
                    <a:pt x="153" y="157"/>
                  </a:lnTo>
                  <a:lnTo>
                    <a:pt x="156" y="156"/>
                  </a:lnTo>
                  <a:lnTo>
                    <a:pt x="157" y="152"/>
                  </a:lnTo>
                  <a:lnTo>
                    <a:pt x="158" y="149"/>
                  </a:lnTo>
                  <a:lnTo>
                    <a:pt x="158" y="149"/>
                  </a:lnTo>
                  <a:lnTo>
                    <a:pt x="157" y="145"/>
                  </a:lnTo>
                  <a:lnTo>
                    <a:pt x="156" y="142"/>
                  </a:lnTo>
                  <a:lnTo>
                    <a:pt x="153" y="141"/>
                  </a:lnTo>
                  <a:lnTo>
                    <a:pt x="149" y="140"/>
                  </a:lnTo>
                  <a:lnTo>
                    <a:pt x="149" y="1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40" name="Freeform 110">
              <a:extLst>
                <a:ext uri="{FF2B5EF4-FFF2-40B4-BE49-F238E27FC236}">
                  <a16:creationId xmlns:a16="http://schemas.microsoft.com/office/drawing/2014/main" id="{03E9E5F0-5B51-E648-84D2-649245454189}"/>
                </a:ext>
              </a:extLst>
            </p:cNvPr>
            <p:cNvSpPr>
              <a:spLocks/>
            </p:cNvSpPr>
            <p:nvPr/>
          </p:nvSpPr>
          <p:spPr bwMode="auto">
            <a:xfrm>
              <a:off x="7851776" y="1793875"/>
              <a:ext cx="123825" cy="125413"/>
            </a:xfrm>
            <a:custGeom>
              <a:avLst/>
              <a:gdLst>
                <a:gd name="T0" fmla="*/ 79 w 157"/>
                <a:gd name="T1" fmla="*/ 0 h 158"/>
                <a:gd name="T2" fmla="*/ 8 w 157"/>
                <a:gd name="T3" fmla="*/ 0 h 158"/>
                <a:gd name="T4" fmla="*/ 8 w 157"/>
                <a:gd name="T5" fmla="*/ 0 h 158"/>
                <a:gd name="T6" fmla="*/ 5 w 157"/>
                <a:gd name="T7" fmla="*/ 1 h 158"/>
                <a:gd name="T8" fmla="*/ 3 w 157"/>
                <a:gd name="T9" fmla="*/ 3 h 158"/>
                <a:gd name="T10" fmla="*/ 0 w 157"/>
                <a:gd name="T11" fmla="*/ 5 h 158"/>
                <a:gd name="T12" fmla="*/ 0 w 157"/>
                <a:gd name="T13" fmla="*/ 9 h 158"/>
                <a:gd name="T14" fmla="*/ 0 w 157"/>
                <a:gd name="T15" fmla="*/ 9 h 158"/>
                <a:gd name="T16" fmla="*/ 0 w 157"/>
                <a:gd name="T17" fmla="*/ 12 h 158"/>
                <a:gd name="T18" fmla="*/ 3 w 157"/>
                <a:gd name="T19" fmla="*/ 15 h 158"/>
                <a:gd name="T20" fmla="*/ 5 w 157"/>
                <a:gd name="T21" fmla="*/ 17 h 158"/>
                <a:gd name="T22" fmla="*/ 8 w 157"/>
                <a:gd name="T23" fmla="*/ 17 h 158"/>
                <a:gd name="T24" fmla="*/ 79 w 157"/>
                <a:gd name="T25" fmla="*/ 17 h 158"/>
                <a:gd name="T26" fmla="*/ 79 w 157"/>
                <a:gd name="T27" fmla="*/ 17 h 158"/>
                <a:gd name="T28" fmla="*/ 91 w 157"/>
                <a:gd name="T29" fmla="*/ 19 h 158"/>
                <a:gd name="T30" fmla="*/ 102 w 157"/>
                <a:gd name="T31" fmla="*/ 23 h 158"/>
                <a:gd name="T32" fmla="*/ 113 w 157"/>
                <a:gd name="T33" fmla="*/ 28 h 158"/>
                <a:gd name="T34" fmla="*/ 122 w 157"/>
                <a:gd name="T35" fmla="*/ 36 h 158"/>
                <a:gd name="T36" fmla="*/ 130 w 157"/>
                <a:gd name="T37" fmla="*/ 44 h 158"/>
                <a:gd name="T38" fmla="*/ 135 w 157"/>
                <a:gd name="T39" fmla="*/ 55 h 158"/>
                <a:gd name="T40" fmla="*/ 138 w 157"/>
                <a:gd name="T41" fmla="*/ 67 h 158"/>
                <a:gd name="T42" fmla="*/ 139 w 157"/>
                <a:gd name="T43" fmla="*/ 79 h 158"/>
                <a:gd name="T44" fmla="*/ 139 w 157"/>
                <a:gd name="T45" fmla="*/ 79 h 158"/>
                <a:gd name="T46" fmla="*/ 139 w 157"/>
                <a:gd name="T47" fmla="*/ 90 h 158"/>
                <a:gd name="T48" fmla="*/ 135 w 157"/>
                <a:gd name="T49" fmla="*/ 101 h 158"/>
                <a:gd name="T50" fmla="*/ 131 w 157"/>
                <a:gd name="T51" fmla="*/ 110 h 158"/>
                <a:gd name="T52" fmla="*/ 125 w 157"/>
                <a:gd name="T53" fmla="*/ 120 h 158"/>
                <a:gd name="T54" fmla="*/ 117 w 157"/>
                <a:gd name="T55" fmla="*/ 128 h 158"/>
                <a:gd name="T56" fmla="*/ 109 w 157"/>
                <a:gd name="T57" fmla="*/ 133 h 158"/>
                <a:gd name="T58" fmla="*/ 98 w 157"/>
                <a:gd name="T59" fmla="*/ 137 h 158"/>
                <a:gd name="T60" fmla="*/ 87 w 157"/>
                <a:gd name="T61" fmla="*/ 140 h 158"/>
                <a:gd name="T62" fmla="*/ 83 w 157"/>
                <a:gd name="T63" fmla="*/ 141 h 158"/>
                <a:gd name="T64" fmla="*/ 83 w 157"/>
                <a:gd name="T65" fmla="*/ 145 h 158"/>
                <a:gd name="T66" fmla="*/ 83 w 157"/>
                <a:gd name="T67" fmla="*/ 145 h 158"/>
                <a:gd name="T68" fmla="*/ 83 w 157"/>
                <a:gd name="T69" fmla="*/ 149 h 158"/>
                <a:gd name="T70" fmla="*/ 83 w 157"/>
                <a:gd name="T71" fmla="*/ 149 h 158"/>
                <a:gd name="T72" fmla="*/ 83 w 157"/>
                <a:gd name="T73" fmla="*/ 152 h 158"/>
                <a:gd name="T74" fmla="*/ 83 w 157"/>
                <a:gd name="T75" fmla="*/ 158 h 158"/>
                <a:gd name="T76" fmla="*/ 88 w 157"/>
                <a:gd name="T77" fmla="*/ 157 h 158"/>
                <a:gd name="T78" fmla="*/ 88 w 157"/>
                <a:gd name="T79" fmla="*/ 157 h 158"/>
                <a:gd name="T80" fmla="*/ 102 w 157"/>
                <a:gd name="T81" fmla="*/ 154 h 158"/>
                <a:gd name="T82" fmla="*/ 115 w 157"/>
                <a:gd name="T83" fmla="*/ 149 h 158"/>
                <a:gd name="T84" fmla="*/ 127 w 157"/>
                <a:gd name="T85" fmla="*/ 141 h 158"/>
                <a:gd name="T86" fmla="*/ 138 w 157"/>
                <a:gd name="T87" fmla="*/ 132 h 158"/>
                <a:gd name="T88" fmla="*/ 146 w 157"/>
                <a:gd name="T89" fmla="*/ 121 h 158"/>
                <a:gd name="T90" fmla="*/ 152 w 157"/>
                <a:gd name="T91" fmla="*/ 107 h 158"/>
                <a:gd name="T92" fmla="*/ 156 w 157"/>
                <a:gd name="T93" fmla="*/ 94 h 158"/>
                <a:gd name="T94" fmla="*/ 157 w 157"/>
                <a:gd name="T95" fmla="*/ 79 h 158"/>
                <a:gd name="T96" fmla="*/ 157 w 157"/>
                <a:gd name="T97" fmla="*/ 79 h 158"/>
                <a:gd name="T98" fmla="*/ 157 w 157"/>
                <a:gd name="T99" fmla="*/ 71 h 158"/>
                <a:gd name="T100" fmla="*/ 156 w 157"/>
                <a:gd name="T101" fmla="*/ 63 h 158"/>
                <a:gd name="T102" fmla="*/ 152 w 157"/>
                <a:gd name="T103" fmla="*/ 48 h 158"/>
                <a:gd name="T104" fmla="*/ 144 w 157"/>
                <a:gd name="T105" fmla="*/ 35 h 158"/>
                <a:gd name="T106" fmla="*/ 134 w 157"/>
                <a:gd name="T107" fmla="*/ 23 h 158"/>
                <a:gd name="T108" fmla="*/ 122 w 157"/>
                <a:gd name="T109" fmla="*/ 13 h 158"/>
                <a:gd name="T110" fmla="*/ 109 w 157"/>
                <a:gd name="T111" fmla="*/ 7 h 158"/>
                <a:gd name="T112" fmla="*/ 94 w 157"/>
                <a:gd name="T113" fmla="*/ 1 h 158"/>
                <a:gd name="T114" fmla="*/ 87 w 157"/>
                <a:gd name="T115" fmla="*/ 0 h 158"/>
                <a:gd name="T116" fmla="*/ 79 w 157"/>
                <a:gd name="T117" fmla="*/ 0 h 158"/>
                <a:gd name="T118" fmla="*/ 79 w 157"/>
                <a:gd name="T11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 h="158">
                  <a:moveTo>
                    <a:pt x="79" y="0"/>
                  </a:moveTo>
                  <a:lnTo>
                    <a:pt x="8" y="0"/>
                  </a:lnTo>
                  <a:lnTo>
                    <a:pt x="8" y="0"/>
                  </a:lnTo>
                  <a:lnTo>
                    <a:pt x="5" y="1"/>
                  </a:lnTo>
                  <a:lnTo>
                    <a:pt x="3" y="3"/>
                  </a:lnTo>
                  <a:lnTo>
                    <a:pt x="0" y="5"/>
                  </a:lnTo>
                  <a:lnTo>
                    <a:pt x="0" y="9"/>
                  </a:lnTo>
                  <a:lnTo>
                    <a:pt x="0" y="9"/>
                  </a:lnTo>
                  <a:lnTo>
                    <a:pt x="0" y="12"/>
                  </a:lnTo>
                  <a:lnTo>
                    <a:pt x="3" y="15"/>
                  </a:lnTo>
                  <a:lnTo>
                    <a:pt x="5" y="17"/>
                  </a:lnTo>
                  <a:lnTo>
                    <a:pt x="8" y="17"/>
                  </a:lnTo>
                  <a:lnTo>
                    <a:pt x="79" y="17"/>
                  </a:lnTo>
                  <a:lnTo>
                    <a:pt x="79" y="17"/>
                  </a:lnTo>
                  <a:lnTo>
                    <a:pt x="91" y="19"/>
                  </a:lnTo>
                  <a:lnTo>
                    <a:pt x="102" y="23"/>
                  </a:lnTo>
                  <a:lnTo>
                    <a:pt x="113" y="28"/>
                  </a:lnTo>
                  <a:lnTo>
                    <a:pt x="122" y="36"/>
                  </a:lnTo>
                  <a:lnTo>
                    <a:pt x="130" y="44"/>
                  </a:lnTo>
                  <a:lnTo>
                    <a:pt x="135" y="55"/>
                  </a:lnTo>
                  <a:lnTo>
                    <a:pt x="138" y="67"/>
                  </a:lnTo>
                  <a:lnTo>
                    <a:pt x="139" y="79"/>
                  </a:lnTo>
                  <a:lnTo>
                    <a:pt x="139" y="79"/>
                  </a:lnTo>
                  <a:lnTo>
                    <a:pt x="139" y="90"/>
                  </a:lnTo>
                  <a:lnTo>
                    <a:pt x="135" y="101"/>
                  </a:lnTo>
                  <a:lnTo>
                    <a:pt x="131" y="110"/>
                  </a:lnTo>
                  <a:lnTo>
                    <a:pt x="125" y="120"/>
                  </a:lnTo>
                  <a:lnTo>
                    <a:pt x="117" y="128"/>
                  </a:lnTo>
                  <a:lnTo>
                    <a:pt x="109" y="133"/>
                  </a:lnTo>
                  <a:lnTo>
                    <a:pt x="98" y="137"/>
                  </a:lnTo>
                  <a:lnTo>
                    <a:pt x="87" y="140"/>
                  </a:lnTo>
                  <a:lnTo>
                    <a:pt x="83" y="141"/>
                  </a:lnTo>
                  <a:lnTo>
                    <a:pt x="83" y="145"/>
                  </a:lnTo>
                  <a:lnTo>
                    <a:pt x="83" y="145"/>
                  </a:lnTo>
                  <a:lnTo>
                    <a:pt x="83" y="149"/>
                  </a:lnTo>
                  <a:lnTo>
                    <a:pt x="83" y="149"/>
                  </a:lnTo>
                  <a:lnTo>
                    <a:pt x="83" y="152"/>
                  </a:lnTo>
                  <a:lnTo>
                    <a:pt x="83" y="158"/>
                  </a:lnTo>
                  <a:lnTo>
                    <a:pt x="88" y="157"/>
                  </a:lnTo>
                  <a:lnTo>
                    <a:pt x="88" y="157"/>
                  </a:lnTo>
                  <a:lnTo>
                    <a:pt x="102" y="154"/>
                  </a:lnTo>
                  <a:lnTo>
                    <a:pt x="115" y="149"/>
                  </a:lnTo>
                  <a:lnTo>
                    <a:pt x="127" y="141"/>
                  </a:lnTo>
                  <a:lnTo>
                    <a:pt x="138" y="132"/>
                  </a:lnTo>
                  <a:lnTo>
                    <a:pt x="146" y="121"/>
                  </a:lnTo>
                  <a:lnTo>
                    <a:pt x="152" y="107"/>
                  </a:lnTo>
                  <a:lnTo>
                    <a:pt x="156" y="94"/>
                  </a:lnTo>
                  <a:lnTo>
                    <a:pt x="157" y="79"/>
                  </a:lnTo>
                  <a:lnTo>
                    <a:pt x="157" y="79"/>
                  </a:lnTo>
                  <a:lnTo>
                    <a:pt x="157" y="71"/>
                  </a:lnTo>
                  <a:lnTo>
                    <a:pt x="156" y="63"/>
                  </a:lnTo>
                  <a:lnTo>
                    <a:pt x="152" y="48"/>
                  </a:lnTo>
                  <a:lnTo>
                    <a:pt x="144" y="35"/>
                  </a:lnTo>
                  <a:lnTo>
                    <a:pt x="134" y="23"/>
                  </a:lnTo>
                  <a:lnTo>
                    <a:pt x="122" y="13"/>
                  </a:lnTo>
                  <a:lnTo>
                    <a:pt x="109" y="7"/>
                  </a:lnTo>
                  <a:lnTo>
                    <a:pt x="94" y="1"/>
                  </a:lnTo>
                  <a:lnTo>
                    <a:pt x="87" y="0"/>
                  </a:lnTo>
                  <a:lnTo>
                    <a:pt x="79" y="0"/>
                  </a:lnTo>
                  <a:lnTo>
                    <a:pt x="7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41" name="Freeform 111">
              <a:extLst>
                <a:ext uri="{FF2B5EF4-FFF2-40B4-BE49-F238E27FC236}">
                  <a16:creationId xmlns:a16="http://schemas.microsoft.com/office/drawing/2014/main" id="{3E153419-39D6-774D-88F9-5E5C35AC9094}"/>
                </a:ext>
              </a:extLst>
            </p:cNvPr>
            <p:cNvSpPr>
              <a:spLocks noEditPoints="1"/>
            </p:cNvSpPr>
            <p:nvPr/>
          </p:nvSpPr>
          <p:spPr bwMode="auto">
            <a:xfrm>
              <a:off x="7807326" y="1860550"/>
              <a:ext cx="101600" cy="101600"/>
            </a:xfrm>
            <a:custGeom>
              <a:avLst/>
              <a:gdLst>
                <a:gd name="T0" fmla="*/ 63 w 126"/>
                <a:gd name="T1" fmla="*/ 0 h 126"/>
                <a:gd name="T2" fmla="*/ 63 w 126"/>
                <a:gd name="T3" fmla="*/ 0 h 126"/>
                <a:gd name="T4" fmla="*/ 51 w 126"/>
                <a:gd name="T5" fmla="*/ 1 h 126"/>
                <a:gd name="T6" fmla="*/ 39 w 126"/>
                <a:gd name="T7" fmla="*/ 5 h 126"/>
                <a:gd name="T8" fmla="*/ 28 w 126"/>
                <a:gd name="T9" fmla="*/ 11 h 126"/>
                <a:gd name="T10" fmla="*/ 19 w 126"/>
                <a:gd name="T11" fmla="*/ 19 h 126"/>
                <a:gd name="T12" fmla="*/ 11 w 126"/>
                <a:gd name="T13" fmla="*/ 28 h 126"/>
                <a:gd name="T14" fmla="*/ 5 w 126"/>
                <a:gd name="T15" fmla="*/ 39 h 126"/>
                <a:gd name="T16" fmla="*/ 1 w 126"/>
                <a:gd name="T17" fmla="*/ 51 h 126"/>
                <a:gd name="T18" fmla="*/ 0 w 126"/>
                <a:gd name="T19" fmla="*/ 63 h 126"/>
                <a:gd name="T20" fmla="*/ 0 w 126"/>
                <a:gd name="T21" fmla="*/ 63 h 126"/>
                <a:gd name="T22" fmla="*/ 1 w 126"/>
                <a:gd name="T23" fmla="*/ 76 h 126"/>
                <a:gd name="T24" fmla="*/ 5 w 126"/>
                <a:gd name="T25" fmla="*/ 89 h 126"/>
                <a:gd name="T26" fmla="*/ 11 w 126"/>
                <a:gd name="T27" fmla="*/ 99 h 126"/>
                <a:gd name="T28" fmla="*/ 19 w 126"/>
                <a:gd name="T29" fmla="*/ 109 h 126"/>
                <a:gd name="T30" fmla="*/ 28 w 126"/>
                <a:gd name="T31" fmla="*/ 115 h 126"/>
                <a:gd name="T32" fmla="*/ 39 w 126"/>
                <a:gd name="T33" fmla="*/ 122 h 126"/>
                <a:gd name="T34" fmla="*/ 51 w 126"/>
                <a:gd name="T35" fmla="*/ 125 h 126"/>
                <a:gd name="T36" fmla="*/ 63 w 126"/>
                <a:gd name="T37" fmla="*/ 126 h 126"/>
                <a:gd name="T38" fmla="*/ 63 w 126"/>
                <a:gd name="T39" fmla="*/ 126 h 126"/>
                <a:gd name="T40" fmla="*/ 76 w 126"/>
                <a:gd name="T41" fmla="*/ 125 h 126"/>
                <a:gd name="T42" fmla="*/ 87 w 126"/>
                <a:gd name="T43" fmla="*/ 122 h 126"/>
                <a:gd name="T44" fmla="*/ 98 w 126"/>
                <a:gd name="T45" fmla="*/ 115 h 126"/>
                <a:gd name="T46" fmla="*/ 107 w 126"/>
                <a:gd name="T47" fmla="*/ 109 h 126"/>
                <a:gd name="T48" fmla="*/ 115 w 126"/>
                <a:gd name="T49" fmla="*/ 99 h 126"/>
                <a:gd name="T50" fmla="*/ 122 w 126"/>
                <a:gd name="T51" fmla="*/ 89 h 126"/>
                <a:gd name="T52" fmla="*/ 125 w 126"/>
                <a:gd name="T53" fmla="*/ 76 h 126"/>
                <a:gd name="T54" fmla="*/ 126 w 126"/>
                <a:gd name="T55" fmla="*/ 63 h 126"/>
                <a:gd name="T56" fmla="*/ 126 w 126"/>
                <a:gd name="T57" fmla="*/ 63 h 126"/>
                <a:gd name="T58" fmla="*/ 125 w 126"/>
                <a:gd name="T59" fmla="*/ 51 h 126"/>
                <a:gd name="T60" fmla="*/ 122 w 126"/>
                <a:gd name="T61" fmla="*/ 39 h 126"/>
                <a:gd name="T62" fmla="*/ 115 w 126"/>
                <a:gd name="T63" fmla="*/ 28 h 126"/>
                <a:gd name="T64" fmla="*/ 107 w 126"/>
                <a:gd name="T65" fmla="*/ 19 h 126"/>
                <a:gd name="T66" fmla="*/ 98 w 126"/>
                <a:gd name="T67" fmla="*/ 11 h 126"/>
                <a:gd name="T68" fmla="*/ 87 w 126"/>
                <a:gd name="T69" fmla="*/ 5 h 126"/>
                <a:gd name="T70" fmla="*/ 76 w 126"/>
                <a:gd name="T71" fmla="*/ 1 h 126"/>
                <a:gd name="T72" fmla="*/ 63 w 126"/>
                <a:gd name="T73" fmla="*/ 0 h 126"/>
                <a:gd name="T74" fmla="*/ 63 w 126"/>
                <a:gd name="T75" fmla="*/ 0 h 126"/>
                <a:gd name="T76" fmla="*/ 91 w 126"/>
                <a:gd name="T77" fmla="*/ 50 h 126"/>
                <a:gd name="T78" fmla="*/ 58 w 126"/>
                <a:gd name="T79" fmla="*/ 83 h 126"/>
                <a:gd name="T80" fmla="*/ 58 w 126"/>
                <a:gd name="T81" fmla="*/ 83 h 126"/>
                <a:gd name="T82" fmla="*/ 55 w 126"/>
                <a:gd name="T83" fmla="*/ 85 h 126"/>
                <a:gd name="T84" fmla="*/ 55 w 126"/>
                <a:gd name="T85" fmla="*/ 85 h 126"/>
                <a:gd name="T86" fmla="*/ 52 w 126"/>
                <a:gd name="T87" fmla="*/ 83 h 126"/>
                <a:gd name="T88" fmla="*/ 35 w 126"/>
                <a:gd name="T89" fmla="*/ 67 h 126"/>
                <a:gd name="T90" fmla="*/ 35 w 126"/>
                <a:gd name="T91" fmla="*/ 67 h 126"/>
                <a:gd name="T92" fmla="*/ 33 w 126"/>
                <a:gd name="T93" fmla="*/ 63 h 126"/>
                <a:gd name="T94" fmla="*/ 35 w 126"/>
                <a:gd name="T95" fmla="*/ 60 h 126"/>
                <a:gd name="T96" fmla="*/ 35 w 126"/>
                <a:gd name="T97" fmla="*/ 60 h 126"/>
                <a:gd name="T98" fmla="*/ 37 w 126"/>
                <a:gd name="T99" fmla="*/ 59 h 126"/>
                <a:gd name="T100" fmla="*/ 41 w 126"/>
                <a:gd name="T101" fmla="*/ 60 h 126"/>
                <a:gd name="T102" fmla="*/ 55 w 126"/>
                <a:gd name="T103" fmla="*/ 74 h 126"/>
                <a:gd name="T104" fmla="*/ 86 w 126"/>
                <a:gd name="T105" fmla="*/ 44 h 126"/>
                <a:gd name="T106" fmla="*/ 86 w 126"/>
                <a:gd name="T107" fmla="*/ 44 h 126"/>
                <a:gd name="T108" fmla="*/ 88 w 126"/>
                <a:gd name="T109" fmla="*/ 43 h 126"/>
                <a:gd name="T110" fmla="*/ 91 w 126"/>
                <a:gd name="T111" fmla="*/ 44 h 126"/>
                <a:gd name="T112" fmla="*/ 91 w 126"/>
                <a:gd name="T113" fmla="*/ 44 h 126"/>
                <a:gd name="T114" fmla="*/ 92 w 126"/>
                <a:gd name="T115" fmla="*/ 47 h 126"/>
                <a:gd name="T116" fmla="*/ 91 w 126"/>
                <a:gd name="T117" fmla="*/ 50 h 126"/>
                <a:gd name="T118" fmla="*/ 91 w 126"/>
                <a:gd name="T119"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126">
                  <a:moveTo>
                    <a:pt x="63" y="0"/>
                  </a:moveTo>
                  <a:lnTo>
                    <a:pt x="63" y="0"/>
                  </a:lnTo>
                  <a:lnTo>
                    <a:pt x="51" y="1"/>
                  </a:lnTo>
                  <a:lnTo>
                    <a:pt x="39" y="5"/>
                  </a:lnTo>
                  <a:lnTo>
                    <a:pt x="28" y="11"/>
                  </a:lnTo>
                  <a:lnTo>
                    <a:pt x="19" y="19"/>
                  </a:lnTo>
                  <a:lnTo>
                    <a:pt x="11" y="28"/>
                  </a:lnTo>
                  <a:lnTo>
                    <a:pt x="5" y="39"/>
                  </a:lnTo>
                  <a:lnTo>
                    <a:pt x="1" y="51"/>
                  </a:lnTo>
                  <a:lnTo>
                    <a:pt x="0" y="63"/>
                  </a:lnTo>
                  <a:lnTo>
                    <a:pt x="0" y="63"/>
                  </a:lnTo>
                  <a:lnTo>
                    <a:pt x="1" y="76"/>
                  </a:lnTo>
                  <a:lnTo>
                    <a:pt x="5" y="89"/>
                  </a:lnTo>
                  <a:lnTo>
                    <a:pt x="11" y="99"/>
                  </a:lnTo>
                  <a:lnTo>
                    <a:pt x="19" y="109"/>
                  </a:lnTo>
                  <a:lnTo>
                    <a:pt x="28" y="115"/>
                  </a:lnTo>
                  <a:lnTo>
                    <a:pt x="39" y="122"/>
                  </a:lnTo>
                  <a:lnTo>
                    <a:pt x="51" y="125"/>
                  </a:lnTo>
                  <a:lnTo>
                    <a:pt x="63" y="126"/>
                  </a:lnTo>
                  <a:lnTo>
                    <a:pt x="63" y="126"/>
                  </a:lnTo>
                  <a:lnTo>
                    <a:pt x="76" y="125"/>
                  </a:lnTo>
                  <a:lnTo>
                    <a:pt x="87" y="122"/>
                  </a:lnTo>
                  <a:lnTo>
                    <a:pt x="98" y="115"/>
                  </a:lnTo>
                  <a:lnTo>
                    <a:pt x="107" y="109"/>
                  </a:lnTo>
                  <a:lnTo>
                    <a:pt x="115" y="99"/>
                  </a:lnTo>
                  <a:lnTo>
                    <a:pt x="122" y="89"/>
                  </a:lnTo>
                  <a:lnTo>
                    <a:pt x="125" y="76"/>
                  </a:lnTo>
                  <a:lnTo>
                    <a:pt x="126" y="63"/>
                  </a:lnTo>
                  <a:lnTo>
                    <a:pt x="126" y="63"/>
                  </a:lnTo>
                  <a:lnTo>
                    <a:pt x="125" y="51"/>
                  </a:lnTo>
                  <a:lnTo>
                    <a:pt x="122" y="39"/>
                  </a:lnTo>
                  <a:lnTo>
                    <a:pt x="115" y="28"/>
                  </a:lnTo>
                  <a:lnTo>
                    <a:pt x="107" y="19"/>
                  </a:lnTo>
                  <a:lnTo>
                    <a:pt x="98" y="11"/>
                  </a:lnTo>
                  <a:lnTo>
                    <a:pt x="87" y="5"/>
                  </a:lnTo>
                  <a:lnTo>
                    <a:pt x="76" y="1"/>
                  </a:lnTo>
                  <a:lnTo>
                    <a:pt x="63" y="0"/>
                  </a:lnTo>
                  <a:lnTo>
                    <a:pt x="63" y="0"/>
                  </a:lnTo>
                  <a:close/>
                  <a:moveTo>
                    <a:pt x="91" y="50"/>
                  </a:moveTo>
                  <a:lnTo>
                    <a:pt x="58" y="83"/>
                  </a:lnTo>
                  <a:lnTo>
                    <a:pt x="58" y="83"/>
                  </a:lnTo>
                  <a:lnTo>
                    <a:pt x="55" y="85"/>
                  </a:lnTo>
                  <a:lnTo>
                    <a:pt x="55" y="85"/>
                  </a:lnTo>
                  <a:lnTo>
                    <a:pt x="52" y="83"/>
                  </a:lnTo>
                  <a:lnTo>
                    <a:pt x="35" y="67"/>
                  </a:lnTo>
                  <a:lnTo>
                    <a:pt x="35" y="67"/>
                  </a:lnTo>
                  <a:lnTo>
                    <a:pt x="33" y="63"/>
                  </a:lnTo>
                  <a:lnTo>
                    <a:pt x="35" y="60"/>
                  </a:lnTo>
                  <a:lnTo>
                    <a:pt x="35" y="60"/>
                  </a:lnTo>
                  <a:lnTo>
                    <a:pt x="37" y="59"/>
                  </a:lnTo>
                  <a:lnTo>
                    <a:pt x="41" y="60"/>
                  </a:lnTo>
                  <a:lnTo>
                    <a:pt x="55" y="74"/>
                  </a:lnTo>
                  <a:lnTo>
                    <a:pt x="86" y="44"/>
                  </a:lnTo>
                  <a:lnTo>
                    <a:pt x="86" y="44"/>
                  </a:lnTo>
                  <a:lnTo>
                    <a:pt x="88" y="43"/>
                  </a:lnTo>
                  <a:lnTo>
                    <a:pt x="91" y="44"/>
                  </a:lnTo>
                  <a:lnTo>
                    <a:pt x="91" y="44"/>
                  </a:lnTo>
                  <a:lnTo>
                    <a:pt x="92" y="47"/>
                  </a:lnTo>
                  <a:lnTo>
                    <a:pt x="91" y="50"/>
                  </a:lnTo>
                  <a:lnTo>
                    <a:pt x="91"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sp>
        <p:nvSpPr>
          <p:cNvPr id="16" name="TextBox 15">
            <a:extLst>
              <a:ext uri="{FF2B5EF4-FFF2-40B4-BE49-F238E27FC236}">
                <a16:creationId xmlns:a16="http://schemas.microsoft.com/office/drawing/2014/main" id="{A0530FF6-557D-5E40-9A47-BE33DB68ED4B}"/>
              </a:ext>
            </a:extLst>
          </p:cNvPr>
          <p:cNvSpPr txBox="1"/>
          <p:nvPr userDrawn="1"/>
        </p:nvSpPr>
        <p:spPr>
          <a:xfrm>
            <a:off x="4739439" y="3068824"/>
            <a:ext cx="1499515" cy="307777"/>
          </a:xfrm>
          <a:prstGeom prst="rect">
            <a:avLst/>
          </a:prstGeom>
          <a:noFill/>
        </p:spPr>
        <p:txBody>
          <a:bodyPr wrap="square" lIns="0" tIns="0" rIns="0" bIns="0" rtlCol="0">
            <a:spAutoFit/>
          </a:bodyPr>
          <a:lstStyle/>
          <a:p>
            <a:r>
              <a:rPr lang="en-GB" sz="2000" b="1" i="0" spc="300">
                <a:latin typeface="Open Sans Semibold" panose="020B0606030504020204" pitchFamily="34" charset="0"/>
                <a:ea typeface="Open Sans Semibold" panose="020B0606030504020204" pitchFamily="34" charset="0"/>
                <a:cs typeface="Open Sans Semibold" panose="020B0606030504020204" pitchFamily="34" charset="0"/>
              </a:rPr>
              <a:t>CLIENT</a:t>
            </a:r>
          </a:p>
        </p:txBody>
      </p:sp>
      <p:sp>
        <p:nvSpPr>
          <p:cNvPr id="17" name="Rectangle 16">
            <a:extLst>
              <a:ext uri="{FF2B5EF4-FFF2-40B4-BE49-F238E27FC236}">
                <a16:creationId xmlns:a16="http://schemas.microsoft.com/office/drawing/2014/main" id="{D84EB6AE-5817-1E47-A694-0B0BFCB184FC}"/>
              </a:ext>
            </a:extLst>
          </p:cNvPr>
          <p:cNvSpPr/>
          <p:nvPr userDrawn="1"/>
        </p:nvSpPr>
        <p:spPr>
          <a:xfrm>
            <a:off x="7399128" y="3068824"/>
            <a:ext cx="2018879" cy="307777"/>
          </a:xfrm>
          <a:prstGeom prst="rect">
            <a:avLst/>
          </a:prstGeom>
          <a:noFill/>
        </p:spPr>
        <p:txBody>
          <a:bodyPr wrap="square" lIns="0" tIns="0" rIns="0" bIns="0" rtlCol="0">
            <a:spAutoFit/>
          </a:bodyPr>
          <a:lstStyle/>
          <a:p>
            <a:r>
              <a:rPr lang="en-GB" sz="2000" b="1" i="0" spc="300">
                <a:latin typeface="Open Sans Semibold" panose="020B0606030504020204" pitchFamily="34" charset="0"/>
                <a:ea typeface="Open Sans Semibold" panose="020B0606030504020204" pitchFamily="34" charset="0"/>
                <a:cs typeface="Open Sans Semibold" panose="020B0606030504020204" pitchFamily="34" charset="0"/>
              </a:rPr>
              <a:t>AMBITION</a:t>
            </a:r>
          </a:p>
        </p:txBody>
      </p:sp>
      <p:sp>
        <p:nvSpPr>
          <p:cNvPr id="44" name="Oval 43">
            <a:extLst>
              <a:ext uri="{FF2B5EF4-FFF2-40B4-BE49-F238E27FC236}">
                <a16:creationId xmlns:a16="http://schemas.microsoft.com/office/drawing/2014/main" id="{F3122FF0-487D-BA4F-91A0-E28EDBB465F2}"/>
              </a:ext>
            </a:extLst>
          </p:cNvPr>
          <p:cNvSpPr/>
          <p:nvPr userDrawn="1"/>
        </p:nvSpPr>
        <p:spPr>
          <a:xfrm>
            <a:off x="4696200" y="2323690"/>
            <a:ext cx="330024" cy="330024"/>
          </a:xfrm>
          <a:prstGeom prst="ellipse">
            <a:avLst/>
          </a:prstGeom>
          <a:solidFill>
            <a:schemeClr val="accent1">
              <a:lumMod val="20000"/>
              <a:lumOff val="80000"/>
            </a:schemeClr>
          </a:solidFill>
          <a:ln w="22225">
            <a:noFill/>
          </a:ln>
          <a:effectLst>
            <a:outerShdw blurRad="635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cxnSp>
        <p:nvCxnSpPr>
          <p:cNvPr id="46" name="Straight Connector 45">
            <a:extLst>
              <a:ext uri="{FF2B5EF4-FFF2-40B4-BE49-F238E27FC236}">
                <a16:creationId xmlns:a16="http://schemas.microsoft.com/office/drawing/2014/main" id="{0930F88C-F6CD-6848-BD90-A486AB3D95D0}"/>
              </a:ext>
            </a:extLst>
          </p:cNvPr>
          <p:cNvCxnSpPr>
            <a:cxnSpLocks/>
          </p:cNvCxnSpPr>
          <p:nvPr userDrawn="1"/>
        </p:nvCxnSpPr>
        <p:spPr>
          <a:xfrm flipV="1">
            <a:off x="4856929" y="2488702"/>
            <a:ext cx="5985132" cy="1"/>
          </a:xfrm>
          <a:prstGeom prst="line">
            <a:avLst/>
          </a:prstGeom>
          <a:ln w="28575" cap="rnd">
            <a:solidFill>
              <a:schemeClr val="accent1"/>
            </a:solidFill>
            <a:prstDash val="sysDot"/>
            <a:round/>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7389CB71-FEA0-7545-858C-221BCDF2D35C}"/>
              </a:ext>
            </a:extLst>
          </p:cNvPr>
          <p:cNvSpPr/>
          <p:nvPr userDrawn="1"/>
        </p:nvSpPr>
        <p:spPr>
          <a:xfrm>
            <a:off x="10764854" y="2406445"/>
            <a:ext cx="164515" cy="164515"/>
          </a:xfrm>
          <a:prstGeom prst="ellipse">
            <a:avLst/>
          </a:prstGeom>
          <a:solidFill>
            <a:schemeClr val="accent1">
              <a:lumMod val="20000"/>
              <a:lumOff val="80000"/>
            </a:schemeClr>
          </a:solidFill>
          <a:ln w="222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9" name="Oval 18">
            <a:extLst>
              <a:ext uri="{FF2B5EF4-FFF2-40B4-BE49-F238E27FC236}">
                <a16:creationId xmlns:a16="http://schemas.microsoft.com/office/drawing/2014/main" id="{21E76771-781D-3E43-AF9B-B4F93938DA33}"/>
              </a:ext>
            </a:extLst>
          </p:cNvPr>
          <p:cNvSpPr/>
          <p:nvPr userDrawn="1"/>
        </p:nvSpPr>
        <p:spPr>
          <a:xfrm>
            <a:off x="7285285" y="2247490"/>
            <a:ext cx="482424" cy="482424"/>
          </a:xfrm>
          <a:prstGeom prst="ellipse">
            <a:avLst/>
          </a:prstGeom>
          <a:solidFill>
            <a:schemeClr val="accent1">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0" name="Oval 19">
            <a:extLst>
              <a:ext uri="{FF2B5EF4-FFF2-40B4-BE49-F238E27FC236}">
                <a16:creationId xmlns:a16="http://schemas.microsoft.com/office/drawing/2014/main" id="{1E00AD4F-1AD0-AE48-BF50-82DB271AF26A}"/>
              </a:ext>
            </a:extLst>
          </p:cNvPr>
          <p:cNvSpPr/>
          <p:nvPr userDrawn="1"/>
        </p:nvSpPr>
        <p:spPr>
          <a:xfrm>
            <a:off x="7407595" y="2369800"/>
            <a:ext cx="237805" cy="237805"/>
          </a:xfrm>
          <a:prstGeom prst="ellipse">
            <a:avLst/>
          </a:prstGeom>
          <a:solidFill>
            <a:schemeClr val="accent1"/>
          </a:solidFill>
          <a:ln w="28575">
            <a:solidFill>
              <a:schemeClr val="accent1"/>
            </a:solidFill>
          </a:ln>
          <a:effectLst>
            <a:outerShdw blurRad="635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1" name="Text Placeholder 1">
            <a:extLst>
              <a:ext uri="{FF2B5EF4-FFF2-40B4-BE49-F238E27FC236}">
                <a16:creationId xmlns:a16="http://schemas.microsoft.com/office/drawing/2014/main" id="{B0172358-8FDE-724E-8078-C6FE63C4DD40}"/>
              </a:ext>
            </a:extLst>
          </p:cNvPr>
          <p:cNvSpPr txBox="1">
            <a:spLocks/>
          </p:cNvSpPr>
          <p:nvPr userDrawn="1"/>
        </p:nvSpPr>
        <p:spPr>
          <a:xfrm>
            <a:off x="1428204" y="4461538"/>
            <a:ext cx="1868998" cy="5417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2000" b="0" i="0" kern="1200" spc="-3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i="1"/>
              <a:t>Case study</a:t>
            </a:r>
          </a:p>
        </p:txBody>
      </p:sp>
      <p:sp>
        <p:nvSpPr>
          <p:cNvPr id="22" name="Title 62">
            <a:extLst>
              <a:ext uri="{FF2B5EF4-FFF2-40B4-BE49-F238E27FC236}">
                <a16:creationId xmlns:a16="http://schemas.microsoft.com/office/drawing/2014/main" id="{2F47C96C-5DD4-1144-BB83-E5043F700547}"/>
              </a:ext>
            </a:extLst>
          </p:cNvPr>
          <p:cNvSpPr txBox="1">
            <a:spLocks/>
          </p:cNvSpPr>
          <p:nvPr userDrawn="1"/>
        </p:nvSpPr>
        <p:spPr>
          <a:xfrm>
            <a:off x="1428204" y="3580475"/>
            <a:ext cx="2838996" cy="881063"/>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mj-lt"/>
                <a:ea typeface="Bebas Neue" charset="0"/>
                <a:cs typeface="Chronicle Display Black"/>
              </a:defRPr>
            </a:lvl1pPr>
          </a:lstStyle>
          <a:p>
            <a:r>
              <a:rPr lang="en-GB" sz="3200"/>
              <a:t>Digital </a:t>
            </a:r>
            <a:br>
              <a:rPr lang="en-GB" sz="3200"/>
            </a:br>
            <a:r>
              <a:rPr lang="en-GB" sz="3200"/>
              <a:t>migration</a:t>
            </a:r>
          </a:p>
        </p:txBody>
      </p:sp>
      <p:sp>
        <p:nvSpPr>
          <p:cNvPr id="25" name="Text Placeholder 3">
            <a:extLst>
              <a:ext uri="{FF2B5EF4-FFF2-40B4-BE49-F238E27FC236}">
                <a16:creationId xmlns:a16="http://schemas.microsoft.com/office/drawing/2014/main" id="{0BD5C6AC-1628-8E4E-965F-58EF44FC46E8}"/>
              </a:ext>
            </a:extLst>
          </p:cNvPr>
          <p:cNvSpPr>
            <a:spLocks noGrp="1"/>
          </p:cNvSpPr>
          <p:nvPr>
            <p:ph type="body" sz="quarter" idx="15"/>
          </p:nvPr>
        </p:nvSpPr>
        <p:spPr>
          <a:xfrm>
            <a:off x="7399128" y="3611863"/>
            <a:ext cx="3189800" cy="541762"/>
          </a:xfrm>
        </p:spPr>
        <p:txBody>
          <a:bodyPr anchor="t" anchorCtr="0"/>
          <a:lstStyle>
            <a:lvl1pPr marL="0" indent="0" eaLnBrk="1">
              <a:buFont typeface="Arial" panose="020B0604020202020204" pitchFamily="34" charset="0"/>
              <a:buNone/>
              <a:defRPr sz="1600" b="0" i="0">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GB"/>
          </a:p>
        </p:txBody>
      </p:sp>
      <p:sp>
        <p:nvSpPr>
          <p:cNvPr id="26" name="Text Placeholder 3">
            <a:extLst>
              <a:ext uri="{FF2B5EF4-FFF2-40B4-BE49-F238E27FC236}">
                <a16:creationId xmlns:a16="http://schemas.microsoft.com/office/drawing/2014/main" id="{DE928A72-2F74-9B49-B2A1-5196ACCF2D56}"/>
              </a:ext>
            </a:extLst>
          </p:cNvPr>
          <p:cNvSpPr>
            <a:spLocks noGrp="1"/>
          </p:cNvSpPr>
          <p:nvPr>
            <p:ph type="body" sz="quarter" idx="16"/>
          </p:nvPr>
        </p:nvSpPr>
        <p:spPr>
          <a:xfrm>
            <a:off x="4739439" y="3611863"/>
            <a:ext cx="2321761" cy="541762"/>
          </a:xfrm>
        </p:spPr>
        <p:txBody>
          <a:bodyPr anchor="t" anchorCtr="0"/>
          <a:lstStyle>
            <a:lvl1pPr marL="0" indent="0" eaLnBrk="1">
              <a:buFont typeface="Arial" panose="020B0604020202020204" pitchFamily="34" charse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GB"/>
          </a:p>
        </p:txBody>
      </p:sp>
    </p:spTree>
    <p:extLst>
      <p:ext uri="{BB962C8B-B14F-4D97-AF65-F5344CB8AC3E}">
        <p14:creationId xmlns:p14="http://schemas.microsoft.com/office/powerpoint/2010/main" val="3792795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 fill="hold"/>
                                        <p:tgtEl>
                                          <p:spTgt spid="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yond Digital Platform - Blue 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77538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1" name="think-cell Slide" r:id="rId4" imgW="473" imgH="473" progId="TCLayout.ActiveDocument.1">
                  <p:embed/>
                </p:oleObj>
              </mc:Choice>
              <mc:Fallback>
                <p:oleObj name="think-cell Slide" r:id="rId4" imgW="473" imgH="47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66D78414-0479-984E-98C2-3D19E0CFA895}"/>
              </a:ext>
            </a:extLst>
          </p:cNvPr>
          <p:cNvPicPr>
            <a:picLocks noChangeAspect="1"/>
          </p:cNvPicPr>
          <p:nvPr userDrawn="1"/>
        </p:nvPicPr>
        <p:blipFill rotWithShape="1">
          <a:blip r:embed="rId6"/>
          <a:srcRect l="26572" t="3260" r="-3723" b="19568"/>
          <a:stretch/>
        </p:blipFill>
        <p:spPr>
          <a:xfrm rot="10800000" flipV="1">
            <a:off x="0" y="-1"/>
            <a:ext cx="12192000" cy="6858000"/>
          </a:xfrm>
          <a:prstGeom prst="rect">
            <a:avLst/>
          </a:prstGeom>
        </p:spPr>
      </p:pic>
      <p:pic>
        <p:nvPicPr>
          <p:cNvPr id="31" name="Picture 3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374020" y="1809750"/>
            <a:ext cx="1437209" cy="1435488"/>
          </a:xfrm>
          <a:prstGeom prst="ellipse">
            <a:avLst/>
          </a:prstGeom>
        </p:spPr>
      </p:pic>
      <p:sp>
        <p:nvSpPr>
          <p:cNvPr id="20" name="TextBox 19">
            <a:extLst>
              <a:ext uri="{FF2B5EF4-FFF2-40B4-BE49-F238E27FC236}">
                <a16:creationId xmlns:a16="http://schemas.microsoft.com/office/drawing/2014/main" id="{6F73EDA4-6BDA-4744-9BC0-851CCF1EEE7E}"/>
              </a:ext>
            </a:extLst>
          </p:cNvPr>
          <p:cNvSpPr txBox="1"/>
          <p:nvPr userDrawn="1"/>
        </p:nvSpPr>
        <p:spPr>
          <a:xfrm>
            <a:off x="4739439" y="3068824"/>
            <a:ext cx="1499515" cy="307777"/>
          </a:xfrm>
          <a:prstGeom prst="rect">
            <a:avLst/>
          </a:prstGeom>
          <a:noFill/>
        </p:spPr>
        <p:txBody>
          <a:bodyPr wrap="square" lIns="0" tIns="0" rIns="0" bIns="0" rtlCol="0">
            <a:spAutoFit/>
          </a:bodyPr>
          <a:lstStyle/>
          <a:p>
            <a:r>
              <a:rPr lang="en-GB" sz="2000" b="1" i="0" spc="300">
                <a:latin typeface="Open Sans Semibold" panose="020B0606030504020204" pitchFamily="34" charset="0"/>
                <a:ea typeface="Open Sans Semibold" panose="020B0606030504020204" pitchFamily="34" charset="0"/>
                <a:cs typeface="Open Sans Semibold" panose="020B0606030504020204" pitchFamily="34" charset="0"/>
              </a:rPr>
              <a:t>CLIENT</a:t>
            </a:r>
          </a:p>
        </p:txBody>
      </p:sp>
      <p:sp>
        <p:nvSpPr>
          <p:cNvPr id="21" name="Rectangle 20">
            <a:extLst>
              <a:ext uri="{FF2B5EF4-FFF2-40B4-BE49-F238E27FC236}">
                <a16:creationId xmlns:a16="http://schemas.microsoft.com/office/drawing/2014/main" id="{ABAB3D6A-17DA-BE4B-AF33-0F0FC1F24D24}"/>
              </a:ext>
            </a:extLst>
          </p:cNvPr>
          <p:cNvSpPr/>
          <p:nvPr userDrawn="1"/>
        </p:nvSpPr>
        <p:spPr>
          <a:xfrm>
            <a:off x="7399128" y="3068824"/>
            <a:ext cx="2018879" cy="307777"/>
          </a:xfrm>
          <a:prstGeom prst="rect">
            <a:avLst/>
          </a:prstGeom>
          <a:noFill/>
        </p:spPr>
        <p:txBody>
          <a:bodyPr wrap="square" lIns="0" tIns="0" rIns="0" bIns="0" rtlCol="0">
            <a:spAutoFit/>
          </a:bodyPr>
          <a:lstStyle/>
          <a:p>
            <a:r>
              <a:rPr lang="en-GB" sz="2000" b="1" i="0" spc="300">
                <a:latin typeface="Open Sans Semibold" panose="020B0606030504020204" pitchFamily="34" charset="0"/>
                <a:ea typeface="Open Sans Semibold" panose="020B0606030504020204" pitchFamily="34" charset="0"/>
                <a:cs typeface="Open Sans Semibold" panose="020B0606030504020204" pitchFamily="34" charset="0"/>
              </a:rPr>
              <a:t>AMBITION</a:t>
            </a:r>
          </a:p>
        </p:txBody>
      </p:sp>
      <p:sp>
        <p:nvSpPr>
          <p:cNvPr id="60" name="Oval 59">
            <a:extLst>
              <a:ext uri="{FF2B5EF4-FFF2-40B4-BE49-F238E27FC236}">
                <a16:creationId xmlns:a16="http://schemas.microsoft.com/office/drawing/2014/main" id="{FD206F9E-B374-9143-A61D-4D6EF1311E8A}"/>
              </a:ext>
            </a:extLst>
          </p:cNvPr>
          <p:cNvSpPr/>
          <p:nvPr userDrawn="1"/>
        </p:nvSpPr>
        <p:spPr>
          <a:xfrm>
            <a:off x="4696200" y="2323690"/>
            <a:ext cx="330024" cy="330024"/>
          </a:xfrm>
          <a:prstGeom prst="ellipse">
            <a:avLst/>
          </a:prstGeom>
          <a:solidFill>
            <a:schemeClr val="accent2">
              <a:lumMod val="20000"/>
              <a:lumOff val="80000"/>
            </a:schemeClr>
          </a:solidFill>
          <a:ln w="22225">
            <a:noFill/>
          </a:ln>
          <a:effectLst>
            <a:outerShdw blurRad="635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cxnSp>
        <p:nvCxnSpPr>
          <p:cNvPr id="62" name="Straight Connector 61">
            <a:extLst>
              <a:ext uri="{FF2B5EF4-FFF2-40B4-BE49-F238E27FC236}">
                <a16:creationId xmlns:a16="http://schemas.microsoft.com/office/drawing/2014/main" id="{25BECC99-A2A0-2746-82A6-94D88F408516}"/>
              </a:ext>
            </a:extLst>
          </p:cNvPr>
          <p:cNvCxnSpPr>
            <a:cxnSpLocks/>
          </p:cNvCxnSpPr>
          <p:nvPr userDrawn="1"/>
        </p:nvCxnSpPr>
        <p:spPr>
          <a:xfrm flipV="1">
            <a:off x="4856929" y="2488702"/>
            <a:ext cx="5985132" cy="1"/>
          </a:xfrm>
          <a:prstGeom prst="line">
            <a:avLst/>
          </a:prstGeom>
          <a:ln w="28575" cap="rnd">
            <a:solidFill>
              <a:schemeClr val="accent2"/>
            </a:solidFill>
            <a:prstDash val="sysDot"/>
            <a:round/>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8C5E79FF-0164-1D4F-9F4D-5D6510ACB3E2}"/>
              </a:ext>
            </a:extLst>
          </p:cNvPr>
          <p:cNvSpPr/>
          <p:nvPr userDrawn="1"/>
        </p:nvSpPr>
        <p:spPr>
          <a:xfrm>
            <a:off x="10764854" y="2406445"/>
            <a:ext cx="164515" cy="164515"/>
          </a:xfrm>
          <a:prstGeom prst="ellipse">
            <a:avLst/>
          </a:prstGeom>
          <a:solidFill>
            <a:schemeClr val="accent2">
              <a:lumMod val="20000"/>
              <a:lumOff val="80000"/>
            </a:schemeClr>
          </a:solidFill>
          <a:ln w="222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3" name="Oval 22">
            <a:extLst>
              <a:ext uri="{FF2B5EF4-FFF2-40B4-BE49-F238E27FC236}">
                <a16:creationId xmlns:a16="http://schemas.microsoft.com/office/drawing/2014/main" id="{615E96B7-8043-0B4E-892D-B5FD1C7CBD02}"/>
              </a:ext>
            </a:extLst>
          </p:cNvPr>
          <p:cNvSpPr/>
          <p:nvPr userDrawn="1"/>
        </p:nvSpPr>
        <p:spPr>
          <a:xfrm>
            <a:off x="7285285" y="2247490"/>
            <a:ext cx="482424" cy="482424"/>
          </a:xfrm>
          <a:prstGeom prst="ellipse">
            <a:avLst/>
          </a:prstGeom>
          <a:solidFill>
            <a:schemeClr val="accent2">
              <a:lumMod val="20000"/>
              <a:lumOff val="8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4" name="Oval 23">
            <a:extLst>
              <a:ext uri="{FF2B5EF4-FFF2-40B4-BE49-F238E27FC236}">
                <a16:creationId xmlns:a16="http://schemas.microsoft.com/office/drawing/2014/main" id="{8CAEA1CB-3887-BB4B-AB69-465D6A5E014D}"/>
              </a:ext>
            </a:extLst>
          </p:cNvPr>
          <p:cNvSpPr/>
          <p:nvPr userDrawn="1"/>
        </p:nvSpPr>
        <p:spPr>
          <a:xfrm>
            <a:off x="7407595" y="2369800"/>
            <a:ext cx="237805" cy="237805"/>
          </a:xfrm>
          <a:prstGeom prst="ellipse">
            <a:avLst/>
          </a:prstGeom>
          <a:solidFill>
            <a:schemeClr val="accent2"/>
          </a:solidFill>
          <a:ln w="28575">
            <a:solidFill>
              <a:schemeClr val="accent2"/>
            </a:solidFill>
          </a:ln>
          <a:effectLst>
            <a:outerShdw blurRad="63500" sx="102000" sy="102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7" name="Freeform 24">
            <a:extLst>
              <a:ext uri="{FF2B5EF4-FFF2-40B4-BE49-F238E27FC236}">
                <a16:creationId xmlns:a16="http://schemas.microsoft.com/office/drawing/2014/main" id="{B9A19FF1-DFC6-CF48-8029-10530AF291CB}"/>
              </a:ext>
            </a:extLst>
          </p:cNvPr>
          <p:cNvSpPr>
            <a:spLocks noEditPoints="1"/>
          </p:cNvSpPr>
          <p:nvPr/>
        </p:nvSpPr>
        <p:spPr bwMode="auto">
          <a:xfrm>
            <a:off x="1584662" y="2008525"/>
            <a:ext cx="1037172" cy="1034017"/>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6 h 657"/>
              <a:gd name="T18" fmla="*/ 11 w 658"/>
              <a:gd name="T19" fmla="*/ 246 h 657"/>
              <a:gd name="T20" fmla="*/ 41 w 658"/>
              <a:gd name="T21" fmla="*/ 172 h 657"/>
              <a:gd name="T22" fmla="*/ 97 w 658"/>
              <a:gd name="T23" fmla="*/ 97 h 657"/>
              <a:gd name="T24" fmla="*/ 174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1 w 658"/>
              <a:gd name="T71" fmla="*/ 215 h 657"/>
              <a:gd name="T72" fmla="*/ 41 w 658"/>
              <a:gd name="T73" fmla="*/ 298 h 657"/>
              <a:gd name="T74" fmla="*/ 41 w 658"/>
              <a:gd name="T75" fmla="*/ 359 h 657"/>
              <a:gd name="T76" fmla="*/ 61 w 658"/>
              <a:gd name="T77" fmla="*/ 442 h 657"/>
              <a:gd name="T78" fmla="*/ 105 w 658"/>
              <a:gd name="T79" fmla="*/ 513 h 657"/>
              <a:gd name="T80" fmla="*/ 167 w 658"/>
              <a:gd name="T81" fmla="*/ 569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1" y="642"/>
                </a:lnTo>
                <a:lnTo>
                  <a:pt x="202" y="631"/>
                </a:lnTo>
                <a:lnTo>
                  <a:pt x="174" y="618"/>
                </a:lnTo>
                <a:lnTo>
                  <a:pt x="145" y="600"/>
                </a:lnTo>
                <a:lnTo>
                  <a:pt x="121" y="582"/>
                </a:lnTo>
                <a:lnTo>
                  <a:pt x="97" y="561"/>
                </a:lnTo>
                <a:lnTo>
                  <a:pt x="75" y="537"/>
                </a:lnTo>
                <a:lnTo>
                  <a:pt x="57" y="512"/>
                </a:lnTo>
                <a:lnTo>
                  <a:pt x="41" y="485"/>
                </a:lnTo>
                <a:lnTo>
                  <a:pt x="27" y="457"/>
                </a:lnTo>
                <a:lnTo>
                  <a:pt x="15" y="426"/>
                </a:lnTo>
                <a:lnTo>
                  <a:pt x="11" y="411"/>
                </a:lnTo>
                <a:lnTo>
                  <a:pt x="7" y="395"/>
                </a:lnTo>
                <a:lnTo>
                  <a:pt x="4" y="379"/>
                </a:lnTo>
                <a:lnTo>
                  <a:pt x="3" y="363"/>
                </a:lnTo>
                <a:lnTo>
                  <a:pt x="2" y="345"/>
                </a:lnTo>
                <a:lnTo>
                  <a:pt x="0" y="329"/>
                </a:lnTo>
                <a:lnTo>
                  <a:pt x="0" y="329"/>
                </a:lnTo>
                <a:lnTo>
                  <a:pt x="2" y="312"/>
                </a:lnTo>
                <a:lnTo>
                  <a:pt x="3" y="296"/>
                </a:lnTo>
                <a:lnTo>
                  <a:pt x="4" y="278"/>
                </a:lnTo>
                <a:lnTo>
                  <a:pt x="7" y="262"/>
                </a:lnTo>
                <a:lnTo>
                  <a:pt x="11" y="246"/>
                </a:lnTo>
                <a:lnTo>
                  <a:pt x="15" y="231"/>
                </a:lnTo>
                <a:lnTo>
                  <a:pt x="27" y="200"/>
                </a:lnTo>
                <a:lnTo>
                  <a:pt x="41" y="172"/>
                </a:lnTo>
                <a:lnTo>
                  <a:pt x="57" y="145"/>
                </a:lnTo>
                <a:lnTo>
                  <a:pt x="75" y="120"/>
                </a:lnTo>
                <a:lnTo>
                  <a:pt x="97" y="97"/>
                </a:lnTo>
                <a:lnTo>
                  <a:pt x="121" y="75"/>
                </a:lnTo>
                <a:lnTo>
                  <a:pt x="145" y="57"/>
                </a:lnTo>
                <a:lnTo>
                  <a:pt x="174" y="39"/>
                </a:lnTo>
                <a:lnTo>
                  <a:pt x="202" y="26"/>
                </a:lnTo>
                <a:lnTo>
                  <a:pt x="231" y="15"/>
                </a:lnTo>
                <a:lnTo>
                  <a:pt x="247" y="10"/>
                </a:lnTo>
                <a:lnTo>
                  <a:pt x="263" y="7"/>
                </a:lnTo>
                <a:lnTo>
                  <a:pt x="280"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5"/>
                </a:lnTo>
                <a:lnTo>
                  <a:pt x="562" y="97"/>
                </a:lnTo>
                <a:lnTo>
                  <a:pt x="583" y="120"/>
                </a:lnTo>
                <a:lnTo>
                  <a:pt x="602" y="145"/>
                </a:lnTo>
                <a:lnTo>
                  <a:pt x="618" y="172"/>
                </a:lnTo>
                <a:lnTo>
                  <a:pt x="633" y="200"/>
                </a:lnTo>
                <a:lnTo>
                  <a:pt x="643" y="231"/>
                </a:lnTo>
                <a:lnTo>
                  <a:pt x="647" y="246"/>
                </a:lnTo>
                <a:lnTo>
                  <a:pt x="651" y="262"/>
                </a:lnTo>
                <a:lnTo>
                  <a:pt x="654" y="278"/>
                </a:lnTo>
                <a:lnTo>
                  <a:pt x="657" y="296"/>
                </a:lnTo>
                <a:lnTo>
                  <a:pt x="658" y="312"/>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5" y="650"/>
                </a:lnTo>
                <a:lnTo>
                  <a:pt x="379" y="653"/>
                </a:lnTo>
                <a:lnTo>
                  <a:pt x="363" y="655"/>
                </a:lnTo>
                <a:lnTo>
                  <a:pt x="347" y="657"/>
                </a:lnTo>
                <a:lnTo>
                  <a:pt x="329" y="657"/>
                </a:lnTo>
                <a:lnTo>
                  <a:pt x="329" y="657"/>
                </a:lnTo>
                <a:close/>
                <a:moveTo>
                  <a:pt x="329" y="38"/>
                </a:moveTo>
                <a:lnTo>
                  <a:pt x="329" y="38"/>
                </a:lnTo>
                <a:lnTo>
                  <a:pt x="300" y="39"/>
                </a:lnTo>
                <a:lnTo>
                  <a:pt x="272" y="43"/>
                </a:lnTo>
                <a:lnTo>
                  <a:pt x="243" y="51"/>
                </a:lnTo>
                <a:lnTo>
                  <a:pt x="216" y="61"/>
                </a:lnTo>
                <a:lnTo>
                  <a:pt x="191" y="73"/>
                </a:lnTo>
                <a:lnTo>
                  <a:pt x="167" y="87"/>
                </a:lnTo>
                <a:lnTo>
                  <a:pt x="144" y="104"/>
                </a:lnTo>
                <a:lnTo>
                  <a:pt x="124" y="122"/>
                </a:lnTo>
                <a:lnTo>
                  <a:pt x="105" y="144"/>
                </a:lnTo>
                <a:lnTo>
                  <a:pt x="88" y="165"/>
                </a:lnTo>
                <a:lnTo>
                  <a:pt x="74" y="189"/>
                </a:lnTo>
                <a:lnTo>
                  <a:pt x="61" y="215"/>
                </a:lnTo>
                <a:lnTo>
                  <a:pt x="51" y="242"/>
                </a:lnTo>
                <a:lnTo>
                  <a:pt x="45" y="270"/>
                </a:lnTo>
                <a:lnTo>
                  <a:pt x="41" y="298"/>
                </a:lnTo>
                <a:lnTo>
                  <a:pt x="38" y="329"/>
                </a:lnTo>
                <a:lnTo>
                  <a:pt x="38" y="329"/>
                </a:lnTo>
                <a:lnTo>
                  <a:pt x="41" y="359"/>
                </a:lnTo>
                <a:lnTo>
                  <a:pt x="45" y="387"/>
                </a:lnTo>
                <a:lnTo>
                  <a:pt x="51" y="415"/>
                </a:lnTo>
                <a:lnTo>
                  <a:pt x="61" y="442"/>
                </a:lnTo>
                <a:lnTo>
                  <a:pt x="74" y="467"/>
                </a:lnTo>
                <a:lnTo>
                  <a:pt x="88" y="492"/>
                </a:lnTo>
                <a:lnTo>
                  <a:pt x="105" y="513"/>
                </a:lnTo>
                <a:lnTo>
                  <a:pt x="124" y="535"/>
                </a:lnTo>
                <a:lnTo>
                  <a:pt x="144" y="553"/>
                </a:lnTo>
                <a:lnTo>
                  <a:pt x="167" y="569"/>
                </a:lnTo>
                <a:lnTo>
                  <a:pt x="191" y="584"/>
                </a:lnTo>
                <a:lnTo>
                  <a:pt x="216" y="596"/>
                </a:lnTo>
                <a:lnTo>
                  <a:pt x="243" y="607"/>
                </a:lnTo>
                <a:lnTo>
                  <a:pt x="272" y="614"/>
                </a:lnTo>
                <a:lnTo>
                  <a:pt x="300" y="618"/>
                </a:lnTo>
                <a:lnTo>
                  <a:pt x="329" y="619"/>
                </a:lnTo>
                <a:lnTo>
                  <a:pt x="329" y="619"/>
                </a:lnTo>
                <a:lnTo>
                  <a:pt x="359" y="618"/>
                </a:lnTo>
                <a:lnTo>
                  <a:pt x="388" y="614"/>
                </a:lnTo>
                <a:lnTo>
                  <a:pt x="417" y="607"/>
                </a:lnTo>
                <a:lnTo>
                  <a:pt x="442" y="596"/>
                </a:lnTo>
                <a:lnTo>
                  <a:pt x="468" y="584"/>
                </a:lnTo>
                <a:lnTo>
                  <a:pt x="492" y="569"/>
                </a:lnTo>
                <a:lnTo>
                  <a:pt x="515" y="553"/>
                </a:lnTo>
                <a:lnTo>
                  <a:pt x="535" y="535"/>
                </a:lnTo>
                <a:lnTo>
                  <a:pt x="553"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3" y="144"/>
                </a:lnTo>
                <a:lnTo>
                  <a:pt x="535" y="122"/>
                </a:lnTo>
                <a:lnTo>
                  <a:pt x="515" y="104"/>
                </a:lnTo>
                <a:lnTo>
                  <a:pt x="492" y="87"/>
                </a:lnTo>
                <a:lnTo>
                  <a:pt x="468" y="73"/>
                </a:lnTo>
                <a:lnTo>
                  <a:pt x="442" y="61"/>
                </a:lnTo>
                <a:lnTo>
                  <a:pt x="417" y="51"/>
                </a:lnTo>
                <a:lnTo>
                  <a:pt x="388" y="43"/>
                </a:lnTo>
                <a:lnTo>
                  <a:pt x="359"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nvGrpSpPr>
          <p:cNvPr id="49" name="Group 48">
            <a:extLst>
              <a:ext uri="{FF2B5EF4-FFF2-40B4-BE49-F238E27FC236}">
                <a16:creationId xmlns:a16="http://schemas.microsoft.com/office/drawing/2014/main" id="{50709F99-BBB8-4A40-AA65-BF2A7B7B1370}"/>
              </a:ext>
            </a:extLst>
          </p:cNvPr>
          <p:cNvGrpSpPr>
            <a:grpSpLocks noChangeAspect="1"/>
          </p:cNvGrpSpPr>
          <p:nvPr/>
        </p:nvGrpSpPr>
        <p:grpSpPr>
          <a:xfrm>
            <a:off x="1842901" y="2267854"/>
            <a:ext cx="518498" cy="515357"/>
            <a:chOff x="4203701" y="954088"/>
            <a:chExt cx="261937" cy="260350"/>
          </a:xfrm>
        </p:grpSpPr>
        <p:sp>
          <p:nvSpPr>
            <p:cNvPr id="52" name="Freeform 90">
              <a:extLst>
                <a:ext uri="{FF2B5EF4-FFF2-40B4-BE49-F238E27FC236}">
                  <a16:creationId xmlns:a16="http://schemas.microsoft.com/office/drawing/2014/main" id="{FFCEDC2F-423F-F74A-98A5-D387F41E67DC}"/>
                </a:ext>
              </a:extLst>
            </p:cNvPr>
            <p:cNvSpPr>
              <a:spLocks/>
            </p:cNvSpPr>
            <p:nvPr/>
          </p:nvSpPr>
          <p:spPr bwMode="auto">
            <a:xfrm>
              <a:off x="4297363" y="954088"/>
              <a:ext cx="74613" cy="74613"/>
            </a:xfrm>
            <a:custGeom>
              <a:avLst/>
              <a:gdLst>
                <a:gd name="T0" fmla="*/ 51 w 94"/>
                <a:gd name="T1" fmla="*/ 1 h 95"/>
                <a:gd name="T2" fmla="*/ 51 w 94"/>
                <a:gd name="T3" fmla="*/ 1 h 95"/>
                <a:gd name="T4" fmla="*/ 49 w 94"/>
                <a:gd name="T5" fmla="*/ 0 h 95"/>
                <a:gd name="T6" fmla="*/ 47 w 94"/>
                <a:gd name="T7" fmla="*/ 0 h 95"/>
                <a:gd name="T8" fmla="*/ 46 w 94"/>
                <a:gd name="T9" fmla="*/ 0 h 95"/>
                <a:gd name="T10" fmla="*/ 43 w 94"/>
                <a:gd name="T11" fmla="*/ 1 h 95"/>
                <a:gd name="T12" fmla="*/ 2 w 94"/>
                <a:gd name="T13" fmla="*/ 44 h 95"/>
                <a:gd name="T14" fmla="*/ 2 w 94"/>
                <a:gd name="T15" fmla="*/ 44 h 95"/>
                <a:gd name="T16" fmla="*/ 0 w 94"/>
                <a:gd name="T17" fmla="*/ 47 h 95"/>
                <a:gd name="T18" fmla="*/ 0 w 94"/>
                <a:gd name="T19" fmla="*/ 50 h 95"/>
                <a:gd name="T20" fmla="*/ 0 w 94"/>
                <a:gd name="T21" fmla="*/ 50 h 95"/>
                <a:gd name="T22" fmla="*/ 2 w 94"/>
                <a:gd name="T23" fmla="*/ 52 h 95"/>
                <a:gd name="T24" fmla="*/ 4 w 94"/>
                <a:gd name="T25" fmla="*/ 52 h 95"/>
                <a:gd name="T26" fmla="*/ 37 w 94"/>
                <a:gd name="T27" fmla="*/ 52 h 95"/>
                <a:gd name="T28" fmla="*/ 37 w 94"/>
                <a:gd name="T29" fmla="*/ 95 h 95"/>
                <a:gd name="T30" fmla="*/ 58 w 94"/>
                <a:gd name="T31" fmla="*/ 95 h 95"/>
                <a:gd name="T32" fmla="*/ 58 w 94"/>
                <a:gd name="T33" fmla="*/ 52 h 95"/>
                <a:gd name="T34" fmla="*/ 90 w 94"/>
                <a:gd name="T35" fmla="*/ 52 h 95"/>
                <a:gd name="T36" fmla="*/ 90 w 94"/>
                <a:gd name="T37" fmla="*/ 52 h 95"/>
                <a:gd name="T38" fmla="*/ 93 w 94"/>
                <a:gd name="T39" fmla="*/ 52 h 95"/>
                <a:gd name="T40" fmla="*/ 94 w 94"/>
                <a:gd name="T41" fmla="*/ 50 h 95"/>
                <a:gd name="T42" fmla="*/ 94 w 94"/>
                <a:gd name="T43" fmla="*/ 50 h 95"/>
                <a:gd name="T44" fmla="*/ 94 w 94"/>
                <a:gd name="T45" fmla="*/ 47 h 95"/>
                <a:gd name="T46" fmla="*/ 93 w 94"/>
                <a:gd name="T47" fmla="*/ 44 h 95"/>
                <a:gd name="T48" fmla="*/ 51 w 94"/>
                <a:gd name="T49"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5">
                  <a:moveTo>
                    <a:pt x="51" y="1"/>
                  </a:moveTo>
                  <a:lnTo>
                    <a:pt x="51" y="1"/>
                  </a:lnTo>
                  <a:lnTo>
                    <a:pt x="49" y="0"/>
                  </a:lnTo>
                  <a:lnTo>
                    <a:pt x="47" y="0"/>
                  </a:lnTo>
                  <a:lnTo>
                    <a:pt x="46" y="0"/>
                  </a:lnTo>
                  <a:lnTo>
                    <a:pt x="43" y="1"/>
                  </a:lnTo>
                  <a:lnTo>
                    <a:pt x="2" y="44"/>
                  </a:lnTo>
                  <a:lnTo>
                    <a:pt x="2" y="44"/>
                  </a:lnTo>
                  <a:lnTo>
                    <a:pt x="0" y="47"/>
                  </a:lnTo>
                  <a:lnTo>
                    <a:pt x="0" y="50"/>
                  </a:lnTo>
                  <a:lnTo>
                    <a:pt x="0" y="50"/>
                  </a:lnTo>
                  <a:lnTo>
                    <a:pt x="2" y="52"/>
                  </a:lnTo>
                  <a:lnTo>
                    <a:pt x="4" y="52"/>
                  </a:lnTo>
                  <a:lnTo>
                    <a:pt x="37" y="52"/>
                  </a:lnTo>
                  <a:lnTo>
                    <a:pt x="37" y="95"/>
                  </a:lnTo>
                  <a:lnTo>
                    <a:pt x="58" y="95"/>
                  </a:lnTo>
                  <a:lnTo>
                    <a:pt x="58" y="52"/>
                  </a:lnTo>
                  <a:lnTo>
                    <a:pt x="90" y="52"/>
                  </a:lnTo>
                  <a:lnTo>
                    <a:pt x="90" y="52"/>
                  </a:lnTo>
                  <a:lnTo>
                    <a:pt x="93" y="52"/>
                  </a:lnTo>
                  <a:lnTo>
                    <a:pt x="94" y="50"/>
                  </a:lnTo>
                  <a:lnTo>
                    <a:pt x="94" y="50"/>
                  </a:lnTo>
                  <a:lnTo>
                    <a:pt x="94" y="47"/>
                  </a:lnTo>
                  <a:lnTo>
                    <a:pt x="93" y="44"/>
                  </a:lnTo>
                  <a:lnTo>
                    <a:pt x="51"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3" name="Freeform 91">
              <a:extLst>
                <a:ext uri="{FF2B5EF4-FFF2-40B4-BE49-F238E27FC236}">
                  <a16:creationId xmlns:a16="http://schemas.microsoft.com/office/drawing/2014/main" id="{AA157903-8CA1-D249-A23A-4DB84BAEE07D}"/>
                </a:ext>
              </a:extLst>
            </p:cNvPr>
            <p:cNvSpPr>
              <a:spLocks/>
            </p:cNvSpPr>
            <p:nvPr/>
          </p:nvSpPr>
          <p:spPr bwMode="auto">
            <a:xfrm>
              <a:off x="4389438" y="1046163"/>
              <a:ext cx="76200" cy="76200"/>
            </a:xfrm>
            <a:custGeom>
              <a:avLst/>
              <a:gdLst>
                <a:gd name="T0" fmla="*/ 94 w 97"/>
                <a:gd name="T1" fmla="*/ 44 h 95"/>
                <a:gd name="T2" fmla="*/ 52 w 97"/>
                <a:gd name="T3" fmla="*/ 1 h 95"/>
                <a:gd name="T4" fmla="*/ 52 w 97"/>
                <a:gd name="T5" fmla="*/ 1 h 95"/>
                <a:gd name="T6" fmla="*/ 50 w 97"/>
                <a:gd name="T7" fmla="*/ 0 h 95"/>
                <a:gd name="T8" fmla="*/ 47 w 97"/>
                <a:gd name="T9" fmla="*/ 0 h 95"/>
                <a:gd name="T10" fmla="*/ 47 w 97"/>
                <a:gd name="T11" fmla="*/ 0 h 95"/>
                <a:gd name="T12" fmla="*/ 44 w 97"/>
                <a:gd name="T13" fmla="*/ 3 h 95"/>
                <a:gd name="T14" fmla="*/ 43 w 97"/>
                <a:gd name="T15" fmla="*/ 5 h 95"/>
                <a:gd name="T16" fmla="*/ 43 w 97"/>
                <a:gd name="T17" fmla="*/ 38 h 95"/>
                <a:gd name="T18" fmla="*/ 0 w 97"/>
                <a:gd name="T19" fmla="*/ 38 h 95"/>
                <a:gd name="T20" fmla="*/ 0 w 97"/>
                <a:gd name="T21" fmla="*/ 58 h 95"/>
                <a:gd name="T22" fmla="*/ 43 w 97"/>
                <a:gd name="T23" fmla="*/ 58 h 95"/>
                <a:gd name="T24" fmla="*/ 43 w 97"/>
                <a:gd name="T25" fmla="*/ 90 h 95"/>
                <a:gd name="T26" fmla="*/ 43 w 97"/>
                <a:gd name="T27" fmla="*/ 90 h 95"/>
                <a:gd name="T28" fmla="*/ 44 w 97"/>
                <a:gd name="T29" fmla="*/ 93 h 95"/>
                <a:gd name="T30" fmla="*/ 47 w 97"/>
                <a:gd name="T31" fmla="*/ 95 h 95"/>
                <a:gd name="T32" fmla="*/ 47 w 97"/>
                <a:gd name="T33" fmla="*/ 95 h 95"/>
                <a:gd name="T34" fmla="*/ 48 w 97"/>
                <a:gd name="T35" fmla="*/ 95 h 95"/>
                <a:gd name="T36" fmla="*/ 48 w 97"/>
                <a:gd name="T37" fmla="*/ 95 h 95"/>
                <a:gd name="T38" fmla="*/ 51 w 97"/>
                <a:gd name="T39" fmla="*/ 95 h 95"/>
                <a:gd name="T40" fmla="*/ 52 w 97"/>
                <a:gd name="T41" fmla="*/ 94 h 95"/>
                <a:gd name="T42" fmla="*/ 94 w 97"/>
                <a:gd name="T43" fmla="*/ 51 h 95"/>
                <a:gd name="T44" fmla="*/ 94 w 97"/>
                <a:gd name="T45" fmla="*/ 51 h 95"/>
                <a:gd name="T46" fmla="*/ 95 w 97"/>
                <a:gd name="T47" fmla="*/ 50 h 95"/>
                <a:gd name="T48" fmla="*/ 97 w 97"/>
                <a:gd name="T49" fmla="*/ 48 h 95"/>
                <a:gd name="T50" fmla="*/ 95 w 97"/>
                <a:gd name="T51" fmla="*/ 46 h 95"/>
                <a:gd name="T52" fmla="*/ 94 w 97"/>
                <a:gd name="T53" fmla="*/ 44 h 95"/>
                <a:gd name="T54" fmla="*/ 94 w 97"/>
                <a:gd name="T55" fmla="*/ 4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95">
                  <a:moveTo>
                    <a:pt x="94" y="44"/>
                  </a:moveTo>
                  <a:lnTo>
                    <a:pt x="52" y="1"/>
                  </a:lnTo>
                  <a:lnTo>
                    <a:pt x="52" y="1"/>
                  </a:lnTo>
                  <a:lnTo>
                    <a:pt x="50" y="0"/>
                  </a:lnTo>
                  <a:lnTo>
                    <a:pt x="47" y="0"/>
                  </a:lnTo>
                  <a:lnTo>
                    <a:pt x="47" y="0"/>
                  </a:lnTo>
                  <a:lnTo>
                    <a:pt x="44" y="3"/>
                  </a:lnTo>
                  <a:lnTo>
                    <a:pt x="43" y="5"/>
                  </a:lnTo>
                  <a:lnTo>
                    <a:pt x="43" y="38"/>
                  </a:lnTo>
                  <a:lnTo>
                    <a:pt x="0" y="38"/>
                  </a:lnTo>
                  <a:lnTo>
                    <a:pt x="0" y="58"/>
                  </a:lnTo>
                  <a:lnTo>
                    <a:pt x="43" y="58"/>
                  </a:lnTo>
                  <a:lnTo>
                    <a:pt x="43" y="90"/>
                  </a:lnTo>
                  <a:lnTo>
                    <a:pt x="43" y="90"/>
                  </a:lnTo>
                  <a:lnTo>
                    <a:pt x="44" y="93"/>
                  </a:lnTo>
                  <a:lnTo>
                    <a:pt x="47" y="95"/>
                  </a:lnTo>
                  <a:lnTo>
                    <a:pt x="47" y="95"/>
                  </a:lnTo>
                  <a:lnTo>
                    <a:pt x="48" y="95"/>
                  </a:lnTo>
                  <a:lnTo>
                    <a:pt x="48" y="95"/>
                  </a:lnTo>
                  <a:lnTo>
                    <a:pt x="51" y="95"/>
                  </a:lnTo>
                  <a:lnTo>
                    <a:pt x="52" y="94"/>
                  </a:lnTo>
                  <a:lnTo>
                    <a:pt x="94" y="51"/>
                  </a:lnTo>
                  <a:lnTo>
                    <a:pt x="94" y="51"/>
                  </a:lnTo>
                  <a:lnTo>
                    <a:pt x="95" y="50"/>
                  </a:lnTo>
                  <a:lnTo>
                    <a:pt x="97" y="48"/>
                  </a:lnTo>
                  <a:lnTo>
                    <a:pt x="95" y="46"/>
                  </a:lnTo>
                  <a:lnTo>
                    <a:pt x="94" y="44"/>
                  </a:lnTo>
                  <a:lnTo>
                    <a:pt x="94"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4" name="Freeform 92">
              <a:extLst>
                <a:ext uri="{FF2B5EF4-FFF2-40B4-BE49-F238E27FC236}">
                  <a16:creationId xmlns:a16="http://schemas.microsoft.com/office/drawing/2014/main" id="{D34C8A6B-1A0B-CA45-B9E5-145352DFD4E2}"/>
                </a:ext>
              </a:extLst>
            </p:cNvPr>
            <p:cNvSpPr>
              <a:spLocks/>
            </p:cNvSpPr>
            <p:nvPr/>
          </p:nvSpPr>
          <p:spPr bwMode="auto">
            <a:xfrm>
              <a:off x="4297363" y="1138238"/>
              <a:ext cx="74613" cy="76200"/>
            </a:xfrm>
            <a:custGeom>
              <a:avLst/>
              <a:gdLst>
                <a:gd name="T0" fmla="*/ 90 w 94"/>
                <a:gd name="T1" fmla="*/ 43 h 95"/>
                <a:gd name="T2" fmla="*/ 58 w 94"/>
                <a:gd name="T3" fmla="*/ 43 h 95"/>
                <a:gd name="T4" fmla="*/ 58 w 94"/>
                <a:gd name="T5" fmla="*/ 0 h 95"/>
                <a:gd name="T6" fmla="*/ 37 w 94"/>
                <a:gd name="T7" fmla="*/ 0 h 95"/>
                <a:gd name="T8" fmla="*/ 37 w 94"/>
                <a:gd name="T9" fmla="*/ 43 h 95"/>
                <a:gd name="T10" fmla="*/ 4 w 94"/>
                <a:gd name="T11" fmla="*/ 43 h 95"/>
                <a:gd name="T12" fmla="*/ 4 w 94"/>
                <a:gd name="T13" fmla="*/ 43 h 95"/>
                <a:gd name="T14" fmla="*/ 2 w 94"/>
                <a:gd name="T15" fmla="*/ 43 h 95"/>
                <a:gd name="T16" fmla="*/ 0 w 94"/>
                <a:gd name="T17" fmla="*/ 45 h 95"/>
                <a:gd name="T18" fmla="*/ 0 w 94"/>
                <a:gd name="T19" fmla="*/ 45 h 95"/>
                <a:gd name="T20" fmla="*/ 0 w 94"/>
                <a:gd name="T21" fmla="*/ 48 h 95"/>
                <a:gd name="T22" fmla="*/ 2 w 94"/>
                <a:gd name="T23" fmla="*/ 51 h 95"/>
                <a:gd name="T24" fmla="*/ 43 w 94"/>
                <a:gd name="T25" fmla="*/ 94 h 95"/>
                <a:gd name="T26" fmla="*/ 43 w 94"/>
                <a:gd name="T27" fmla="*/ 94 h 95"/>
                <a:gd name="T28" fmla="*/ 46 w 94"/>
                <a:gd name="T29" fmla="*/ 95 h 95"/>
                <a:gd name="T30" fmla="*/ 47 w 94"/>
                <a:gd name="T31" fmla="*/ 95 h 95"/>
                <a:gd name="T32" fmla="*/ 47 w 94"/>
                <a:gd name="T33" fmla="*/ 95 h 95"/>
                <a:gd name="T34" fmla="*/ 49 w 94"/>
                <a:gd name="T35" fmla="*/ 95 h 95"/>
                <a:gd name="T36" fmla="*/ 51 w 94"/>
                <a:gd name="T37" fmla="*/ 94 h 95"/>
                <a:gd name="T38" fmla="*/ 93 w 94"/>
                <a:gd name="T39" fmla="*/ 51 h 95"/>
                <a:gd name="T40" fmla="*/ 93 w 94"/>
                <a:gd name="T41" fmla="*/ 51 h 95"/>
                <a:gd name="T42" fmla="*/ 94 w 94"/>
                <a:gd name="T43" fmla="*/ 48 h 95"/>
                <a:gd name="T44" fmla="*/ 94 w 94"/>
                <a:gd name="T45" fmla="*/ 45 h 95"/>
                <a:gd name="T46" fmla="*/ 94 w 94"/>
                <a:gd name="T47" fmla="*/ 45 h 95"/>
                <a:gd name="T48" fmla="*/ 93 w 94"/>
                <a:gd name="T49" fmla="*/ 43 h 95"/>
                <a:gd name="T50" fmla="*/ 90 w 94"/>
                <a:gd name="T51" fmla="*/ 43 h 95"/>
                <a:gd name="T52" fmla="*/ 90 w 94"/>
                <a:gd name="T53" fmla="*/ 4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95">
                  <a:moveTo>
                    <a:pt x="90" y="43"/>
                  </a:moveTo>
                  <a:lnTo>
                    <a:pt x="58" y="43"/>
                  </a:lnTo>
                  <a:lnTo>
                    <a:pt x="58" y="0"/>
                  </a:lnTo>
                  <a:lnTo>
                    <a:pt x="37" y="0"/>
                  </a:lnTo>
                  <a:lnTo>
                    <a:pt x="37" y="43"/>
                  </a:lnTo>
                  <a:lnTo>
                    <a:pt x="4" y="43"/>
                  </a:lnTo>
                  <a:lnTo>
                    <a:pt x="4" y="43"/>
                  </a:lnTo>
                  <a:lnTo>
                    <a:pt x="2" y="43"/>
                  </a:lnTo>
                  <a:lnTo>
                    <a:pt x="0" y="45"/>
                  </a:lnTo>
                  <a:lnTo>
                    <a:pt x="0" y="45"/>
                  </a:lnTo>
                  <a:lnTo>
                    <a:pt x="0" y="48"/>
                  </a:lnTo>
                  <a:lnTo>
                    <a:pt x="2" y="51"/>
                  </a:lnTo>
                  <a:lnTo>
                    <a:pt x="43" y="94"/>
                  </a:lnTo>
                  <a:lnTo>
                    <a:pt x="43" y="94"/>
                  </a:lnTo>
                  <a:lnTo>
                    <a:pt x="46" y="95"/>
                  </a:lnTo>
                  <a:lnTo>
                    <a:pt x="47" y="95"/>
                  </a:lnTo>
                  <a:lnTo>
                    <a:pt x="47" y="95"/>
                  </a:lnTo>
                  <a:lnTo>
                    <a:pt x="49" y="95"/>
                  </a:lnTo>
                  <a:lnTo>
                    <a:pt x="51" y="94"/>
                  </a:lnTo>
                  <a:lnTo>
                    <a:pt x="93" y="51"/>
                  </a:lnTo>
                  <a:lnTo>
                    <a:pt x="93" y="51"/>
                  </a:lnTo>
                  <a:lnTo>
                    <a:pt x="94" y="48"/>
                  </a:lnTo>
                  <a:lnTo>
                    <a:pt x="94" y="45"/>
                  </a:lnTo>
                  <a:lnTo>
                    <a:pt x="94" y="45"/>
                  </a:lnTo>
                  <a:lnTo>
                    <a:pt x="93" y="43"/>
                  </a:lnTo>
                  <a:lnTo>
                    <a:pt x="90" y="43"/>
                  </a:lnTo>
                  <a:lnTo>
                    <a:pt x="90"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5" name="Freeform 93">
              <a:extLst>
                <a:ext uri="{FF2B5EF4-FFF2-40B4-BE49-F238E27FC236}">
                  <a16:creationId xmlns:a16="http://schemas.microsoft.com/office/drawing/2014/main" id="{152D7739-FAD6-BE48-9863-0CDAA3C600F3}"/>
                </a:ext>
              </a:extLst>
            </p:cNvPr>
            <p:cNvSpPr>
              <a:spLocks/>
            </p:cNvSpPr>
            <p:nvPr/>
          </p:nvSpPr>
          <p:spPr bwMode="auto">
            <a:xfrm>
              <a:off x="4203701" y="1046163"/>
              <a:ext cx="76200" cy="76200"/>
            </a:xfrm>
            <a:custGeom>
              <a:avLst/>
              <a:gdLst>
                <a:gd name="T0" fmla="*/ 54 w 97"/>
                <a:gd name="T1" fmla="*/ 5 h 95"/>
                <a:gd name="T2" fmla="*/ 54 w 97"/>
                <a:gd name="T3" fmla="*/ 5 h 95"/>
                <a:gd name="T4" fmla="*/ 53 w 97"/>
                <a:gd name="T5" fmla="*/ 3 h 95"/>
                <a:gd name="T6" fmla="*/ 51 w 97"/>
                <a:gd name="T7" fmla="*/ 0 h 95"/>
                <a:gd name="T8" fmla="*/ 51 w 97"/>
                <a:gd name="T9" fmla="*/ 0 h 95"/>
                <a:gd name="T10" fmla="*/ 47 w 97"/>
                <a:gd name="T11" fmla="*/ 0 h 95"/>
                <a:gd name="T12" fmla="*/ 45 w 97"/>
                <a:gd name="T13" fmla="*/ 1 h 95"/>
                <a:gd name="T14" fmla="*/ 3 w 97"/>
                <a:gd name="T15" fmla="*/ 44 h 95"/>
                <a:gd name="T16" fmla="*/ 3 w 97"/>
                <a:gd name="T17" fmla="*/ 44 h 95"/>
                <a:gd name="T18" fmla="*/ 2 w 97"/>
                <a:gd name="T19" fmla="*/ 46 h 95"/>
                <a:gd name="T20" fmla="*/ 0 w 97"/>
                <a:gd name="T21" fmla="*/ 48 h 95"/>
                <a:gd name="T22" fmla="*/ 2 w 97"/>
                <a:gd name="T23" fmla="*/ 50 h 95"/>
                <a:gd name="T24" fmla="*/ 3 w 97"/>
                <a:gd name="T25" fmla="*/ 51 h 95"/>
                <a:gd name="T26" fmla="*/ 45 w 97"/>
                <a:gd name="T27" fmla="*/ 94 h 95"/>
                <a:gd name="T28" fmla="*/ 45 w 97"/>
                <a:gd name="T29" fmla="*/ 94 h 95"/>
                <a:gd name="T30" fmla="*/ 46 w 97"/>
                <a:gd name="T31" fmla="*/ 95 h 95"/>
                <a:gd name="T32" fmla="*/ 49 w 97"/>
                <a:gd name="T33" fmla="*/ 95 h 95"/>
                <a:gd name="T34" fmla="*/ 49 w 97"/>
                <a:gd name="T35" fmla="*/ 95 h 95"/>
                <a:gd name="T36" fmla="*/ 51 w 97"/>
                <a:gd name="T37" fmla="*/ 95 h 95"/>
                <a:gd name="T38" fmla="*/ 51 w 97"/>
                <a:gd name="T39" fmla="*/ 95 h 95"/>
                <a:gd name="T40" fmla="*/ 53 w 97"/>
                <a:gd name="T41" fmla="*/ 93 h 95"/>
                <a:gd name="T42" fmla="*/ 54 w 97"/>
                <a:gd name="T43" fmla="*/ 90 h 95"/>
                <a:gd name="T44" fmla="*/ 54 w 97"/>
                <a:gd name="T45" fmla="*/ 58 h 95"/>
                <a:gd name="T46" fmla="*/ 97 w 97"/>
                <a:gd name="T47" fmla="*/ 58 h 95"/>
                <a:gd name="T48" fmla="*/ 97 w 97"/>
                <a:gd name="T49" fmla="*/ 38 h 95"/>
                <a:gd name="T50" fmla="*/ 54 w 97"/>
                <a:gd name="T51" fmla="*/ 38 h 95"/>
                <a:gd name="T52" fmla="*/ 54 w 97"/>
                <a:gd name="T53"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7" h="95">
                  <a:moveTo>
                    <a:pt x="54" y="5"/>
                  </a:moveTo>
                  <a:lnTo>
                    <a:pt x="54" y="5"/>
                  </a:lnTo>
                  <a:lnTo>
                    <a:pt x="53" y="3"/>
                  </a:lnTo>
                  <a:lnTo>
                    <a:pt x="51" y="0"/>
                  </a:lnTo>
                  <a:lnTo>
                    <a:pt x="51" y="0"/>
                  </a:lnTo>
                  <a:lnTo>
                    <a:pt x="47" y="0"/>
                  </a:lnTo>
                  <a:lnTo>
                    <a:pt x="45" y="1"/>
                  </a:lnTo>
                  <a:lnTo>
                    <a:pt x="3" y="44"/>
                  </a:lnTo>
                  <a:lnTo>
                    <a:pt x="3" y="44"/>
                  </a:lnTo>
                  <a:lnTo>
                    <a:pt x="2" y="46"/>
                  </a:lnTo>
                  <a:lnTo>
                    <a:pt x="0" y="48"/>
                  </a:lnTo>
                  <a:lnTo>
                    <a:pt x="2" y="50"/>
                  </a:lnTo>
                  <a:lnTo>
                    <a:pt x="3" y="51"/>
                  </a:lnTo>
                  <a:lnTo>
                    <a:pt x="45" y="94"/>
                  </a:lnTo>
                  <a:lnTo>
                    <a:pt x="45" y="94"/>
                  </a:lnTo>
                  <a:lnTo>
                    <a:pt x="46" y="95"/>
                  </a:lnTo>
                  <a:lnTo>
                    <a:pt x="49" y="95"/>
                  </a:lnTo>
                  <a:lnTo>
                    <a:pt x="49" y="95"/>
                  </a:lnTo>
                  <a:lnTo>
                    <a:pt x="51" y="95"/>
                  </a:lnTo>
                  <a:lnTo>
                    <a:pt x="51" y="95"/>
                  </a:lnTo>
                  <a:lnTo>
                    <a:pt x="53" y="93"/>
                  </a:lnTo>
                  <a:lnTo>
                    <a:pt x="54" y="90"/>
                  </a:lnTo>
                  <a:lnTo>
                    <a:pt x="54" y="58"/>
                  </a:lnTo>
                  <a:lnTo>
                    <a:pt x="97" y="58"/>
                  </a:lnTo>
                  <a:lnTo>
                    <a:pt x="97" y="38"/>
                  </a:lnTo>
                  <a:lnTo>
                    <a:pt x="54" y="38"/>
                  </a:lnTo>
                  <a:lnTo>
                    <a:pt x="54"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6" name="Freeform 94">
              <a:extLst>
                <a:ext uri="{FF2B5EF4-FFF2-40B4-BE49-F238E27FC236}">
                  <a16:creationId xmlns:a16="http://schemas.microsoft.com/office/drawing/2014/main" id="{850E75E3-8003-F34C-9881-8863ABB10CAD}"/>
                </a:ext>
              </a:extLst>
            </p:cNvPr>
            <p:cNvSpPr>
              <a:spLocks/>
            </p:cNvSpPr>
            <p:nvPr/>
          </p:nvSpPr>
          <p:spPr bwMode="auto">
            <a:xfrm>
              <a:off x="4300538" y="1050925"/>
              <a:ext cx="68263" cy="66675"/>
            </a:xfrm>
            <a:custGeom>
              <a:avLst/>
              <a:gdLst>
                <a:gd name="T0" fmla="*/ 86 w 86"/>
                <a:gd name="T1" fmla="*/ 43 h 85"/>
                <a:gd name="T2" fmla="*/ 86 w 86"/>
                <a:gd name="T3" fmla="*/ 43 h 85"/>
                <a:gd name="T4" fmla="*/ 85 w 86"/>
                <a:gd name="T5" fmla="*/ 34 h 85"/>
                <a:gd name="T6" fmla="*/ 82 w 86"/>
                <a:gd name="T7" fmla="*/ 26 h 85"/>
                <a:gd name="T8" fmla="*/ 78 w 86"/>
                <a:gd name="T9" fmla="*/ 19 h 85"/>
                <a:gd name="T10" fmla="*/ 73 w 86"/>
                <a:gd name="T11" fmla="*/ 12 h 85"/>
                <a:gd name="T12" fmla="*/ 68 w 86"/>
                <a:gd name="T13" fmla="*/ 7 h 85"/>
                <a:gd name="T14" fmla="*/ 60 w 86"/>
                <a:gd name="T15" fmla="*/ 3 h 85"/>
                <a:gd name="T16" fmla="*/ 51 w 86"/>
                <a:gd name="T17" fmla="*/ 2 h 85"/>
                <a:gd name="T18" fmla="*/ 43 w 86"/>
                <a:gd name="T19" fmla="*/ 0 h 85"/>
                <a:gd name="T20" fmla="*/ 43 w 86"/>
                <a:gd name="T21" fmla="*/ 0 h 85"/>
                <a:gd name="T22" fmla="*/ 35 w 86"/>
                <a:gd name="T23" fmla="*/ 2 h 85"/>
                <a:gd name="T24" fmla="*/ 27 w 86"/>
                <a:gd name="T25" fmla="*/ 3 h 85"/>
                <a:gd name="T26" fmla="*/ 19 w 86"/>
                <a:gd name="T27" fmla="*/ 7 h 85"/>
                <a:gd name="T28" fmla="*/ 14 w 86"/>
                <a:gd name="T29" fmla="*/ 12 h 85"/>
                <a:gd name="T30" fmla="*/ 9 w 86"/>
                <a:gd name="T31" fmla="*/ 19 h 85"/>
                <a:gd name="T32" fmla="*/ 4 w 86"/>
                <a:gd name="T33" fmla="*/ 26 h 85"/>
                <a:gd name="T34" fmla="*/ 2 w 86"/>
                <a:gd name="T35" fmla="*/ 34 h 85"/>
                <a:gd name="T36" fmla="*/ 0 w 86"/>
                <a:gd name="T37" fmla="*/ 43 h 85"/>
                <a:gd name="T38" fmla="*/ 0 w 86"/>
                <a:gd name="T39" fmla="*/ 43 h 85"/>
                <a:gd name="T40" fmla="*/ 2 w 86"/>
                <a:gd name="T41" fmla="*/ 51 h 85"/>
                <a:gd name="T42" fmla="*/ 4 w 86"/>
                <a:gd name="T43" fmla="*/ 59 h 85"/>
                <a:gd name="T44" fmla="*/ 9 w 86"/>
                <a:gd name="T45" fmla="*/ 66 h 85"/>
                <a:gd name="T46" fmla="*/ 14 w 86"/>
                <a:gd name="T47" fmla="*/ 73 h 85"/>
                <a:gd name="T48" fmla="*/ 19 w 86"/>
                <a:gd name="T49" fmla="*/ 78 h 85"/>
                <a:gd name="T50" fmla="*/ 27 w 86"/>
                <a:gd name="T51" fmla="*/ 82 h 85"/>
                <a:gd name="T52" fmla="*/ 35 w 86"/>
                <a:gd name="T53" fmla="*/ 84 h 85"/>
                <a:gd name="T54" fmla="*/ 43 w 86"/>
                <a:gd name="T55" fmla="*/ 85 h 85"/>
                <a:gd name="T56" fmla="*/ 43 w 86"/>
                <a:gd name="T57" fmla="*/ 85 h 85"/>
                <a:gd name="T58" fmla="*/ 51 w 86"/>
                <a:gd name="T59" fmla="*/ 84 h 85"/>
                <a:gd name="T60" fmla="*/ 60 w 86"/>
                <a:gd name="T61" fmla="*/ 82 h 85"/>
                <a:gd name="T62" fmla="*/ 68 w 86"/>
                <a:gd name="T63" fmla="*/ 78 h 85"/>
                <a:gd name="T64" fmla="*/ 73 w 86"/>
                <a:gd name="T65" fmla="*/ 73 h 85"/>
                <a:gd name="T66" fmla="*/ 78 w 86"/>
                <a:gd name="T67" fmla="*/ 66 h 85"/>
                <a:gd name="T68" fmla="*/ 82 w 86"/>
                <a:gd name="T69" fmla="*/ 59 h 85"/>
                <a:gd name="T70" fmla="*/ 85 w 86"/>
                <a:gd name="T71" fmla="*/ 51 h 85"/>
                <a:gd name="T72" fmla="*/ 86 w 86"/>
                <a:gd name="T73" fmla="*/ 43 h 85"/>
                <a:gd name="T74" fmla="*/ 86 w 86"/>
                <a:gd name="T75"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5">
                  <a:moveTo>
                    <a:pt x="86" y="43"/>
                  </a:moveTo>
                  <a:lnTo>
                    <a:pt x="86" y="43"/>
                  </a:lnTo>
                  <a:lnTo>
                    <a:pt x="85" y="34"/>
                  </a:lnTo>
                  <a:lnTo>
                    <a:pt x="82" y="26"/>
                  </a:lnTo>
                  <a:lnTo>
                    <a:pt x="78" y="19"/>
                  </a:lnTo>
                  <a:lnTo>
                    <a:pt x="73" y="12"/>
                  </a:lnTo>
                  <a:lnTo>
                    <a:pt x="68" y="7"/>
                  </a:lnTo>
                  <a:lnTo>
                    <a:pt x="60" y="3"/>
                  </a:lnTo>
                  <a:lnTo>
                    <a:pt x="51" y="2"/>
                  </a:lnTo>
                  <a:lnTo>
                    <a:pt x="43" y="0"/>
                  </a:lnTo>
                  <a:lnTo>
                    <a:pt x="43" y="0"/>
                  </a:lnTo>
                  <a:lnTo>
                    <a:pt x="35" y="2"/>
                  </a:lnTo>
                  <a:lnTo>
                    <a:pt x="27" y="3"/>
                  </a:lnTo>
                  <a:lnTo>
                    <a:pt x="19" y="7"/>
                  </a:lnTo>
                  <a:lnTo>
                    <a:pt x="14" y="12"/>
                  </a:lnTo>
                  <a:lnTo>
                    <a:pt x="9" y="19"/>
                  </a:lnTo>
                  <a:lnTo>
                    <a:pt x="4" y="26"/>
                  </a:lnTo>
                  <a:lnTo>
                    <a:pt x="2" y="34"/>
                  </a:lnTo>
                  <a:lnTo>
                    <a:pt x="0" y="43"/>
                  </a:lnTo>
                  <a:lnTo>
                    <a:pt x="0" y="43"/>
                  </a:lnTo>
                  <a:lnTo>
                    <a:pt x="2" y="51"/>
                  </a:lnTo>
                  <a:lnTo>
                    <a:pt x="4" y="59"/>
                  </a:lnTo>
                  <a:lnTo>
                    <a:pt x="9" y="66"/>
                  </a:lnTo>
                  <a:lnTo>
                    <a:pt x="14" y="73"/>
                  </a:lnTo>
                  <a:lnTo>
                    <a:pt x="19" y="78"/>
                  </a:lnTo>
                  <a:lnTo>
                    <a:pt x="27" y="82"/>
                  </a:lnTo>
                  <a:lnTo>
                    <a:pt x="35" y="84"/>
                  </a:lnTo>
                  <a:lnTo>
                    <a:pt x="43" y="85"/>
                  </a:lnTo>
                  <a:lnTo>
                    <a:pt x="43" y="85"/>
                  </a:lnTo>
                  <a:lnTo>
                    <a:pt x="51" y="84"/>
                  </a:lnTo>
                  <a:lnTo>
                    <a:pt x="60" y="82"/>
                  </a:lnTo>
                  <a:lnTo>
                    <a:pt x="68" y="78"/>
                  </a:lnTo>
                  <a:lnTo>
                    <a:pt x="73" y="73"/>
                  </a:lnTo>
                  <a:lnTo>
                    <a:pt x="78" y="66"/>
                  </a:lnTo>
                  <a:lnTo>
                    <a:pt x="82" y="59"/>
                  </a:lnTo>
                  <a:lnTo>
                    <a:pt x="85" y="51"/>
                  </a:lnTo>
                  <a:lnTo>
                    <a:pt x="86" y="43"/>
                  </a:lnTo>
                  <a:lnTo>
                    <a:pt x="86"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sp>
        <p:nvSpPr>
          <p:cNvPr id="25" name="Text Placeholder 1">
            <a:extLst>
              <a:ext uri="{FF2B5EF4-FFF2-40B4-BE49-F238E27FC236}">
                <a16:creationId xmlns:a16="http://schemas.microsoft.com/office/drawing/2014/main" id="{3D01D974-E2FD-034A-8DC0-38EA0954B0DF}"/>
              </a:ext>
            </a:extLst>
          </p:cNvPr>
          <p:cNvSpPr txBox="1">
            <a:spLocks/>
          </p:cNvSpPr>
          <p:nvPr userDrawn="1"/>
        </p:nvSpPr>
        <p:spPr>
          <a:xfrm>
            <a:off x="1428204" y="4461538"/>
            <a:ext cx="1868998" cy="5417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2000" b="0" i="0" kern="1200" spc="-3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i="1"/>
              <a:t>Case study</a:t>
            </a:r>
          </a:p>
        </p:txBody>
      </p:sp>
      <p:sp>
        <p:nvSpPr>
          <p:cNvPr id="26" name="Title 62">
            <a:extLst>
              <a:ext uri="{FF2B5EF4-FFF2-40B4-BE49-F238E27FC236}">
                <a16:creationId xmlns:a16="http://schemas.microsoft.com/office/drawing/2014/main" id="{1F27912C-4F1C-6842-9DB7-9F1447070F9A}"/>
              </a:ext>
            </a:extLst>
          </p:cNvPr>
          <p:cNvSpPr txBox="1">
            <a:spLocks/>
          </p:cNvSpPr>
          <p:nvPr userDrawn="1"/>
        </p:nvSpPr>
        <p:spPr>
          <a:xfrm>
            <a:off x="1428204" y="3580475"/>
            <a:ext cx="2838996" cy="881063"/>
          </a:xfrm>
          <a:prstGeom prst="rect">
            <a:avLst/>
          </a:prstGeom>
        </p:spPr>
        <p:txBody>
          <a:bodyPr vert="horz" lIns="0" tIns="45720" rIns="91440" bIns="0" rtlCol="0" anchor="t" anchorCtr="0">
            <a:noAutofit/>
          </a:bodyPr>
          <a:lstStyle>
            <a:lvl1pPr algn="l" defTabSz="914400" rtl="0" eaLnBrk="1" latinLnBrk="0" hangingPunct="1">
              <a:lnSpc>
                <a:spcPct val="80000"/>
              </a:lnSpc>
              <a:spcBef>
                <a:spcPct val="0"/>
              </a:spcBef>
              <a:buNone/>
              <a:defRPr sz="2800" b="0" i="0" kern="1200" cap="none" spc="-100" baseline="0">
                <a:solidFill>
                  <a:schemeClr val="tx1"/>
                </a:solidFill>
                <a:latin typeface="+mj-lt"/>
                <a:ea typeface="Bebas Neue" charset="0"/>
                <a:cs typeface="Chronicle Display Black"/>
              </a:defRPr>
            </a:lvl1pPr>
          </a:lstStyle>
          <a:p>
            <a:r>
              <a:rPr lang="en-GB" sz="3200"/>
              <a:t>Beyond digital: ecosystems</a:t>
            </a:r>
          </a:p>
        </p:txBody>
      </p:sp>
      <p:sp>
        <p:nvSpPr>
          <p:cNvPr id="29" name="Text Placeholder 3">
            <a:extLst>
              <a:ext uri="{FF2B5EF4-FFF2-40B4-BE49-F238E27FC236}">
                <a16:creationId xmlns:a16="http://schemas.microsoft.com/office/drawing/2014/main" id="{8235F136-0192-C94E-A07A-CEF625813677}"/>
              </a:ext>
            </a:extLst>
          </p:cNvPr>
          <p:cNvSpPr>
            <a:spLocks noGrp="1"/>
          </p:cNvSpPr>
          <p:nvPr>
            <p:ph type="body" sz="quarter" idx="15"/>
          </p:nvPr>
        </p:nvSpPr>
        <p:spPr>
          <a:xfrm>
            <a:off x="7399128" y="3611863"/>
            <a:ext cx="3189800" cy="541762"/>
          </a:xfrm>
        </p:spPr>
        <p:txBody>
          <a:bodyPr anchor="t" anchorCtr="0"/>
          <a:lstStyle>
            <a:lvl1pPr marL="0" indent="0" eaLnBrk="1">
              <a:buFont typeface="Arial" panose="020B0604020202020204" pitchFamily="34" charset="0"/>
              <a:buNone/>
              <a:defRPr sz="1600" b="0" i="0">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GB"/>
          </a:p>
        </p:txBody>
      </p:sp>
      <p:sp>
        <p:nvSpPr>
          <p:cNvPr id="30" name="Text Placeholder 3">
            <a:extLst>
              <a:ext uri="{FF2B5EF4-FFF2-40B4-BE49-F238E27FC236}">
                <a16:creationId xmlns:a16="http://schemas.microsoft.com/office/drawing/2014/main" id="{FA15AA44-8E3E-D84A-8611-7933A1FEB69B}"/>
              </a:ext>
            </a:extLst>
          </p:cNvPr>
          <p:cNvSpPr>
            <a:spLocks noGrp="1"/>
          </p:cNvSpPr>
          <p:nvPr>
            <p:ph type="body" sz="quarter" idx="16"/>
          </p:nvPr>
        </p:nvSpPr>
        <p:spPr>
          <a:xfrm>
            <a:off x="4739439" y="3611863"/>
            <a:ext cx="2321761" cy="541762"/>
          </a:xfrm>
        </p:spPr>
        <p:txBody>
          <a:bodyPr anchor="t" anchorCtr="0"/>
          <a:lstStyle>
            <a:lvl1pPr marL="0" indent="0" eaLnBrk="1">
              <a:buFont typeface="Arial" panose="020B0604020202020204" pitchFamily="34" charse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GB"/>
          </a:p>
        </p:txBody>
      </p:sp>
    </p:spTree>
    <p:extLst>
      <p:ext uri="{BB962C8B-B14F-4D97-AF65-F5344CB8AC3E}">
        <p14:creationId xmlns:p14="http://schemas.microsoft.com/office/powerpoint/2010/main" val="1749895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3000" fill="hold"/>
                                        <p:tgtEl>
                                          <p:spTgt spid="3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gital Vision - Qual Turquois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74131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5"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CDEA418-E5B5-3444-8318-2EB7F91DB884}"/>
              </a:ext>
            </a:extLst>
          </p:cNvPr>
          <p:cNvSpPr/>
          <p:nvPr userDrawn="1"/>
        </p:nvSpPr>
        <p:spPr>
          <a:xfrm>
            <a:off x="775767" y="1836797"/>
            <a:ext cx="3634187" cy="4274636"/>
          </a:xfrm>
          <a:prstGeom prst="rect">
            <a:avLst/>
          </a:prstGeom>
          <a:solidFill>
            <a:schemeClr val="bg1"/>
          </a:solidFill>
          <a:ln>
            <a:noFill/>
          </a:ln>
          <a:effectLst>
            <a:outerShdw blurRad="63500" sx="101000" sy="101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 name="Title 1"/>
          <p:cNvSpPr>
            <a:spLocks noGrp="1"/>
          </p:cNvSpPr>
          <p:nvPr>
            <p:ph type="title"/>
          </p:nvPr>
        </p:nvSpPr>
        <p:spPr>
          <a:xfrm>
            <a:off x="914400" y="694944"/>
            <a:ext cx="7754613" cy="594360"/>
          </a:xfrm>
        </p:spPr>
        <p:txBody>
          <a:bodyPr vert="horz" lIns="0" tIns="45720" rIns="0" bIns="0" rtlCol="0" anchor="b" anchorCtr="0">
            <a:noAutofit/>
          </a:bodyPr>
          <a:lstStyle>
            <a:lvl1pPr>
              <a:defRPr lang="en-US" sz="2800" spc="-75" dirty="0">
                <a:latin typeface="+mj-lt"/>
              </a:defRPr>
            </a:lvl1pPr>
          </a:lstStyle>
          <a:p>
            <a:pPr lvl="0" defTabSz="685800">
              <a:lnSpc>
                <a:spcPct val="85000"/>
              </a:lnSpc>
            </a:pPr>
            <a:r>
              <a:rPr lang="en-GB"/>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
        <p:nvSpPr>
          <p:cNvPr id="6" name="Rectangle 5">
            <a:extLst>
              <a:ext uri="{FF2B5EF4-FFF2-40B4-BE49-F238E27FC236}">
                <a16:creationId xmlns:a16="http://schemas.microsoft.com/office/drawing/2014/main" id="{C8333F40-6DE4-4F46-884A-BCBBAD8C15F5}"/>
              </a:ext>
            </a:extLst>
          </p:cNvPr>
          <p:cNvSpPr/>
          <p:nvPr userDrawn="1"/>
        </p:nvSpPr>
        <p:spPr>
          <a:xfrm>
            <a:off x="8669012" y="0"/>
            <a:ext cx="3522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9" name="TextBox 8">
            <a:extLst>
              <a:ext uri="{FF2B5EF4-FFF2-40B4-BE49-F238E27FC236}">
                <a16:creationId xmlns:a16="http://schemas.microsoft.com/office/drawing/2014/main" id="{47BAB91D-20E4-A24D-B0B6-857D45E5A876}"/>
              </a:ext>
            </a:extLst>
          </p:cNvPr>
          <p:cNvSpPr txBox="1"/>
          <p:nvPr userDrawn="1"/>
        </p:nvSpPr>
        <p:spPr>
          <a:xfrm>
            <a:off x="9054389" y="669544"/>
            <a:ext cx="1259083" cy="276999"/>
          </a:xfrm>
          <a:prstGeom prst="rect">
            <a:avLst/>
          </a:prstGeom>
          <a:noFill/>
          <a:effectLst/>
        </p:spPr>
        <p:txBody>
          <a:bodyPr wrap="square" lIns="0" rtlCol="0">
            <a:spAutoFit/>
          </a:bodyPr>
          <a:lstStyle/>
          <a:p>
            <a:r>
              <a:rPr lang="en-GB" sz="1200" spc="300">
                <a:latin typeface="Open Sans" panose="020B0606030504020204" pitchFamily="34" charset="0"/>
                <a:ea typeface="Open Sans" panose="020B0606030504020204" pitchFamily="34" charset="0"/>
                <a:cs typeface="Open Sans" panose="020B0606030504020204" pitchFamily="34" charset="0"/>
              </a:rPr>
              <a:t>LOCATION:</a:t>
            </a:r>
            <a:endParaRPr lang="en-GB" sz="300" spc="300">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872F7E74-A96F-944D-A403-586F9C6466ED}"/>
              </a:ext>
            </a:extLst>
          </p:cNvPr>
          <p:cNvSpPr txBox="1"/>
          <p:nvPr userDrawn="1"/>
        </p:nvSpPr>
        <p:spPr>
          <a:xfrm>
            <a:off x="9054389" y="2894707"/>
            <a:ext cx="1935789" cy="400110"/>
          </a:xfrm>
          <a:prstGeom prst="rect">
            <a:avLst/>
          </a:prstGeom>
          <a:noFill/>
        </p:spPr>
        <p:txBody>
          <a:bodyPr wrap="square" lIns="0" tIns="0" rIns="0" bIns="0" rtlCol="0">
            <a:spAutoFit/>
          </a:bodyPr>
          <a:lstStyle/>
          <a:p>
            <a:pPr marL="0" marR="0" lvl="0" indent="0" defTabSz="914400" rtl="0" eaLnBrk="1" fontAlgn="auto" latinLnBrk="0" hangingPunct="1">
              <a:spcBef>
                <a:spcPts val="0"/>
              </a:spcBef>
              <a:spcAft>
                <a:spcPts val="0"/>
              </a:spcAft>
              <a:buClrTx/>
              <a:buSzTx/>
              <a:buFontTx/>
              <a:buNone/>
              <a:tabLst/>
              <a:defRPr/>
            </a:pPr>
            <a:r>
              <a:rPr lang="en-GB" sz="1200" spc="300">
                <a:latin typeface="Open Sans" panose="020B0606030504020204" pitchFamily="34" charset="0"/>
                <a:ea typeface="Open Sans" panose="020B0606030504020204" pitchFamily="34" charset="0"/>
                <a:cs typeface="Open Sans" panose="020B0606030504020204" pitchFamily="34" charset="0"/>
              </a:rPr>
              <a:t>DURATION:</a:t>
            </a:r>
            <a:r>
              <a:rPr kumimoji="0" lang="en-GB" sz="1400" u="none" strike="noStrike" kern="1200" cap="none" spc="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GB" sz="1400" u="none" strike="noStrike" kern="1200" cap="none" spc="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400" u="none" strike="noStrike" kern="1200" cap="none" spc="0" normalizeH="0" baseline="0">
              <a:ln>
                <a:noFill/>
              </a:ln>
              <a:effectLst/>
              <a:uLnTx/>
              <a:uFillTx/>
              <a:latin typeface="+mj-lt"/>
              <a:ea typeface="Open Sans" panose="020B0606030504020204" pitchFamily="34" charset="0"/>
              <a:cs typeface="Open Sans" panose="020B0606030504020204" pitchFamily="34" charset="0"/>
            </a:endParaRPr>
          </a:p>
        </p:txBody>
      </p:sp>
      <p:sp>
        <p:nvSpPr>
          <p:cNvPr id="15" name="Text Placeholder 14">
            <a:extLst>
              <a:ext uri="{FF2B5EF4-FFF2-40B4-BE49-F238E27FC236}">
                <a16:creationId xmlns:a16="http://schemas.microsoft.com/office/drawing/2014/main" id="{AA1D3778-7A03-D24B-A630-D3D146E4D19A}"/>
              </a:ext>
            </a:extLst>
          </p:cNvPr>
          <p:cNvSpPr>
            <a:spLocks noGrp="1"/>
          </p:cNvSpPr>
          <p:nvPr>
            <p:ph type="body" sz="quarter" idx="16" hasCustomPrompt="1"/>
          </p:nvPr>
        </p:nvSpPr>
        <p:spPr>
          <a:xfrm>
            <a:off x="9054389" y="930891"/>
            <a:ext cx="2065337" cy="369332"/>
          </a:xfrm>
        </p:spPr>
        <p:txBody>
          <a:bodyPr>
            <a:spAutoFit/>
          </a:bodyPr>
          <a:lstStyle>
            <a:lvl1pPr marL="0" indent="0">
              <a:buNone/>
              <a:defRPr sz="2400">
                <a:latin typeface="+mj-lt"/>
              </a:defRPr>
            </a:lvl1pPr>
          </a:lstStyle>
          <a:p>
            <a:pPr lvl="0"/>
            <a:r>
              <a:rPr lang="en-GB"/>
              <a:t>Country</a:t>
            </a:r>
          </a:p>
        </p:txBody>
      </p:sp>
      <p:sp>
        <p:nvSpPr>
          <p:cNvPr id="16" name="Text Placeholder 14">
            <a:extLst>
              <a:ext uri="{FF2B5EF4-FFF2-40B4-BE49-F238E27FC236}">
                <a16:creationId xmlns:a16="http://schemas.microsoft.com/office/drawing/2014/main" id="{240A28FE-451C-F542-8469-1023D5C834E7}"/>
              </a:ext>
            </a:extLst>
          </p:cNvPr>
          <p:cNvSpPr>
            <a:spLocks noGrp="1"/>
          </p:cNvSpPr>
          <p:nvPr>
            <p:ph type="body" sz="quarter" idx="17"/>
          </p:nvPr>
        </p:nvSpPr>
        <p:spPr>
          <a:xfrm>
            <a:off x="997512" y="2070616"/>
            <a:ext cx="3198770" cy="215444"/>
          </a:xfrm>
        </p:spPr>
        <p:txBody>
          <a:bodyPr wrap="square" anchor="t" anchorCtr="0">
            <a:spAutoFit/>
          </a:bodyPr>
          <a:lstStyle>
            <a:lvl1pPr marL="0" indent="0" eaLnBrk="1">
              <a:buNone/>
              <a:defRPr sz="1400" b="1">
                <a:latin typeface="+mn-lt"/>
              </a:defRPr>
            </a:lvl1pPr>
          </a:lstStyle>
          <a:p>
            <a:pPr lvl="0"/>
            <a:endParaRPr lang="en-GB"/>
          </a:p>
        </p:txBody>
      </p:sp>
      <p:sp>
        <p:nvSpPr>
          <p:cNvPr id="29" name="Text Placeholder 14">
            <a:extLst>
              <a:ext uri="{FF2B5EF4-FFF2-40B4-BE49-F238E27FC236}">
                <a16:creationId xmlns:a16="http://schemas.microsoft.com/office/drawing/2014/main" id="{6F01554D-83B5-AE45-86EC-BE7BA02548DF}"/>
              </a:ext>
            </a:extLst>
          </p:cNvPr>
          <p:cNvSpPr>
            <a:spLocks noGrp="1"/>
          </p:cNvSpPr>
          <p:nvPr>
            <p:ph type="body" sz="quarter" idx="19" hasCustomPrompt="1"/>
          </p:nvPr>
        </p:nvSpPr>
        <p:spPr>
          <a:xfrm>
            <a:off x="4727080" y="2070616"/>
            <a:ext cx="3486091" cy="184666"/>
          </a:xfrm>
        </p:spPr>
        <p:txBody>
          <a:bodyPr wrap="square" anchor="t" anchorCtr="0">
            <a:spAutoFit/>
          </a:bodyPr>
          <a:lstStyle>
            <a:lvl1pPr marL="0" indent="0">
              <a:buNone/>
              <a:defRPr sz="1200" b="1" spc="300">
                <a:latin typeface="+mn-lt"/>
              </a:defRPr>
            </a:lvl1pPr>
          </a:lstStyle>
          <a:p>
            <a:pPr lvl="0"/>
            <a:r>
              <a:rPr lang="en-GB"/>
              <a:t>CORE ACTIVITIES:</a:t>
            </a:r>
          </a:p>
        </p:txBody>
      </p:sp>
      <p:sp>
        <p:nvSpPr>
          <p:cNvPr id="30" name="Text Placeholder 14">
            <a:extLst>
              <a:ext uri="{FF2B5EF4-FFF2-40B4-BE49-F238E27FC236}">
                <a16:creationId xmlns:a16="http://schemas.microsoft.com/office/drawing/2014/main" id="{1B9F865C-7790-154C-A625-B6C9ECD42FFC}"/>
              </a:ext>
            </a:extLst>
          </p:cNvPr>
          <p:cNvSpPr>
            <a:spLocks noGrp="1"/>
          </p:cNvSpPr>
          <p:nvPr>
            <p:ph type="body" sz="quarter" idx="20"/>
          </p:nvPr>
        </p:nvSpPr>
        <p:spPr>
          <a:xfrm>
            <a:off x="4727080" y="2391041"/>
            <a:ext cx="3486091" cy="184666"/>
          </a:xfrm>
        </p:spPr>
        <p:txBody>
          <a:bodyPr wrap="square">
            <a:spAutoFit/>
          </a:bodyPr>
          <a:lstStyle>
            <a:lvl1pPr marL="0" indent="0" eaLnBrk="1">
              <a:lnSpc>
                <a:spcPct val="100000"/>
              </a:lnSpc>
              <a:spcBef>
                <a:spcPts val="600"/>
              </a:spcBef>
              <a:buFont typeface="Arial" panose="020B0604020202020204" pitchFamily="34" charset="0"/>
              <a:buNone/>
              <a:defRPr sz="1200" b="0" spc="0">
                <a:latin typeface="+mn-lt"/>
              </a:defRPr>
            </a:lvl1pPr>
          </a:lstStyle>
          <a:p>
            <a:pPr lvl="0"/>
            <a:endParaRPr lang="en-GB"/>
          </a:p>
        </p:txBody>
      </p:sp>
      <p:sp>
        <p:nvSpPr>
          <p:cNvPr id="33" name="Text Placeholder 14">
            <a:extLst>
              <a:ext uri="{FF2B5EF4-FFF2-40B4-BE49-F238E27FC236}">
                <a16:creationId xmlns:a16="http://schemas.microsoft.com/office/drawing/2014/main" id="{98419ADD-F154-814C-A760-CB4590A654E6}"/>
              </a:ext>
            </a:extLst>
          </p:cNvPr>
          <p:cNvSpPr>
            <a:spLocks noGrp="1"/>
          </p:cNvSpPr>
          <p:nvPr>
            <p:ph type="body" sz="quarter" idx="21" hasCustomPrompt="1"/>
          </p:nvPr>
        </p:nvSpPr>
        <p:spPr>
          <a:xfrm>
            <a:off x="4727080" y="4026506"/>
            <a:ext cx="3486091" cy="184666"/>
          </a:xfrm>
        </p:spPr>
        <p:txBody>
          <a:bodyPr wrap="square" anchor="t" anchorCtr="0">
            <a:spAutoFit/>
          </a:bodyPr>
          <a:lstStyle>
            <a:lvl1pPr marL="0" indent="0">
              <a:buNone/>
              <a:defRPr sz="1200" b="1" spc="300">
                <a:latin typeface="+mn-lt"/>
              </a:defRPr>
            </a:lvl1pPr>
          </a:lstStyle>
          <a:p>
            <a:pPr lvl="0"/>
            <a:r>
              <a:rPr lang="en-GB"/>
              <a:t>IMPACT:</a:t>
            </a:r>
          </a:p>
        </p:txBody>
      </p:sp>
      <p:sp>
        <p:nvSpPr>
          <p:cNvPr id="34" name="Text Placeholder 14">
            <a:extLst>
              <a:ext uri="{FF2B5EF4-FFF2-40B4-BE49-F238E27FC236}">
                <a16:creationId xmlns:a16="http://schemas.microsoft.com/office/drawing/2014/main" id="{15425DB7-AAD1-5E4B-8943-DDA9A2337EA9}"/>
              </a:ext>
            </a:extLst>
          </p:cNvPr>
          <p:cNvSpPr>
            <a:spLocks noGrp="1"/>
          </p:cNvSpPr>
          <p:nvPr>
            <p:ph type="body" sz="quarter" idx="22"/>
          </p:nvPr>
        </p:nvSpPr>
        <p:spPr>
          <a:xfrm>
            <a:off x="4727080" y="4344455"/>
            <a:ext cx="3486091" cy="184666"/>
          </a:xfrm>
        </p:spPr>
        <p:txBody>
          <a:bodyPr wrap="square">
            <a:spAutoFit/>
          </a:bodyPr>
          <a:lstStyle>
            <a:lvl1pPr marL="0" indent="0" eaLnBrk="1">
              <a:lnSpc>
                <a:spcPct val="100000"/>
              </a:lnSpc>
              <a:spcBef>
                <a:spcPts val="600"/>
              </a:spcBef>
              <a:buFont typeface="Arial" panose="020B0604020202020204" pitchFamily="34" charset="0"/>
              <a:buNone/>
              <a:defRPr sz="1200" b="0" spc="0">
                <a:latin typeface="+mn-lt"/>
              </a:defRPr>
            </a:lvl1pPr>
          </a:lstStyle>
          <a:p>
            <a:pPr lvl="0"/>
            <a:endParaRPr lang="en-GB"/>
          </a:p>
        </p:txBody>
      </p:sp>
      <p:sp>
        <p:nvSpPr>
          <p:cNvPr id="35" name="Text Placeholder 14">
            <a:extLst>
              <a:ext uri="{FF2B5EF4-FFF2-40B4-BE49-F238E27FC236}">
                <a16:creationId xmlns:a16="http://schemas.microsoft.com/office/drawing/2014/main" id="{28E04996-3771-3741-B433-06A085186BA9}"/>
              </a:ext>
            </a:extLst>
          </p:cNvPr>
          <p:cNvSpPr>
            <a:spLocks noGrp="1"/>
          </p:cNvSpPr>
          <p:nvPr>
            <p:ph type="body" sz="quarter" idx="23"/>
          </p:nvPr>
        </p:nvSpPr>
        <p:spPr>
          <a:xfrm>
            <a:off x="997512" y="2915824"/>
            <a:ext cx="3198770" cy="184666"/>
          </a:xfrm>
        </p:spPr>
        <p:txBody>
          <a:bodyPr wrap="square">
            <a:spAutoFit/>
          </a:bodyPr>
          <a:lstStyle>
            <a:lvl1pPr marL="0" indent="0" eaLnBrk="1">
              <a:lnSpc>
                <a:spcPct val="100000"/>
              </a:lnSpc>
              <a:spcBef>
                <a:spcPts val="600"/>
              </a:spcBef>
              <a:buNone/>
              <a:defRPr sz="1200" b="0">
                <a:latin typeface="+mn-lt"/>
              </a:defRPr>
            </a:lvl1pPr>
          </a:lstStyle>
          <a:p>
            <a:pPr lvl="0"/>
            <a:endParaRPr lang="en-GB"/>
          </a:p>
        </p:txBody>
      </p:sp>
      <p:sp>
        <p:nvSpPr>
          <p:cNvPr id="41" name="Text Placeholder 14">
            <a:extLst>
              <a:ext uri="{FF2B5EF4-FFF2-40B4-BE49-F238E27FC236}">
                <a16:creationId xmlns:a16="http://schemas.microsoft.com/office/drawing/2014/main" id="{8F7024E0-00BE-9B47-9E95-2A5D5A046D53}"/>
              </a:ext>
            </a:extLst>
          </p:cNvPr>
          <p:cNvSpPr>
            <a:spLocks noGrp="1"/>
          </p:cNvSpPr>
          <p:nvPr>
            <p:ph type="body" sz="quarter" idx="25" hasCustomPrompt="1"/>
          </p:nvPr>
        </p:nvSpPr>
        <p:spPr>
          <a:xfrm>
            <a:off x="9054390" y="1528189"/>
            <a:ext cx="445219" cy="369332"/>
          </a:xfrm>
        </p:spPr>
        <p:txBody>
          <a:bodyPr wrap="square" anchor="b" anchorCtr="0">
            <a:spAutoFit/>
          </a:bodyPr>
          <a:lstStyle>
            <a:lvl1pPr marL="0" indent="0" algn="r">
              <a:buNone/>
              <a:defRPr sz="2400">
                <a:latin typeface="+mj-lt"/>
              </a:defRPr>
            </a:lvl1pPr>
          </a:lstStyle>
          <a:p>
            <a:pPr lvl="0"/>
            <a:r>
              <a:rPr lang="en-GB"/>
              <a:t>00</a:t>
            </a:r>
          </a:p>
        </p:txBody>
      </p:sp>
      <p:sp>
        <p:nvSpPr>
          <p:cNvPr id="42" name="Text Placeholder 14">
            <a:extLst>
              <a:ext uri="{FF2B5EF4-FFF2-40B4-BE49-F238E27FC236}">
                <a16:creationId xmlns:a16="http://schemas.microsoft.com/office/drawing/2014/main" id="{711B3492-9821-554E-B4A4-226A6CE63C32}"/>
              </a:ext>
            </a:extLst>
          </p:cNvPr>
          <p:cNvSpPr>
            <a:spLocks noGrp="1"/>
          </p:cNvSpPr>
          <p:nvPr>
            <p:ph type="body" sz="quarter" idx="26" hasCustomPrompt="1"/>
          </p:nvPr>
        </p:nvSpPr>
        <p:spPr>
          <a:xfrm>
            <a:off x="9054390" y="2194750"/>
            <a:ext cx="445220" cy="369332"/>
          </a:xfrm>
        </p:spPr>
        <p:txBody>
          <a:bodyPr wrap="square" anchor="b" anchorCtr="0">
            <a:spAutoFit/>
          </a:bodyPr>
          <a:lstStyle>
            <a:lvl1pPr marL="0" indent="0" algn="r">
              <a:buNone/>
              <a:defRPr sz="2400">
                <a:latin typeface="+mj-lt"/>
              </a:defRPr>
            </a:lvl1pPr>
          </a:lstStyle>
          <a:p>
            <a:pPr lvl="0"/>
            <a:r>
              <a:rPr lang="en-GB"/>
              <a:t>00</a:t>
            </a:r>
          </a:p>
        </p:txBody>
      </p:sp>
      <p:sp>
        <p:nvSpPr>
          <p:cNvPr id="76" name="Text Placeholder 14">
            <a:extLst>
              <a:ext uri="{FF2B5EF4-FFF2-40B4-BE49-F238E27FC236}">
                <a16:creationId xmlns:a16="http://schemas.microsoft.com/office/drawing/2014/main" id="{25BC6B24-EB49-FB4A-9FD3-E287A8970F85}"/>
              </a:ext>
            </a:extLst>
          </p:cNvPr>
          <p:cNvSpPr>
            <a:spLocks noGrp="1"/>
          </p:cNvSpPr>
          <p:nvPr>
            <p:ph type="body" sz="quarter" idx="27"/>
          </p:nvPr>
        </p:nvSpPr>
        <p:spPr>
          <a:xfrm>
            <a:off x="9556526" y="1595686"/>
            <a:ext cx="1620116" cy="138499"/>
          </a:xfrm>
        </p:spPr>
        <p:txBody>
          <a:bodyPr wrap="square" anchor="t" anchorCtr="0">
            <a:spAutoFit/>
          </a:bodyPr>
          <a:lstStyle>
            <a:lvl1pPr marL="0" indent="0" eaLnBrk="1">
              <a:lnSpc>
                <a:spcPct val="90000"/>
              </a:lnSpc>
              <a:spcBef>
                <a:spcPts val="0"/>
              </a:spcBef>
              <a:buNone/>
              <a:defRPr sz="10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endParaRPr lang="en-GB"/>
          </a:p>
        </p:txBody>
      </p:sp>
      <p:sp>
        <p:nvSpPr>
          <p:cNvPr id="77" name="Text Placeholder 14">
            <a:extLst>
              <a:ext uri="{FF2B5EF4-FFF2-40B4-BE49-F238E27FC236}">
                <a16:creationId xmlns:a16="http://schemas.microsoft.com/office/drawing/2014/main" id="{580E9604-F3E8-CF45-A47D-7D9F4CCE162D}"/>
              </a:ext>
            </a:extLst>
          </p:cNvPr>
          <p:cNvSpPr>
            <a:spLocks noGrp="1"/>
          </p:cNvSpPr>
          <p:nvPr>
            <p:ph type="body" sz="quarter" idx="28"/>
          </p:nvPr>
        </p:nvSpPr>
        <p:spPr>
          <a:xfrm>
            <a:off x="9556526" y="2262247"/>
            <a:ext cx="1620116" cy="138499"/>
          </a:xfrm>
        </p:spPr>
        <p:txBody>
          <a:bodyPr wrap="square" anchor="t" anchorCtr="0">
            <a:spAutoFit/>
          </a:bodyPr>
          <a:lstStyle>
            <a:lvl1pPr marL="0" indent="0" eaLnBrk="1">
              <a:lnSpc>
                <a:spcPct val="90000"/>
              </a:lnSpc>
              <a:spcBef>
                <a:spcPts val="0"/>
              </a:spcBef>
              <a:buNone/>
              <a:defRPr sz="10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endParaRPr lang="en-GB"/>
          </a:p>
        </p:txBody>
      </p:sp>
      <p:grpSp>
        <p:nvGrpSpPr>
          <p:cNvPr id="80" name="Group 79">
            <a:extLst>
              <a:ext uri="{FF2B5EF4-FFF2-40B4-BE49-F238E27FC236}">
                <a16:creationId xmlns:a16="http://schemas.microsoft.com/office/drawing/2014/main" id="{BBAB7BC4-59A4-A145-AB73-5FBDF3A5FA2A}"/>
              </a:ext>
            </a:extLst>
          </p:cNvPr>
          <p:cNvGrpSpPr>
            <a:grpSpLocks noChangeAspect="1"/>
          </p:cNvGrpSpPr>
          <p:nvPr userDrawn="1"/>
        </p:nvGrpSpPr>
        <p:grpSpPr>
          <a:xfrm>
            <a:off x="9054389" y="3133257"/>
            <a:ext cx="690978" cy="690978"/>
            <a:chOff x="5089526" y="5137785"/>
            <a:chExt cx="255588" cy="255588"/>
          </a:xfrm>
        </p:grpSpPr>
        <p:sp>
          <p:nvSpPr>
            <p:cNvPr id="81" name="Freeform 177">
              <a:extLst>
                <a:ext uri="{FF2B5EF4-FFF2-40B4-BE49-F238E27FC236}">
                  <a16:creationId xmlns:a16="http://schemas.microsoft.com/office/drawing/2014/main" id="{37DE57C6-A8C3-FA4B-ABE6-A33F844C9635}"/>
                </a:ext>
              </a:extLst>
            </p:cNvPr>
            <p:cNvSpPr>
              <a:spLocks/>
            </p:cNvSpPr>
            <p:nvPr/>
          </p:nvSpPr>
          <p:spPr bwMode="auto">
            <a:xfrm>
              <a:off x="5143501" y="5137785"/>
              <a:ext cx="17463" cy="58738"/>
            </a:xfrm>
            <a:custGeom>
              <a:avLst/>
              <a:gdLst>
                <a:gd name="T0" fmla="*/ 5 w 21"/>
                <a:gd name="T1" fmla="*/ 72 h 72"/>
                <a:gd name="T2" fmla="*/ 16 w 21"/>
                <a:gd name="T3" fmla="*/ 72 h 72"/>
                <a:gd name="T4" fmla="*/ 16 w 21"/>
                <a:gd name="T5" fmla="*/ 72 h 72"/>
                <a:gd name="T6" fmla="*/ 17 w 21"/>
                <a:gd name="T7" fmla="*/ 72 h 72"/>
                <a:gd name="T8" fmla="*/ 19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9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9" y="71"/>
                  </a:lnTo>
                  <a:lnTo>
                    <a:pt x="20" y="70"/>
                  </a:lnTo>
                  <a:lnTo>
                    <a:pt x="21" y="67"/>
                  </a:lnTo>
                  <a:lnTo>
                    <a:pt x="21" y="5"/>
                  </a:lnTo>
                  <a:lnTo>
                    <a:pt x="21" y="5"/>
                  </a:lnTo>
                  <a:lnTo>
                    <a:pt x="20" y="4"/>
                  </a:lnTo>
                  <a:lnTo>
                    <a:pt x="19"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82" name="Freeform 178">
              <a:extLst>
                <a:ext uri="{FF2B5EF4-FFF2-40B4-BE49-F238E27FC236}">
                  <a16:creationId xmlns:a16="http://schemas.microsoft.com/office/drawing/2014/main" id="{9CA71524-3620-1047-8441-DCD68548C7D8}"/>
                </a:ext>
              </a:extLst>
            </p:cNvPr>
            <p:cNvSpPr>
              <a:spLocks/>
            </p:cNvSpPr>
            <p:nvPr/>
          </p:nvSpPr>
          <p:spPr bwMode="auto">
            <a:xfrm>
              <a:off x="5275263" y="5137785"/>
              <a:ext cx="15875" cy="58738"/>
            </a:xfrm>
            <a:custGeom>
              <a:avLst/>
              <a:gdLst>
                <a:gd name="T0" fmla="*/ 6 w 22"/>
                <a:gd name="T1" fmla="*/ 72 h 72"/>
                <a:gd name="T2" fmla="*/ 16 w 22"/>
                <a:gd name="T3" fmla="*/ 72 h 72"/>
                <a:gd name="T4" fmla="*/ 16 w 22"/>
                <a:gd name="T5" fmla="*/ 72 h 72"/>
                <a:gd name="T6" fmla="*/ 18 w 22"/>
                <a:gd name="T7" fmla="*/ 72 h 72"/>
                <a:gd name="T8" fmla="*/ 20 w 22"/>
                <a:gd name="T9" fmla="*/ 71 h 72"/>
                <a:gd name="T10" fmla="*/ 20 w 22"/>
                <a:gd name="T11" fmla="*/ 70 h 72"/>
                <a:gd name="T12" fmla="*/ 22 w 22"/>
                <a:gd name="T13" fmla="*/ 67 h 72"/>
                <a:gd name="T14" fmla="*/ 22 w 22"/>
                <a:gd name="T15" fmla="*/ 5 h 72"/>
                <a:gd name="T16" fmla="*/ 22 w 22"/>
                <a:gd name="T17" fmla="*/ 5 h 72"/>
                <a:gd name="T18" fmla="*/ 20 w 22"/>
                <a:gd name="T19" fmla="*/ 4 h 72"/>
                <a:gd name="T20" fmla="*/ 20 w 22"/>
                <a:gd name="T21" fmla="*/ 2 h 72"/>
                <a:gd name="T22" fmla="*/ 18 w 22"/>
                <a:gd name="T23" fmla="*/ 1 h 72"/>
                <a:gd name="T24" fmla="*/ 16 w 22"/>
                <a:gd name="T25" fmla="*/ 0 h 72"/>
                <a:gd name="T26" fmla="*/ 6 w 22"/>
                <a:gd name="T27" fmla="*/ 0 h 72"/>
                <a:gd name="T28" fmla="*/ 6 w 22"/>
                <a:gd name="T29" fmla="*/ 0 h 72"/>
                <a:gd name="T30" fmla="*/ 4 w 22"/>
                <a:gd name="T31" fmla="*/ 1 h 72"/>
                <a:gd name="T32" fmla="*/ 3 w 22"/>
                <a:gd name="T33" fmla="*/ 2 h 72"/>
                <a:gd name="T34" fmla="*/ 1 w 22"/>
                <a:gd name="T35" fmla="*/ 4 h 72"/>
                <a:gd name="T36" fmla="*/ 0 w 22"/>
                <a:gd name="T37" fmla="*/ 5 h 72"/>
                <a:gd name="T38" fmla="*/ 0 w 22"/>
                <a:gd name="T39" fmla="*/ 67 h 72"/>
                <a:gd name="T40" fmla="*/ 0 w 22"/>
                <a:gd name="T41" fmla="*/ 67 h 72"/>
                <a:gd name="T42" fmla="*/ 1 w 22"/>
                <a:gd name="T43" fmla="*/ 70 h 72"/>
                <a:gd name="T44" fmla="*/ 3 w 22"/>
                <a:gd name="T45" fmla="*/ 71 h 72"/>
                <a:gd name="T46" fmla="*/ 4 w 22"/>
                <a:gd name="T47" fmla="*/ 72 h 72"/>
                <a:gd name="T48" fmla="*/ 6 w 22"/>
                <a:gd name="T49" fmla="*/ 72 h 72"/>
                <a:gd name="T50" fmla="*/ 6 w 22"/>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72">
                  <a:moveTo>
                    <a:pt x="6" y="72"/>
                  </a:moveTo>
                  <a:lnTo>
                    <a:pt x="16" y="72"/>
                  </a:lnTo>
                  <a:lnTo>
                    <a:pt x="16" y="72"/>
                  </a:lnTo>
                  <a:lnTo>
                    <a:pt x="18" y="72"/>
                  </a:lnTo>
                  <a:lnTo>
                    <a:pt x="20" y="71"/>
                  </a:lnTo>
                  <a:lnTo>
                    <a:pt x="20" y="70"/>
                  </a:lnTo>
                  <a:lnTo>
                    <a:pt x="22" y="67"/>
                  </a:lnTo>
                  <a:lnTo>
                    <a:pt x="22" y="5"/>
                  </a:lnTo>
                  <a:lnTo>
                    <a:pt x="22" y="5"/>
                  </a:lnTo>
                  <a:lnTo>
                    <a:pt x="20" y="4"/>
                  </a:lnTo>
                  <a:lnTo>
                    <a:pt x="20" y="2"/>
                  </a:lnTo>
                  <a:lnTo>
                    <a:pt x="18" y="1"/>
                  </a:lnTo>
                  <a:lnTo>
                    <a:pt x="16" y="0"/>
                  </a:lnTo>
                  <a:lnTo>
                    <a:pt x="6" y="0"/>
                  </a:lnTo>
                  <a:lnTo>
                    <a:pt x="6" y="0"/>
                  </a:lnTo>
                  <a:lnTo>
                    <a:pt x="4" y="1"/>
                  </a:lnTo>
                  <a:lnTo>
                    <a:pt x="3" y="2"/>
                  </a:lnTo>
                  <a:lnTo>
                    <a:pt x="1" y="4"/>
                  </a:lnTo>
                  <a:lnTo>
                    <a:pt x="0" y="5"/>
                  </a:lnTo>
                  <a:lnTo>
                    <a:pt x="0" y="67"/>
                  </a:lnTo>
                  <a:lnTo>
                    <a:pt x="0" y="67"/>
                  </a:lnTo>
                  <a:lnTo>
                    <a:pt x="1" y="70"/>
                  </a:lnTo>
                  <a:lnTo>
                    <a:pt x="3" y="71"/>
                  </a:lnTo>
                  <a:lnTo>
                    <a:pt x="4" y="72"/>
                  </a:lnTo>
                  <a:lnTo>
                    <a:pt x="6" y="72"/>
                  </a:lnTo>
                  <a:lnTo>
                    <a:pt x="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83" name="Freeform 179">
              <a:extLst>
                <a:ext uri="{FF2B5EF4-FFF2-40B4-BE49-F238E27FC236}">
                  <a16:creationId xmlns:a16="http://schemas.microsoft.com/office/drawing/2014/main" id="{5F8656AC-DFBD-4C40-8504-1DFF5AB1679A}"/>
                </a:ext>
              </a:extLst>
            </p:cNvPr>
            <p:cNvSpPr>
              <a:spLocks noEditPoints="1"/>
            </p:cNvSpPr>
            <p:nvPr/>
          </p:nvSpPr>
          <p:spPr bwMode="auto">
            <a:xfrm>
              <a:off x="5089526" y="5164773"/>
              <a:ext cx="255588" cy="228600"/>
            </a:xfrm>
            <a:custGeom>
              <a:avLst/>
              <a:gdLst>
                <a:gd name="T0" fmla="*/ 264 w 321"/>
                <a:gd name="T1" fmla="*/ 0 h 289"/>
                <a:gd name="T2" fmla="*/ 264 w 321"/>
                <a:gd name="T3" fmla="*/ 46 h 289"/>
                <a:gd name="T4" fmla="*/ 262 w 321"/>
                <a:gd name="T5" fmla="*/ 50 h 289"/>
                <a:gd name="T6" fmla="*/ 259 w 321"/>
                <a:gd name="T7" fmla="*/ 51 h 289"/>
                <a:gd name="T8" fmla="*/ 228 w 321"/>
                <a:gd name="T9" fmla="*/ 51 h 289"/>
                <a:gd name="T10" fmla="*/ 224 w 321"/>
                <a:gd name="T11" fmla="*/ 50 h 289"/>
                <a:gd name="T12" fmla="*/ 223 w 321"/>
                <a:gd name="T13" fmla="*/ 46 h 289"/>
                <a:gd name="T14" fmla="*/ 98 w 321"/>
                <a:gd name="T15" fmla="*/ 0 h 289"/>
                <a:gd name="T16" fmla="*/ 98 w 321"/>
                <a:gd name="T17" fmla="*/ 46 h 289"/>
                <a:gd name="T18" fmla="*/ 96 w 321"/>
                <a:gd name="T19" fmla="*/ 50 h 289"/>
                <a:gd name="T20" fmla="*/ 92 w 321"/>
                <a:gd name="T21" fmla="*/ 51 h 289"/>
                <a:gd name="T22" fmla="*/ 61 w 321"/>
                <a:gd name="T23" fmla="*/ 51 h 289"/>
                <a:gd name="T24" fmla="*/ 59 w 321"/>
                <a:gd name="T25" fmla="*/ 50 h 289"/>
                <a:gd name="T26" fmla="*/ 56 w 321"/>
                <a:gd name="T27" fmla="*/ 46 h 289"/>
                <a:gd name="T28" fmla="*/ 10 w 321"/>
                <a:gd name="T29" fmla="*/ 0 h 289"/>
                <a:gd name="T30" fmla="*/ 6 w 321"/>
                <a:gd name="T31" fmla="*/ 0 h 289"/>
                <a:gd name="T32" fmla="*/ 1 w 321"/>
                <a:gd name="T33" fmla="*/ 5 h 289"/>
                <a:gd name="T34" fmla="*/ 0 w 321"/>
                <a:gd name="T35" fmla="*/ 278 h 289"/>
                <a:gd name="T36" fmla="*/ 1 w 321"/>
                <a:gd name="T37" fmla="*/ 282 h 289"/>
                <a:gd name="T38" fmla="*/ 6 w 321"/>
                <a:gd name="T39" fmla="*/ 289 h 289"/>
                <a:gd name="T40" fmla="*/ 310 w 321"/>
                <a:gd name="T41" fmla="*/ 289 h 289"/>
                <a:gd name="T42" fmla="*/ 314 w 321"/>
                <a:gd name="T43" fmla="*/ 289 h 289"/>
                <a:gd name="T44" fmla="*/ 319 w 321"/>
                <a:gd name="T45" fmla="*/ 282 h 289"/>
                <a:gd name="T46" fmla="*/ 321 w 321"/>
                <a:gd name="T47" fmla="*/ 9 h 289"/>
                <a:gd name="T48" fmla="*/ 319 w 321"/>
                <a:gd name="T49" fmla="*/ 5 h 289"/>
                <a:gd name="T50" fmla="*/ 314 w 321"/>
                <a:gd name="T51" fmla="*/ 0 h 289"/>
                <a:gd name="T52" fmla="*/ 310 w 321"/>
                <a:gd name="T53" fmla="*/ 0 h 289"/>
                <a:gd name="T54" fmla="*/ 299 w 321"/>
                <a:gd name="T55" fmla="*/ 264 h 289"/>
                <a:gd name="T56" fmla="*/ 298 w 321"/>
                <a:gd name="T57" fmla="*/ 266 h 289"/>
                <a:gd name="T58" fmla="*/ 294 w 321"/>
                <a:gd name="T59" fmla="*/ 268 h 289"/>
                <a:gd name="T60" fmla="*/ 27 w 321"/>
                <a:gd name="T61" fmla="*/ 268 h 289"/>
                <a:gd name="T62" fmla="*/ 22 w 321"/>
                <a:gd name="T63" fmla="*/ 266 h 289"/>
                <a:gd name="T64" fmla="*/ 21 w 321"/>
                <a:gd name="T65" fmla="*/ 264 h 289"/>
                <a:gd name="T66" fmla="*/ 21 w 321"/>
                <a:gd name="T67" fmla="*/ 87 h 289"/>
                <a:gd name="T68" fmla="*/ 22 w 321"/>
                <a:gd name="T69" fmla="*/ 83 h 289"/>
                <a:gd name="T70" fmla="*/ 27 w 321"/>
                <a:gd name="T71" fmla="*/ 82 h 289"/>
                <a:gd name="T72" fmla="*/ 294 w 321"/>
                <a:gd name="T73" fmla="*/ 82 h 289"/>
                <a:gd name="T74" fmla="*/ 298 w 321"/>
                <a:gd name="T75" fmla="*/ 83 h 289"/>
                <a:gd name="T76" fmla="*/ 299 w 321"/>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289">
                  <a:moveTo>
                    <a:pt x="310" y="0"/>
                  </a:moveTo>
                  <a:lnTo>
                    <a:pt x="264" y="0"/>
                  </a:lnTo>
                  <a:lnTo>
                    <a:pt x="264" y="46"/>
                  </a:lnTo>
                  <a:lnTo>
                    <a:pt x="264" y="46"/>
                  </a:lnTo>
                  <a:lnTo>
                    <a:pt x="263" y="48"/>
                  </a:lnTo>
                  <a:lnTo>
                    <a:pt x="262" y="50"/>
                  </a:lnTo>
                  <a:lnTo>
                    <a:pt x="260" y="51"/>
                  </a:lnTo>
                  <a:lnTo>
                    <a:pt x="259" y="51"/>
                  </a:lnTo>
                  <a:lnTo>
                    <a:pt x="228" y="51"/>
                  </a:lnTo>
                  <a:lnTo>
                    <a:pt x="228" y="51"/>
                  </a:lnTo>
                  <a:lnTo>
                    <a:pt x="225" y="51"/>
                  </a:lnTo>
                  <a:lnTo>
                    <a:pt x="224" y="50"/>
                  </a:lnTo>
                  <a:lnTo>
                    <a:pt x="223" y="48"/>
                  </a:lnTo>
                  <a:lnTo>
                    <a:pt x="223" y="46"/>
                  </a:lnTo>
                  <a:lnTo>
                    <a:pt x="223" y="0"/>
                  </a:lnTo>
                  <a:lnTo>
                    <a:pt x="98" y="0"/>
                  </a:lnTo>
                  <a:lnTo>
                    <a:pt x="98" y="46"/>
                  </a:lnTo>
                  <a:lnTo>
                    <a:pt x="98" y="46"/>
                  </a:lnTo>
                  <a:lnTo>
                    <a:pt x="98" y="48"/>
                  </a:lnTo>
                  <a:lnTo>
                    <a:pt x="96" y="50"/>
                  </a:lnTo>
                  <a:lnTo>
                    <a:pt x="95" y="51"/>
                  </a:lnTo>
                  <a:lnTo>
                    <a:pt x="92" y="51"/>
                  </a:lnTo>
                  <a:lnTo>
                    <a:pt x="61" y="51"/>
                  </a:lnTo>
                  <a:lnTo>
                    <a:pt x="61" y="51"/>
                  </a:lnTo>
                  <a:lnTo>
                    <a:pt x="60" y="51"/>
                  </a:lnTo>
                  <a:lnTo>
                    <a:pt x="59" y="50"/>
                  </a:lnTo>
                  <a:lnTo>
                    <a:pt x="57" y="48"/>
                  </a:lnTo>
                  <a:lnTo>
                    <a:pt x="56" y="46"/>
                  </a:lnTo>
                  <a:lnTo>
                    <a:pt x="56" y="0"/>
                  </a:lnTo>
                  <a:lnTo>
                    <a:pt x="10" y="0"/>
                  </a:lnTo>
                  <a:lnTo>
                    <a:pt x="10" y="0"/>
                  </a:lnTo>
                  <a:lnTo>
                    <a:pt x="6" y="0"/>
                  </a:lnTo>
                  <a:lnTo>
                    <a:pt x="2" y="3"/>
                  </a:lnTo>
                  <a:lnTo>
                    <a:pt x="1" y="5"/>
                  </a:lnTo>
                  <a:lnTo>
                    <a:pt x="0" y="9"/>
                  </a:lnTo>
                  <a:lnTo>
                    <a:pt x="0" y="278"/>
                  </a:lnTo>
                  <a:lnTo>
                    <a:pt x="0" y="278"/>
                  </a:lnTo>
                  <a:lnTo>
                    <a:pt x="1" y="282"/>
                  </a:lnTo>
                  <a:lnTo>
                    <a:pt x="2" y="286"/>
                  </a:lnTo>
                  <a:lnTo>
                    <a:pt x="6" y="289"/>
                  </a:lnTo>
                  <a:lnTo>
                    <a:pt x="10" y="289"/>
                  </a:lnTo>
                  <a:lnTo>
                    <a:pt x="310" y="289"/>
                  </a:lnTo>
                  <a:lnTo>
                    <a:pt x="310" y="289"/>
                  </a:lnTo>
                  <a:lnTo>
                    <a:pt x="314" y="289"/>
                  </a:lnTo>
                  <a:lnTo>
                    <a:pt x="318" y="286"/>
                  </a:lnTo>
                  <a:lnTo>
                    <a:pt x="319" y="282"/>
                  </a:lnTo>
                  <a:lnTo>
                    <a:pt x="321" y="278"/>
                  </a:lnTo>
                  <a:lnTo>
                    <a:pt x="321" y="9"/>
                  </a:lnTo>
                  <a:lnTo>
                    <a:pt x="321" y="9"/>
                  </a:lnTo>
                  <a:lnTo>
                    <a:pt x="319" y="5"/>
                  </a:lnTo>
                  <a:lnTo>
                    <a:pt x="318" y="3"/>
                  </a:lnTo>
                  <a:lnTo>
                    <a:pt x="314" y="0"/>
                  </a:lnTo>
                  <a:lnTo>
                    <a:pt x="310" y="0"/>
                  </a:lnTo>
                  <a:lnTo>
                    <a:pt x="310" y="0"/>
                  </a:lnTo>
                  <a:close/>
                  <a:moveTo>
                    <a:pt x="299" y="264"/>
                  </a:moveTo>
                  <a:lnTo>
                    <a:pt x="299" y="264"/>
                  </a:lnTo>
                  <a:lnTo>
                    <a:pt x="299" y="265"/>
                  </a:lnTo>
                  <a:lnTo>
                    <a:pt x="298" y="266"/>
                  </a:lnTo>
                  <a:lnTo>
                    <a:pt x="297" y="268"/>
                  </a:lnTo>
                  <a:lnTo>
                    <a:pt x="294" y="268"/>
                  </a:lnTo>
                  <a:lnTo>
                    <a:pt x="27" y="268"/>
                  </a:lnTo>
                  <a:lnTo>
                    <a:pt x="27" y="268"/>
                  </a:lnTo>
                  <a:lnTo>
                    <a:pt x="24" y="268"/>
                  </a:lnTo>
                  <a:lnTo>
                    <a:pt x="22" y="266"/>
                  </a:lnTo>
                  <a:lnTo>
                    <a:pt x="21" y="265"/>
                  </a:lnTo>
                  <a:lnTo>
                    <a:pt x="21" y="264"/>
                  </a:lnTo>
                  <a:lnTo>
                    <a:pt x="21" y="87"/>
                  </a:lnTo>
                  <a:lnTo>
                    <a:pt x="21" y="87"/>
                  </a:lnTo>
                  <a:lnTo>
                    <a:pt x="21" y="85"/>
                  </a:lnTo>
                  <a:lnTo>
                    <a:pt x="22" y="83"/>
                  </a:lnTo>
                  <a:lnTo>
                    <a:pt x="24" y="82"/>
                  </a:lnTo>
                  <a:lnTo>
                    <a:pt x="27" y="82"/>
                  </a:lnTo>
                  <a:lnTo>
                    <a:pt x="294" y="82"/>
                  </a:lnTo>
                  <a:lnTo>
                    <a:pt x="294" y="82"/>
                  </a:lnTo>
                  <a:lnTo>
                    <a:pt x="297" y="82"/>
                  </a:lnTo>
                  <a:lnTo>
                    <a:pt x="298" y="83"/>
                  </a:lnTo>
                  <a:lnTo>
                    <a:pt x="299" y="85"/>
                  </a:lnTo>
                  <a:lnTo>
                    <a:pt x="299" y="87"/>
                  </a:lnTo>
                  <a:lnTo>
                    <a:pt x="299"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sp>
        <p:nvSpPr>
          <p:cNvPr id="40" name="Text Placeholder 14">
            <a:extLst>
              <a:ext uri="{FF2B5EF4-FFF2-40B4-BE49-F238E27FC236}">
                <a16:creationId xmlns:a16="http://schemas.microsoft.com/office/drawing/2014/main" id="{574C9F3A-12B6-584E-886F-FE1BA6EB2CCB}"/>
              </a:ext>
            </a:extLst>
          </p:cNvPr>
          <p:cNvSpPr>
            <a:spLocks noGrp="1"/>
          </p:cNvSpPr>
          <p:nvPr>
            <p:ph type="body" sz="quarter" idx="24" hasCustomPrompt="1"/>
          </p:nvPr>
        </p:nvSpPr>
        <p:spPr>
          <a:xfrm>
            <a:off x="9205676" y="3390627"/>
            <a:ext cx="539691" cy="369332"/>
          </a:xfrm>
        </p:spPr>
        <p:txBody>
          <a:bodyPr wrap="square">
            <a:spAutoFit/>
          </a:bodyPr>
          <a:lstStyle>
            <a:lvl1pPr marL="0" indent="0">
              <a:buNone/>
              <a:defRPr sz="2400">
                <a:latin typeface="+mj-lt"/>
              </a:defRPr>
            </a:lvl1pPr>
          </a:lstStyle>
          <a:p>
            <a:pPr lvl="0"/>
            <a:r>
              <a:rPr lang="en-GB"/>
              <a:t>00</a:t>
            </a:r>
          </a:p>
        </p:txBody>
      </p:sp>
    </p:spTree>
    <p:extLst>
      <p:ext uri="{BB962C8B-B14F-4D97-AF65-F5344CB8AC3E}">
        <p14:creationId xmlns:p14="http://schemas.microsoft.com/office/powerpoint/2010/main" val="3206523433"/>
      </p:ext>
    </p:extLst>
  </p:cSld>
  <p:clrMapOvr>
    <a:masterClrMapping/>
  </p:clrMapOvr>
  <p:extLst>
    <p:ext uri="{DCECCB84-F9BA-43D5-87BE-67443E8EF086}">
      <p15:sldGuideLst xmlns:p15="http://schemas.microsoft.com/office/powerpoint/2012/main">
        <p15:guide id="1" orient="horz" pos="100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4495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33588969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gital Proposition - Qual Yellow">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920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9"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CDEA418-E5B5-3444-8318-2EB7F91DB884}"/>
              </a:ext>
            </a:extLst>
          </p:cNvPr>
          <p:cNvSpPr/>
          <p:nvPr userDrawn="1"/>
        </p:nvSpPr>
        <p:spPr>
          <a:xfrm>
            <a:off x="775767" y="1836797"/>
            <a:ext cx="3634187" cy="4274636"/>
          </a:xfrm>
          <a:prstGeom prst="rect">
            <a:avLst/>
          </a:prstGeom>
          <a:solidFill>
            <a:schemeClr val="bg1"/>
          </a:solidFill>
          <a:ln>
            <a:noFill/>
          </a:ln>
          <a:effectLst>
            <a:outerShdw blurRad="63500" sx="101000" sy="101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 name="Title 1"/>
          <p:cNvSpPr>
            <a:spLocks noGrp="1"/>
          </p:cNvSpPr>
          <p:nvPr>
            <p:ph type="title"/>
          </p:nvPr>
        </p:nvSpPr>
        <p:spPr>
          <a:xfrm>
            <a:off x="914400" y="694944"/>
            <a:ext cx="7754613" cy="594360"/>
          </a:xfrm>
        </p:spPr>
        <p:txBody>
          <a:bodyPr vert="horz" lIns="0" tIns="45720" rIns="0" bIns="0" rtlCol="0" anchor="b" anchorCtr="0">
            <a:noAutofit/>
          </a:bodyPr>
          <a:lstStyle>
            <a:lvl1pPr>
              <a:defRPr lang="en-US" sz="2800" spc="-75" dirty="0">
                <a:latin typeface="+mj-lt"/>
              </a:defRPr>
            </a:lvl1pPr>
          </a:lstStyle>
          <a:p>
            <a:pPr lvl="0" defTabSz="685800">
              <a:lnSpc>
                <a:spcPct val="85000"/>
              </a:lnSpc>
            </a:pPr>
            <a:r>
              <a:rPr lang="en-GB"/>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
        <p:nvSpPr>
          <p:cNvPr id="6" name="Rectangle 5">
            <a:extLst>
              <a:ext uri="{FF2B5EF4-FFF2-40B4-BE49-F238E27FC236}">
                <a16:creationId xmlns:a16="http://schemas.microsoft.com/office/drawing/2014/main" id="{C8333F40-6DE4-4F46-884A-BCBBAD8C15F5}"/>
              </a:ext>
            </a:extLst>
          </p:cNvPr>
          <p:cNvSpPr/>
          <p:nvPr userDrawn="1"/>
        </p:nvSpPr>
        <p:spPr>
          <a:xfrm>
            <a:off x="8669012" y="0"/>
            <a:ext cx="3522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6" name="Text Placeholder 14">
            <a:extLst>
              <a:ext uri="{FF2B5EF4-FFF2-40B4-BE49-F238E27FC236}">
                <a16:creationId xmlns:a16="http://schemas.microsoft.com/office/drawing/2014/main" id="{C9AB2BEF-683F-F24F-AE21-981C4D9D066D}"/>
              </a:ext>
            </a:extLst>
          </p:cNvPr>
          <p:cNvSpPr>
            <a:spLocks noGrp="1"/>
          </p:cNvSpPr>
          <p:nvPr>
            <p:ph type="body" sz="quarter" idx="17"/>
          </p:nvPr>
        </p:nvSpPr>
        <p:spPr>
          <a:xfrm>
            <a:off x="997512" y="2070616"/>
            <a:ext cx="3198770" cy="215444"/>
          </a:xfrm>
        </p:spPr>
        <p:txBody>
          <a:bodyPr wrap="square" anchor="t" anchorCtr="0">
            <a:spAutoFit/>
          </a:bodyPr>
          <a:lstStyle>
            <a:lvl1pPr marL="0" indent="0" eaLnBrk="1">
              <a:buNone/>
              <a:defRPr sz="1400" b="1">
                <a:latin typeface="+mn-lt"/>
              </a:defRPr>
            </a:lvl1pPr>
          </a:lstStyle>
          <a:p>
            <a:pPr lvl="0"/>
            <a:endParaRPr lang="en-GB"/>
          </a:p>
        </p:txBody>
      </p:sp>
      <p:sp>
        <p:nvSpPr>
          <p:cNvPr id="27" name="Text Placeholder 14">
            <a:extLst>
              <a:ext uri="{FF2B5EF4-FFF2-40B4-BE49-F238E27FC236}">
                <a16:creationId xmlns:a16="http://schemas.microsoft.com/office/drawing/2014/main" id="{5C0516EC-1321-6642-8AF2-DC4E3C2571FD}"/>
              </a:ext>
            </a:extLst>
          </p:cNvPr>
          <p:cNvSpPr>
            <a:spLocks noGrp="1"/>
          </p:cNvSpPr>
          <p:nvPr>
            <p:ph type="body" sz="quarter" idx="19" hasCustomPrompt="1"/>
          </p:nvPr>
        </p:nvSpPr>
        <p:spPr>
          <a:xfrm>
            <a:off x="4727080" y="2070616"/>
            <a:ext cx="3486091" cy="184666"/>
          </a:xfrm>
        </p:spPr>
        <p:txBody>
          <a:bodyPr wrap="square" anchor="t" anchorCtr="0">
            <a:spAutoFit/>
          </a:bodyPr>
          <a:lstStyle>
            <a:lvl1pPr marL="0" indent="0">
              <a:buNone/>
              <a:defRPr sz="1200" b="1" spc="300">
                <a:latin typeface="+mn-lt"/>
              </a:defRPr>
            </a:lvl1pPr>
          </a:lstStyle>
          <a:p>
            <a:pPr lvl="0"/>
            <a:r>
              <a:rPr lang="en-GB"/>
              <a:t>CORE ACTIVITIES:</a:t>
            </a:r>
          </a:p>
        </p:txBody>
      </p:sp>
      <p:sp>
        <p:nvSpPr>
          <p:cNvPr id="28" name="Text Placeholder 14">
            <a:extLst>
              <a:ext uri="{FF2B5EF4-FFF2-40B4-BE49-F238E27FC236}">
                <a16:creationId xmlns:a16="http://schemas.microsoft.com/office/drawing/2014/main" id="{45224A2F-35A2-514A-85D2-00198173A646}"/>
              </a:ext>
            </a:extLst>
          </p:cNvPr>
          <p:cNvSpPr>
            <a:spLocks noGrp="1"/>
          </p:cNvSpPr>
          <p:nvPr>
            <p:ph type="body" sz="quarter" idx="20"/>
          </p:nvPr>
        </p:nvSpPr>
        <p:spPr>
          <a:xfrm>
            <a:off x="4727080" y="2391041"/>
            <a:ext cx="3486091" cy="184666"/>
          </a:xfrm>
        </p:spPr>
        <p:txBody>
          <a:bodyPr wrap="square">
            <a:spAutoFit/>
          </a:bodyPr>
          <a:lstStyle>
            <a:lvl1pPr marL="0" indent="0" eaLnBrk="1">
              <a:lnSpc>
                <a:spcPct val="100000"/>
              </a:lnSpc>
              <a:spcBef>
                <a:spcPts val="600"/>
              </a:spcBef>
              <a:buFont typeface="Arial" panose="020B0604020202020204" pitchFamily="34" charset="0"/>
              <a:buNone/>
              <a:defRPr sz="1200" b="0" spc="0">
                <a:latin typeface="+mn-lt"/>
              </a:defRPr>
            </a:lvl1pPr>
          </a:lstStyle>
          <a:p>
            <a:pPr lvl="0"/>
            <a:endParaRPr lang="en-GB"/>
          </a:p>
        </p:txBody>
      </p:sp>
      <p:sp>
        <p:nvSpPr>
          <p:cNvPr id="31" name="Text Placeholder 14">
            <a:extLst>
              <a:ext uri="{FF2B5EF4-FFF2-40B4-BE49-F238E27FC236}">
                <a16:creationId xmlns:a16="http://schemas.microsoft.com/office/drawing/2014/main" id="{137C9F94-DC20-9A4A-A28F-FDA444F66B40}"/>
              </a:ext>
            </a:extLst>
          </p:cNvPr>
          <p:cNvSpPr>
            <a:spLocks noGrp="1"/>
          </p:cNvSpPr>
          <p:nvPr>
            <p:ph type="body" sz="quarter" idx="21" hasCustomPrompt="1"/>
          </p:nvPr>
        </p:nvSpPr>
        <p:spPr>
          <a:xfrm>
            <a:off x="4727080" y="4026506"/>
            <a:ext cx="3486091" cy="184666"/>
          </a:xfrm>
        </p:spPr>
        <p:txBody>
          <a:bodyPr wrap="square" anchor="t" anchorCtr="0">
            <a:spAutoFit/>
          </a:bodyPr>
          <a:lstStyle>
            <a:lvl1pPr marL="0" indent="0">
              <a:buNone/>
              <a:defRPr sz="1200" b="1" spc="300">
                <a:latin typeface="+mn-lt"/>
              </a:defRPr>
            </a:lvl1pPr>
          </a:lstStyle>
          <a:p>
            <a:pPr lvl="0"/>
            <a:r>
              <a:rPr lang="en-GB"/>
              <a:t>IMPACT:</a:t>
            </a:r>
          </a:p>
        </p:txBody>
      </p:sp>
      <p:sp>
        <p:nvSpPr>
          <p:cNvPr id="32" name="Text Placeholder 14">
            <a:extLst>
              <a:ext uri="{FF2B5EF4-FFF2-40B4-BE49-F238E27FC236}">
                <a16:creationId xmlns:a16="http://schemas.microsoft.com/office/drawing/2014/main" id="{5EEA61F7-80ED-D440-B33F-EAFA2F35DA1F}"/>
              </a:ext>
            </a:extLst>
          </p:cNvPr>
          <p:cNvSpPr>
            <a:spLocks noGrp="1"/>
          </p:cNvSpPr>
          <p:nvPr>
            <p:ph type="body" sz="quarter" idx="22"/>
          </p:nvPr>
        </p:nvSpPr>
        <p:spPr>
          <a:xfrm>
            <a:off x="4727080" y="4344455"/>
            <a:ext cx="3486091" cy="184666"/>
          </a:xfrm>
        </p:spPr>
        <p:txBody>
          <a:bodyPr wrap="square">
            <a:spAutoFit/>
          </a:bodyPr>
          <a:lstStyle>
            <a:lvl1pPr marL="0" indent="0" eaLnBrk="1">
              <a:lnSpc>
                <a:spcPct val="100000"/>
              </a:lnSpc>
              <a:spcBef>
                <a:spcPts val="600"/>
              </a:spcBef>
              <a:buFont typeface="Arial" panose="020B0604020202020204" pitchFamily="34" charset="0"/>
              <a:buNone/>
              <a:defRPr sz="1200" b="0" spc="0">
                <a:latin typeface="+mn-lt"/>
              </a:defRPr>
            </a:lvl1pPr>
          </a:lstStyle>
          <a:p>
            <a:pPr lvl="0"/>
            <a:endParaRPr lang="en-GB"/>
          </a:p>
        </p:txBody>
      </p:sp>
      <p:sp>
        <p:nvSpPr>
          <p:cNvPr id="36" name="Text Placeholder 14">
            <a:extLst>
              <a:ext uri="{FF2B5EF4-FFF2-40B4-BE49-F238E27FC236}">
                <a16:creationId xmlns:a16="http://schemas.microsoft.com/office/drawing/2014/main" id="{63FC7A06-94AA-4643-AECA-343E283FE546}"/>
              </a:ext>
            </a:extLst>
          </p:cNvPr>
          <p:cNvSpPr>
            <a:spLocks noGrp="1"/>
          </p:cNvSpPr>
          <p:nvPr>
            <p:ph type="body" sz="quarter" idx="23"/>
          </p:nvPr>
        </p:nvSpPr>
        <p:spPr>
          <a:xfrm>
            <a:off x="997512" y="2915824"/>
            <a:ext cx="3198770" cy="184666"/>
          </a:xfrm>
        </p:spPr>
        <p:txBody>
          <a:bodyPr wrap="square">
            <a:spAutoFit/>
          </a:bodyPr>
          <a:lstStyle>
            <a:lvl1pPr marL="0" indent="0" eaLnBrk="1">
              <a:lnSpc>
                <a:spcPct val="100000"/>
              </a:lnSpc>
              <a:spcBef>
                <a:spcPts val="600"/>
              </a:spcBef>
              <a:buNone/>
              <a:defRPr sz="1200" b="0">
                <a:latin typeface="+mn-lt"/>
              </a:defRPr>
            </a:lvl1pPr>
          </a:lstStyle>
          <a:p>
            <a:pPr lvl="0"/>
            <a:endParaRPr lang="en-GB"/>
          </a:p>
        </p:txBody>
      </p:sp>
      <p:sp>
        <p:nvSpPr>
          <p:cNvPr id="39" name="TextBox 38">
            <a:extLst>
              <a:ext uri="{FF2B5EF4-FFF2-40B4-BE49-F238E27FC236}">
                <a16:creationId xmlns:a16="http://schemas.microsoft.com/office/drawing/2014/main" id="{DB1C7748-E0AB-484B-BBAD-E2EE5E363929}"/>
              </a:ext>
            </a:extLst>
          </p:cNvPr>
          <p:cNvSpPr txBox="1"/>
          <p:nvPr userDrawn="1"/>
        </p:nvSpPr>
        <p:spPr>
          <a:xfrm>
            <a:off x="9054389" y="669544"/>
            <a:ext cx="1259083" cy="276999"/>
          </a:xfrm>
          <a:prstGeom prst="rect">
            <a:avLst/>
          </a:prstGeom>
          <a:noFill/>
          <a:effectLst/>
        </p:spPr>
        <p:txBody>
          <a:bodyPr wrap="square" lIns="0" rtlCol="0">
            <a:spAutoFit/>
          </a:bodyPr>
          <a:lstStyle/>
          <a:p>
            <a:r>
              <a:rPr lang="en-GB" sz="1200" spc="300">
                <a:latin typeface="Open Sans" panose="020B0606030504020204" pitchFamily="34" charset="0"/>
                <a:ea typeface="Open Sans" panose="020B0606030504020204" pitchFamily="34" charset="0"/>
                <a:cs typeface="Open Sans" panose="020B0606030504020204" pitchFamily="34" charset="0"/>
              </a:rPr>
              <a:t>LOCATION:</a:t>
            </a:r>
            <a:endParaRPr lang="en-GB" sz="300" spc="300">
              <a:latin typeface="Open Sans" panose="020B0606030504020204" pitchFamily="34" charset="0"/>
              <a:ea typeface="Open Sans" panose="020B0606030504020204" pitchFamily="34" charset="0"/>
              <a:cs typeface="Open Sans" panose="020B0606030504020204" pitchFamily="34" charset="0"/>
            </a:endParaRPr>
          </a:p>
        </p:txBody>
      </p:sp>
      <p:sp>
        <p:nvSpPr>
          <p:cNvPr id="43" name="TextBox 42">
            <a:extLst>
              <a:ext uri="{FF2B5EF4-FFF2-40B4-BE49-F238E27FC236}">
                <a16:creationId xmlns:a16="http://schemas.microsoft.com/office/drawing/2014/main" id="{D984E15C-ED1C-AB46-B160-034709C80401}"/>
              </a:ext>
            </a:extLst>
          </p:cNvPr>
          <p:cNvSpPr txBox="1"/>
          <p:nvPr userDrawn="1"/>
        </p:nvSpPr>
        <p:spPr>
          <a:xfrm>
            <a:off x="9054389" y="2894707"/>
            <a:ext cx="1935789" cy="400110"/>
          </a:xfrm>
          <a:prstGeom prst="rect">
            <a:avLst/>
          </a:prstGeom>
          <a:noFill/>
        </p:spPr>
        <p:txBody>
          <a:bodyPr wrap="square" lIns="0" tIns="0" rIns="0" bIns="0" rtlCol="0">
            <a:spAutoFit/>
          </a:bodyPr>
          <a:lstStyle/>
          <a:p>
            <a:pPr marL="0" marR="0" lvl="0" indent="0" defTabSz="914400" rtl="0" eaLnBrk="1" fontAlgn="auto" latinLnBrk="0" hangingPunct="1">
              <a:spcBef>
                <a:spcPts val="0"/>
              </a:spcBef>
              <a:spcAft>
                <a:spcPts val="0"/>
              </a:spcAft>
              <a:buClrTx/>
              <a:buSzTx/>
              <a:buFontTx/>
              <a:buNone/>
              <a:tabLst/>
              <a:defRPr/>
            </a:pPr>
            <a:r>
              <a:rPr lang="en-GB" sz="1200" spc="300">
                <a:latin typeface="Open Sans" panose="020B0606030504020204" pitchFamily="34" charset="0"/>
                <a:ea typeface="Open Sans" panose="020B0606030504020204" pitchFamily="34" charset="0"/>
                <a:cs typeface="Open Sans" panose="020B0606030504020204" pitchFamily="34" charset="0"/>
              </a:rPr>
              <a:t>DURATION:</a:t>
            </a:r>
            <a:r>
              <a:rPr kumimoji="0" lang="en-GB" sz="1400" u="none" strike="noStrike" kern="1200" cap="none" spc="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GB" sz="1400" u="none" strike="noStrike" kern="1200" cap="none" spc="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400" u="none" strike="noStrike" kern="1200" cap="none" spc="0" normalizeH="0" baseline="0">
              <a:ln>
                <a:noFill/>
              </a:ln>
              <a:effectLst/>
              <a:uLnTx/>
              <a:uFillTx/>
              <a:latin typeface="+mj-lt"/>
              <a:ea typeface="Open Sans" panose="020B0606030504020204" pitchFamily="34" charset="0"/>
              <a:cs typeface="Open Sans" panose="020B0606030504020204" pitchFamily="34" charset="0"/>
            </a:endParaRPr>
          </a:p>
        </p:txBody>
      </p:sp>
      <p:sp>
        <p:nvSpPr>
          <p:cNvPr id="44" name="Text Placeholder 14">
            <a:extLst>
              <a:ext uri="{FF2B5EF4-FFF2-40B4-BE49-F238E27FC236}">
                <a16:creationId xmlns:a16="http://schemas.microsoft.com/office/drawing/2014/main" id="{7738D22B-E9A1-CD4F-848C-D58CC13628F6}"/>
              </a:ext>
            </a:extLst>
          </p:cNvPr>
          <p:cNvSpPr>
            <a:spLocks noGrp="1"/>
          </p:cNvSpPr>
          <p:nvPr>
            <p:ph type="body" sz="quarter" idx="16" hasCustomPrompt="1"/>
          </p:nvPr>
        </p:nvSpPr>
        <p:spPr>
          <a:xfrm>
            <a:off x="9054389" y="930891"/>
            <a:ext cx="2065337" cy="369332"/>
          </a:xfrm>
        </p:spPr>
        <p:txBody>
          <a:bodyPr>
            <a:spAutoFit/>
          </a:bodyPr>
          <a:lstStyle>
            <a:lvl1pPr marL="0" indent="0">
              <a:buNone/>
              <a:defRPr sz="2400">
                <a:latin typeface="+mj-lt"/>
              </a:defRPr>
            </a:lvl1pPr>
          </a:lstStyle>
          <a:p>
            <a:pPr lvl="0"/>
            <a:r>
              <a:rPr lang="en-GB"/>
              <a:t>Country</a:t>
            </a:r>
          </a:p>
        </p:txBody>
      </p:sp>
      <p:sp>
        <p:nvSpPr>
          <p:cNvPr id="45" name="Text Placeholder 14">
            <a:extLst>
              <a:ext uri="{FF2B5EF4-FFF2-40B4-BE49-F238E27FC236}">
                <a16:creationId xmlns:a16="http://schemas.microsoft.com/office/drawing/2014/main" id="{A829EA51-5705-5141-88BB-63EEA346C0B4}"/>
              </a:ext>
            </a:extLst>
          </p:cNvPr>
          <p:cNvSpPr>
            <a:spLocks noGrp="1"/>
          </p:cNvSpPr>
          <p:nvPr>
            <p:ph type="body" sz="quarter" idx="25" hasCustomPrompt="1"/>
          </p:nvPr>
        </p:nvSpPr>
        <p:spPr>
          <a:xfrm>
            <a:off x="9054390" y="1528189"/>
            <a:ext cx="445219" cy="369332"/>
          </a:xfrm>
        </p:spPr>
        <p:txBody>
          <a:bodyPr wrap="square" anchor="b" anchorCtr="0">
            <a:spAutoFit/>
          </a:bodyPr>
          <a:lstStyle>
            <a:lvl1pPr marL="0" indent="0" algn="r">
              <a:buNone/>
              <a:defRPr sz="2400">
                <a:latin typeface="+mj-lt"/>
              </a:defRPr>
            </a:lvl1pPr>
          </a:lstStyle>
          <a:p>
            <a:pPr lvl="0"/>
            <a:r>
              <a:rPr lang="en-GB"/>
              <a:t>00</a:t>
            </a:r>
          </a:p>
        </p:txBody>
      </p:sp>
      <p:sp>
        <p:nvSpPr>
          <p:cNvPr id="46" name="Text Placeholder 14">
            <a:extLst>
              <a:ext uri="{FF2B5EF4-FFF2-40B4-BE49-F238E27FC236}">
                <a16:creationId xmlns:a16="http://schemas.microsoft.com/office/drawing/2014/main" id="{C62F8811-8552-CA42-9724-CC4EA892D822}"/>
              </a:ext>
            </a:extLst>
          </p:cNvPr>
          <p:cNvSpPr>
            <a:spLocks noGrp="1"/>
          </p:cNvSpPr>
          <p:nvPr>
            <p:ph type="body" sz="quarter" idx="26" hasCustomPrompt="1"/>
          </p:nvPr>
        </p:nvSpPr>
        <p:spPr>
          <a:xfrm>
            <a:off x="9054390" y="2194750"/>
            <a:ext cx="445220" cy="369332"/>
          </a:xfrm>
        </p:spPr>
        <p:txBody>
          <a:bodyPr wrap="square" anchor="b" anchorCtr="0">
            <a:spAutoFit/>
          </a:bodyPr>
          <a:lstStyle>
            <a:lvl1pPr marL="0" indent="0" algn="r">
              <a:buNone/>
              <a:defRPr sz="2400">
                <a:latin typeface="+mj-lt"/>
              </a:defRPr>
            </a:lvl1pPr>
          </a:lstStyle>
          <a:p>
            <a:pPr lvl="0"/>
            <a:r>
              <a:rPr lang="en-GB"/>
              <a:t>00</a:t>
            </a:r>
          </a:p>
        </p:txBody>
      </p:sp>
      <p:sp>
        <p:nvSpPr>
          <p:cNvPr id="47" name="Text Placeholder 14">
            <a:extLst>
              <a:ext uri="{FF2B5EF4-FFF2-40B4-BE49-F238E27FC236}">
                <a16:creationId xmlns:a16="http://schemas.microsoft.com/office/drawing/2014/main" id="{DF2B9E0F-CEF9-0541-938A-22D08D521D7F}"/>
              </a:ext>
            </a:extLst>
          </p:cNvPr>
          <p:cNvSpPr>
            <a:spLocks noGrp="1"/>
          </p:cNvSpPr>
          <p:nvPr>
            <p:ph type="body" sz="quarter" idx="27"/>
          </p:nvPr>
        </p:nvSpPr>
        <p:spPr>
          <a:xfrm>
            <a:off x="9556526" y="1595686"/>
            <a:ext cx="1620116" cy="138499"/>
          </a:xfrm>
        </p:spPr>
        <p:txBody>
          <a:bodyPr wrap="square" anchor="t" anchorCtr="0">
            <a:spAutoFit/>
          </a:bodyPr>
          <a:lstStyle>
            <a:lvl1pPr marL="0" indent="0" eaLnBrk="1">
              <a:lnSpc>
                <a:spcPct val="90000"/>
              </a:lnSpc>
              <a:spcBef>
                <a:spcPts val="0"/>
              </a:spcBef>
              <a:buNone/>
              <a:defRPr sz="10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endParaRPr lang="en-GB"/>
          </a:p>
        </p:txBody>
      </p:sp>
      <p:sp>
        <p:nvSpPr>
          <p:cNvPr id="48" name="Text Placeholder 14">
            <a:extLst>
              <a:ext uri="{FF2B5EF4-FFF2-40B4-BE49-F238E27FC236}">
                <a16:creationId xmlns:a16="http://schemas.microsoft.com/office/drawing/2014/main" id="{532E5987-E224-E545-B14A-77EF91E8A73E}"/>
              </a:ext>
            </a:extLst>
          </p:cNvPr>
          <p:cNvSpPr>
            <a:spLocks noGrp="1"/>
          </p:cNvSpPr>
          <p:nvPr>
            <p:ph type="body" sz="quarter" idx="28"/>
          </p:nvPr>
        </p:nvSpPr>
        <p:spPr>
          <a:xfrm>
            <a:off x="9556526" y="2262247"/>
            <a:ext cx="1620116" cy="138499"/>
          </a:xfrm>
        </p:spPr>
        <p:txBody>
          <a:bodyPr wrap="square" anchor="t" anchorCtr="0">
            <a:spAutoFit/>
          </a:bodyPr>
          <a:lstStyle>
            <a:lvl1pPr marL="0" indent="0" eaLnBrk="1">
              <a:lnSpc>
                <a:spcPct val="90000"/>
              </a:lnSpc>
              <a:spcBef>
                <a:spcPts val="0"/>
              </a:spcBef>
              <a:buNone/>
              <a:defRPr sz="10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endParaRPr lang="en-GB"/>
          </a:p>
        </p:txBody>
      </p:sp>
      <p:grpSp>
        <p:nvGrpSpPr>
          <p:cNvPr id="49" name="Group 48">
            <a:extLst>
              <a:ext uri="{FF2B5EF4-FFF2-40B4-BE49-F238E27FC236}">
                <a16:creationId xmlns:a16="http://schemas.microsoft.com/office/drawing/2014/main" id="{632D908D-774F-4848-9532-119A65B1A8FA}"/>
              </a:ext>
            </a:extLst>
          </p:cNvPr>
          <p:cNvGrpSpPr>
            <a:grpSpLocks noChangeAspect="1"/>
          </p:cNvGrpSpPr>
          <p:nvPr userDrawn="1"/>
        </p:nvGrpSpPr>
        <p:grpSpPr>
          <a:xfrm>
            <a:off x="9054389" y="3133257"/>
            <a:ext cx="690978" cy="690978"/>
            <a:chOff x="5089526" y="5137785"/>
            <a:chExt cx="255588" cy="255588"/>
          </a:xfrm>
        </p:grpSpPr>
        <p:sp>
          <p:nvSpPr>
            <p:cNvPr id="50" name="Freeform 177">
              <a:extLst>
                <a:ext uri="{FF2B5EF4-FFF2-40B4-BE49-F238E27FC236}">
                  <a16:creationId xmlns:a16="http://schemas.microsoft.com/office/drawing/2014/main" id="{BFC3D64A-760F-6D43-9D57-7B01906D8950}"/>
                </a:ext>
              </a:extLst>
            </p:cNvPr>
            <p:cNvSpPr>
              <a:spLocks/>
            </p:cNvSpPr>
            <p:nvPr/>
          </p:nvSpPr>
          <p:spPr bwMode="auto">
            <a:xfrm>
              <a:off x="5143501" y="5137785"/>
              <a:ext cx="17463" cy="58738"/>
            </a:xfrm>
            <a:custGeom>
              <a:avLst/>
              <a:gdLst>
                <a:gd name="T0" fmla="*/ 5 w 21"/>
                <a:gd name="T1" fmla="*/ 72 h 72"/>
                <a:gd name="T2" fmla="*/ 16 w 21"/>
                <a:gd name="T3" fmla="*/ 72 h 72"/>
                <a:gd name="T4" fmla="*/ 16 w 21"/>
                <a:gd name="T5" fmla="*/ 72 h 72"/>
                <a:gd name="T6" fmla="*/ 17 w 21"/>
                <a:gd name="T7" fmla="*/ 72 h 72"/>
                <a:gd name="T8" fmla="*/ 19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9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9" y="71"/>
                  </a:lnTo>
                  <a:lnTo>
                    <a:pt x="20" y="70"/>
                  </a:lnTo>
                  <a:lnTo>
                    <a:pt x="21" y="67"/>
                  </a:lnTo>
                  <a:lnTo>
                    <a:pt x="21" y="5"/>
                  </a:lnTo>
                  <a:lnTo>
                    <a:pt x="21" y="5"/>
                  </a:lnTo>
                  <a:lnTo>
                    <a:pt x="20" y="4"/>
                  </a:lnTo>
                  <a:lnTo>
                    <a:pt x="19"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1" name="Freeform 178">
              <a:extLst>
                <a:ext uri="{FF2B5EF4-FFF2-40B4-BE49-F238E27FC236}">
                  <a16:creationId xmlns:a16="http://schemas.microsoft.com/office/drawing/2014/main" id="{6BD78AF3-5019-ED4F-949C-EE752D1066C4}"/>
                </a:ext>
              </a:extLst>
            </p:cNvPr>
            <p:cNvSpPr>
              <a:spLocks/>
            </p:cNvSpPr>
            <p:nvPr/>
          </p:nvSpPr>
          <p:spPr bwMode="auto">
            <a:xfrm>
              <a:off x="5275263" y="5137785"/>
              <a:ext cx="15875" cy="58738"/>
            </a:xfrm>
            <a:custGeom>
              <a:avLst/>
              <a:gdLst>
                <a:gd name="T0" fmla="*/ 6 w 22"/>
                <a:gd name="T1" fmla="*/ 72 h 72"/>
                <a:gd name="T2" fmla="*/ 16 w 22"/>
                <a:gd name="T3" fmla="*/ 72 h 72"/>
                <a:gd name="T4" fmla="*/ 16 w 22"/>
                <a:gd name="T5" fmla="*/ 72 h 72"/>
                <a:gd name="T6" fmla="*/ 18 w 22"/>
                <a:gd name="T7" fmla="*/ 72 h 72"/>
                <a:gd name="T8" fmla="*/ 20 w 22"/>
                <a:gd name="T9" fmla="*/ 71 h 72"/>
                <a:gd name="T10" fmla="*/ 20 w 22"/>
                <a:gd name="T11" fmla="*/ 70 h 72"/>
                <a:gd name="T12" fmla="*/ 22 w 22"/>
                <a:gd name="T13" fmla="*/ 67 h 72"/>
                <a:gd name="T14" fmla="*/ 22 w 22"/>
                <a:gd name="T15" fmla="*/ 5 h 72"/>
                <a:gd name="T16" fmla="*/ 22 w 22"/>
                <a:gd name="T17" fmla="*/ 5 h 72"/>
                <a:gd name="T18" fmla="*/ 20 w 22"/>
                <a:gd name="T19" fmla="*/ 4 h 72"/>
                <a:gd name="T20" fmla="*/ 20 w 22"/>
                <a:gd name="T21" fmla="*/ 2 h 72"/>
                <a:gd name="T22" fmla="*/ 18 w 22"/>
                <a:gd name="T23" fmla="*/ 1 h 72"/>
                <a:gd name="T24" fmla="*/ 16 w 22"/>
                <a:gd name="T25" fmla="*/ 0 h 72"/>
                <a:gd name="T26" fmla="*/ 6 w 22"/>
                <a:gd name="T27" fmla="*/ 0 h 72"/>
                <a:gd name="T28" fmla="*/ 6 w 22"/>
                <a:gd name="T29" fmla="*/ 0 h 72"/>
                <a:gd name="T30" fmla="*/ 4 w 22"/>
                <a:gd name="T31" fmla="*/ 1 h 72"/>
                <a:gd name="T32" fmla="*/ 3 w 22"/>
                <a:gd name="T33" fmla="*/ 2 h 72"/>
                <a:gd name="T34" fmla="*/ 1 w 22"/>
                <a:gd name="T35" fmla="*/ 4 h 72"/>
                <a:gd name="T36" fmla="*/ 0 w 22"/>
                <a:gd name="T37" fmla="*/ 5 h 72"/>
                <a:gd name="T38" fmla="*/ 0 w 22"/>
                <a:gd name="T39" fmla="*/ 67 h 72"/>
                <a:gd name="T40" fmla="*/ 0 w 22"/>
                <a:gd name="T41" fmla="*/ 67 h 72"/>
                <a:gd name="T42" fmla="*/ 1 w 22"/>
                <a:gd name="T43" fmla="*/ 70 h 72"/>
                <a:gd name="T44" fmla="*/ 3 w 22"/>
                <a:gd name="T45" fmla="*/ 71 h 72"/>
                <a:gd name="T46" fmla="*/ 4 w 22"/>
                <a:gd name="T47" fmla="*/ 72 h 72"/>
                <a:gd name="T48" fmla="*/ 6 w 22"/>
                <a:gd name="T49" fmla="*/ 72 h 72"/>
                <a:gd name="T50" fmla="*/ 6 w 22"/>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72">
                  <a:moveTo>
                    <a:pt x="6" y="72"/>
                  </a:moveTo>
                  <a:lnTo>
                    <a:pt x="16" y="72"/>
                  </a:lnTo>
                  <a:lnTo>
                    <a:pt x="16" y="72"/>
                  </a:lnTo>
                  <a:lnTo>
                    <a:pt x="18" y="72"/>
                  </a:lnTo>
                  <a:lnTo>
                    <a:pt x="20" y="71"/>
                  </a:lnTo>
                  <a:lnTo>
                    <a:pt x="20" y="70"/>
                  </a:lnTo>
                  <a:lnTo>
                    <a:pt x="22" y="67"/>
                  </a:lnTo>
                  <a:lnTo>
                    <a:pt x="22" y="5"/>
                  </a:lnTo>
                  <a:lnTo>
                    <a:pt x="22" y="5"/>
                  </a:lnTo>
                  <a:lnTo>
                    <a:pt x="20" y="4"/>
                  </a:lnTo>
                  <a:lnTo>
                    <a:pt x="20" y="2"/>
                  </a:lnTo>
                  <a:lnTo>
                    <a:pt x="18" y="1"/>
                  </a:lnTo>
                  <a:lnTo>
                    <a:pt x="16" y="0"/>
                  </a:lnTo>
                  <a:lnTo>
                    <a:pt x="6" y="0"/>
                  </a:lnTo>
                  <a:lnTo>
                    <a:pt x="6" y="0"/>
                  </a:lnTo>
                  <a:lnTo>
                    <a:pt x="4" y="1"/>
                  </a:lnTo>
                  <a:lnTo>
                    <a:pt x="3" y="2"/>
                  </a:lnTo>
                  <a:lnTo>
                    <a:pt x="1" y="4"/>
                  </a:lnTo>
                  <a:lnTo>
                    <a:pt x="0" y="5"/>
                  </a:lnTo>
                  <a:lnTo>
                    <a:pt x="0" y="67"/>
                  </a:lnTo>
                  <a:lnTo>
                    <a:pt x="0" y="67"/>
                  </a:lnTo>
                  <a:lnTo>
                    <a:pt x="1" y="70"/>
                  </a:lnTo>
                  <a:lnTo>
                    <a:pt x="3" y="71"/>
                  </a:lnTo>
                  <a:lnTo>
                    <a:pt x="4" y="72"/>
                  </a:lnTo>
                  <a:lnTo>
                    <a:pt x="6" y="72"/>
                  </a:lnTo>
                  <a:lnTo>
                    <a:pt x="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2" name="Freeform 179">
              <a:extLst>
                <a:ext uri="{FF2B5EF4-FFF2-40B4-BE49-F238E27FC236}">
                  <a16:creationId xmlns:a16="http://schemas.microsoft.com/office/drawing/2014/main" id="{BF55B000-DF58-E84F-97F1-EE36CEB268A9}"/>
                </a:ext>
              </a:extLst>
            </p:cNvPr>
            <p:cNvSpPr>
              <a:spLocks noEditPoints="1"/>
            </p:cNvSpPr>
            <p:nvPr/>
          </p:nvSpPr>
          <p:spPr bwMode="auto">
            <a:xfrm>
              <a:off x="5089526" y="5164773"/>
              <a:ext cx="255588" cy="228600"/>
            </a:xfrm>
            <a:custGeom>
              <a:avLst/>
              <a:gdLst>
                <a:gd name="T0" fmla="*/ 264 w 321"/>
                <a:gd name="T1" fmla="*/ 0 h 289"/>
                <a:gd name="T2" fmla="*/ 264 w 321"/>
                <a:gd name="T3" fmla="*/ 46 h 289"/>
                <a:gd name="T4" fmla="*/ 262 w 321"/>
                <a:gd name="T5" fmla="*/ 50 h 289"/>
                <a:gd name="T6" fmla="*/ 259 w 321"/>
                <a:gd name="T7" fmla="*/ 51 h 289"/>
                <a:gd name="T8" fmla="*/ 228 w 321"/>
                <a:gd name="T9" fmla="*/ 51 h 289"/>
                <a:gd name="T10" fmla="*/ 224 w 321"/>
                <a:gd name="T11" fmla="*/ 50 h 289"/>
                <a:gd name="T12" fmla="*/ 223 w 321"/>
                <a:gd name="T13" fmla="*/ 46 h 289"/>
                <a:gd name="T14" fmla="*/ 98 w 321"/>
                <a:gd name="T15" fmla="*/ 0 h 289"/>
                <a:gd name="T16" fmla="*/ 98 w 321"/>
                <a:gd name="T17" fmla="*/ 46 h 289"/>
                <a:gd name="T18" fmla="*/ 96 w 321"/>
                <a:gd name="T19" fmla="*/ 50 h 289"/>
                <a:gd name="T20" fmla="*/ 92 w 321"/>
                <a:gd name="T21" fmla="*/ 51 h 289"/>
                <a:gd name="T22" fmla="*/ 61 w 321"/>
                <a:gd name="T23" fmla="*/ 51 h 289"/>
                <a:gd name="T24" fmla="*/ 59 w 321"/>
                <a:gd name="T25" fmla="*/ 50 h 289"/>
                <a:gd name="T26" fmla="*/ 56 w 321"/>
                <a:gd name="T27" fmla="*/ 46 h 289"/>
                <a:gd name="T28" fmla="*/ 10 w 321"/>
                <a:gd name="T29" fmla="*/ 0 h 289"/>
                <a:gd name="T30" fmla="*/ 6 w 321"/>
                <a:gd name="T31" fmla="*/ 0 h 289"/>
                <a:gd name="T32" fmla="*/ 1 w 321"/>
                <a:gd name="T33" fmla="*/ 5 h 289"/>
                <a:gd name="T34" fmla="*/ 0 w 321"/>
                <a:gd name="T35" fmla="*/ 278 h 289"/>
                <a:gd name="T36" fmla="*/ 1 w 321"/>
                <a:gd name="T37" fmla="*/ 282 h 289"/>
                <a:gd name="T38" fmla="*/ 6 w 321"/>
                <a:gd name="T39" fmla="*/ 289 h 289"/>
                <a:gd name="T40" fmla="*/ 310 w 321"/>
                <a:gd name="T41" fmla="*/ 289 h 289"/>
                <a:gd name="T42" fmla="*/ 314 w 321"/>
                <a:gd name="T43" fmla="*/ 289 h 289"/>
                <a:gd name="T44" fmla="*/ 319 w 321"/>
                <a:gd name="T45" fmla="*/ 282 h 289"/>
                <a:gd name="T46" fmla="*/ 321 w 321"/>
                <a:gd name="T47" fmla="*/ 9 h 289"/>
                <a:gd name="T48" fmla="*/ 319 w 321"/>
                <a:gd name="T49" fmla="*/ 5 h 289"/>
                <a:gd name="T50" fmla="*/ 314 w 321"/>
                <a:gd name="T51" fmla="*/ 0 h 289"/>
                <a:gd name="T52" fmla="*/ 310 w 321"/>
                <a:gd name="T53" fmla="*/ 0 h 289"/>
                <a:gd name="T54" fmla="*/ 299 w 321"/>
                <a:gd name="T55" fmla="*/ 264 h 289"/>
                <a:gd name="T56" fmla="*/ 298 w 321"/>
                <a:gd name="T57" fmla="*/ 266 h 289"/>
                <a:gd name="T58" fmla="*/ 294 w 321"/>
                <a:gd name="T59" fmla="*/ 268 h 289"/>
                <a:gd name="T60" fmla="*/ 27 w 321"/>
                <a:gd name="T61" fmla="*/ 268 h 289"/>
                <a:gd name="T62" fmla="*/ 22 w 321"/>
                <a:gd name="T63" fmla="*/ 266 h 289"/>
                <a:gd name="T64" fmla="*/ 21 w 321"/>
                <a:gd name="T65" fmla="*/ 264 h 289"/>
                <a:gd name="T66" fmla="*/ 21 w 321"/>
                <a:gd name="T67" fmla="*/ 87 h 289"/>
                <a:gd name="T68" fmla="*/ 22 w 321"/>
                <a:gd name="T69" fmla="*/ 83 h 289"/>
                <a:gd name="T70" fmla="*/ 27 w 321"/>
                <a:gd name="T71" fmla="*/ 82 h 289"/>
                <a:gd name="T72" fmla="*/ 294 w 321"/>
                <a:gd name="T73" fmla="*/ 82 h 289"/>
                <a:gd name="T74" fmla="*/ 298 w 321"/>
                <a:gd name="T75" fmla="*/ 83 h 289"/>
                <a:gd name="T76" fmla="*/ 299 w 321"/>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289">
                  <a:moveTo>
                    <a:pt x="310" y="0"/>
                  </a:moveTo>
                  <a:lnTo>
                    <a:pt x="264" y="0"/>
                  </a:lnTo>
                  <a:lnTo>
                    <a:pt x="264" y="46"/>
                  </a:lnTo>
                  <a:lnTo>
                    <a:pt x="264" y="46"/>
                  </a:lnTo>
                  <a:lnTo>
                    <a:pt x="263" y="48"/>
                  </a:lnTo>
                  <a:lnTo>
                    <a:pt x="262" y="50"/>
                  </a:lnTo>
                  <a:lnTo>
                    <a:pt x="260" y="51"/>
                  </a:lnTo>
                  <a:lnTo>
                    <a:pt x="259" y="51"/>
                  </a:lnTo>
                  <a:lnTo>
                    <a:pt x="228" y="51"/>
                  </a:lnTo>
                  <a:lnTo>
                    <a:pt x="228" y="51"/>
                  </a:lnTo>
                  <a:lnTo>
                    <a:pt x="225" y="51"/>
                  </a:lnTo>
                  <a:lnTo>
                    <a:pt x="224" y="50"/>
                  </a:lnTo>
                  <a:lnTo>
                    <a:pt x="223" y="48"/>
                  </a:lnTo>
                  <a:lnTo>
                    <a:pt x="223" y="46"/>
                  </a:lnTo>
                  <a:lnTo>
                    <a:pt x="223" y="0"/>
                  </a:lnTo>
                  <a:lnTo>
                    <a:pt x="98" y="0"/>
                  </a:lnTo>
                  <a:lnTo>
                    <a:pt x="98" y="46"/>
                  </a:lnTo>
                  <a:lnTo>
                    <a:pt x="98" y="46"/>
                  </a:lnTo>
                  <a:lnTo>
                    <a:pt x="98" y="48"/>
                  </a:lnTo>
                  <a:lnTo>
                    <a:pt x="96" y="50"/>
                  </a:lnTo>
                  <a:lnTo>
                    <a:pt x="95" y="51"/>
                  </a:lnTo>
                  <a:lnTo>
                    <a:pt x="92" y="51"/>
                  </a:lnTo>
                  <a:lnTo>
                    <a:pt x="61" y="51"/>
                  </a:lnTo>
                  <a:lnTo>
                    <a:pt x="61" y="51"/>
                  </a:lnTo>
                  <a:lnTo>
                    <a:pt x="60" y="51"/>
                  </a:lnTo>
                  <a:lnTo>
                    <a:pt x="59" y="50"/>
                  </a:lnTo>
                  <a:lnTo>
                    <a:pt x="57" y="48"/>
                  </a:lnTo>
                  <a:lnTo>
                    <a:pt x="56" y="46"/>
                  </a:lnTo>
                  <a:lnTo>
                    <a:pt x="56" y="0"/>
                  </a:lnTo>
                  <a:lnTo>
                    <a:pt x="10" y="0"/>
                  </a:lnTo>
                  <a:lnTo>
                    <a:pt x="10" y="0"/>
                  </a:lnTo>
                  <a:lnTo>
                    <a:pt x="6" y="0"/>
                  </a:lnTo>
                  <a:lnTo>
                    <a:pt x="2" y="3"/>
                  </a:lnTo>
                  <a:lnTo>
                    <a:pt x="1" y="5"/>
                  </a:lnTo>
                  <a:lnTo>
                    <a:pt x="0" y="9"/>
                  </a:lnTo>
                  <a:lnTo>
                    <a:pt x="0" y="278"/>
                  </a:lnTo>
                  <a:lnTo>
                    <a:pt x="0" y="278"/>
                  </a:lnTo>
                  <a:lnTo>
                    <a:pt x="1" y="282"/>
                  </a:lnTo>
                  <a:lnTo>
                    <a:pt x="2" y="286"/>
                  </a:lnTo>
                  <a:lnTo>
                    <a:pt x="6" y="289"/>
                  </a:lnTo>
                  <a:lnTo>
                    <a:pt x="10" y="289"/>
                  </a:lnTo>
                  <a:lnTo>
                    <a:pt x="310" y="289"/>
                  </a:lnTo>
                  <a:lnTo>
                    <a:pt x="310" y="289"/>
                  </a:lnTo>
                  <a:lnTo>
                    <a:pt x="314" y="289"/>
                  </a:lnTo>
                  <a:lnTo>
                    <a:pt x="318" y="286"/>
                  </a:lnTo>
                  <a:lnTo>
                    <a:pt x="319" y="282"/>
                  </a:lnTo>
                  <a:lnTo>
                    <a:pt x="321" y="278"/>
                  </a:lnTo>
                  <a:lnTo>
                    <a:pt x="321" y="9"/>
                  </a:lnTo>
                  <a:lnTo>
                    <a:pt x="321" y="9"/>
                  </a:lnTo>
                  <a:lnTo>
                    <a:pt x="319" y="5"/>
                  </a:lnTo>
                  <a:lnTo>
                    <a:pt x="318" y="3"/>
                  </a:lnTo>
                  <a:lnTo>
                    <a:pt x="314" y="0"/>
                  </a:lnTo>
                  <a:lnTo>
                    <a:pt x="310" y="0"/>
                  </a:lnTo>
                  <a:lnTo>
                    <a:pt x="310" y="0"/>
                  </a:lnTo>
                  <a:close/>
                  <a:moveTo>
                    <a:pt x="299" y="264"/>
                  </a:moveTo>
                  <a:lnTo>
                    <a:pt x="299" y="264"/>
                  </a:lnTo>
                  <a:lnTo>
                    <a:pt x="299" y="265"/>
                  </a:lnTo>
                  <a:lnTo>
                    <a:pt x="298" y="266"/>
                  </a:lnTo>
                  <a:lnTo>
                    <a:pt x="297" y="268"/>
                  </a:lnTo>
                  <a:lnTo>
                    <a:pt x="294" y="268"/>
                  </a:lnTo>
                  <a:lnTo>
                    <a:pt x="27" y="268"/>
                  </a:lnTo>
                  <a:lnTo>
                    <a:pt x="27" y="268"/>
                  </a:lnTo>
                  <a:lnTo>
                    <a:pt x="24" y="268"/>
                  </a:lnTo>
                  <a:lnTo>
                    <a:pt x="22" y="266"/>
                  </a:lnTo>
                  <a:lnTo>
                    <a:pt x="21" y="265"/>
                  </a:lnTo>
                  <a:lnTo>
                    <a:pt x="21" y="264"/>
                  </a:lnTo>
                  <a:lnTo>
                    <a:pt x="21" y="87"/>
                  </a:lnTo>
                  <a:lnTo>
                    <a:pt x="21" y="87"/>
                  </a:lnTo>
                  <a:lnTo>
                    <a:pt x="21" y="85"/>
                  </a:lnTo>
                  <a:lnTo>
                    <a:pt x="22" y="83"/>
                  </a:lnTo>
                  <a:lnTo>
                    <a:pt x="24" y="82"/>
                  </a:lnTo>
                  <a:lnTo>
                    <a:pt x="27" y="82"/>
                  </a:lnTo>
                  <a:lnTo>
                    <a:pt x="294" y="82"/>
                  </a:lnTo>
                  <a:lnTo>
                    <a:pt x="294" y="82"/>
                  </a:lnTo>
                  <a:lnTo>
                    <a:pt x="297" y="82"/>
                  </a:lnTo>
                  <a:lnTo>
                    <a:pt x="298" y="83"/>
                  </a:lnTo>
                  <a:lnTo>
                    <a:pt x="299" y="85"/>
                  </a:lnTo>
                  <a:lnTo>
                    <a:pt x="299" y="87"/>
                  </a:lnTo>
                  <a:lnTo>
                    <a:pt x="299"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sp>
        <p:nvSpPr>
          <p:cNvPr id="54" name="Text Placeholder 14">
            <a:extLst>
              <a:ext uri="{FF2B5EF4-FFF2-40B4-BE49-F238E27FC236}">
                <a16:creationId xmlns:a16="http://schemas.microsoft.com/office/drawing/2014/main" id="{53A2259F-7488-F644-84FC-F31FF5CA47AC}"/>
              </a:ext>
            </a:extLst>
          </p:cNvPr>
          <p:cNvSpPr>
            <a:spLocks noGrp="1"/>
          </p:cNvSpPr>
          <p:nvPr>
            <p:ph type="body" sz="quarter" idx="24" hasCustomPrompt="1"/>
          </p:nvPr>
        </p:nvSpPr>
        <p:spPr>
          <a:xfrm>
            <a:off x="9205676" y="3390627"/>
            <a:ext cx="539691" cy="369332"/>
          </a:xfrm>
        </p:spPr>
        <p:txBody>
          <a:bodyPr wrap="square">
            <a:spAutoFit/>
          </a:bodyPr>
          <a:lstStyle>
            <a:lvl1pPr marL="0" indent="0">
              <a:buNone/>
              <a:defRPr sz="2400">
                <a:latin typeface="+mj-lt"/>
              </a:defRPr>
            </a:lvl1pPr>
          </a:lstStyle>
          <a:p>
            <a:pPr lvl="0"/>
            <a:r>
              <a:rPr lang="en-GB"/>
              <a:t>00</a:t>
            </a:r>
          </a:p>
        </p:txBody>
      </p:sp>
    </p:spTree>
    <p:extLst>
      <p:ext uri="{BB962C8B-B14F-4D97-AF65-F5344CB8AC3E}">
        <p14:creationId xmlns:p14="http://schemas.microsoft.com/office/powerpoint/2010/main" val="22017973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gital Migration - Qual Green">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2162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3"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CDEA418-E5B5-3444-8318-2EB7F91DB884}"/>
              </a:ext>
            </a:extLst>
          </p:cNvPr>
          <p:cNvSpPr/>
          <p:nvPr userDrawn="1"/>
        </p:nvSpPr>
        <p:spPr>
          <a:xfrm>
            <a:off x="775767" y="1836797"/>
            <a:ext cx="3634187" cy="4274636"/>
          </a:xfrm>
          <a:prstGeom prst="rect">
            <a:avLst/>
          </a:prstGeom>
          <a:solidFill>
            <a:schemeClr val="bg1"/>
          </a:solidFill>
          <a:ln>
            <a:noFill/>
          </a:ln>
          <a:effectLst>
            <a:outerShdw blurRad="63500" sx="101000" sy="101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 name="Title 1"/>
          <p:cNvSpPr>
            <a:spLocks noGrp="1"/>
          </p:cNvSpPr>
          <p:nvPr>
            <p:ph type="title"/>
          </p:nvPr>
        </p:nvSpPr>
        <p:spPr>
          <a:xfrm>
            <a:off x="914400" y="694944"/>
            <a:ext cx="7754613" cy="594360"/>
          </a:xfrm>
        </p:spPr>
        <p:txBody>
          <a:bodyPr vert="horz" lIns="0" tIns="45720" rIns="0" bIns="0" rtlCol="0" anchor="b" anchorCtr="0">
            <a:noAutofit/>
          </a:bodyPr>
          <a:lstStyle>
            <a:lvl1pPr>
              <a:defRPr lang="en-US" sz="2800" spc="-75" dirty="0">
                <a:latin typeface="+mj-lt"/>
              </a:defRPr>
            </a:lvl1pPr>
          </a:lstStyle>
          <a:p>
            <a:pPr lvl="0" defTabSz="685800">
              <a:lnSpc>
                <a:spcPct val="85000"/>
              </a:lnSpc>
            </a:pPr>
            <a:r>
              <a:rPr lang="en-GB"/>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
        <p:nvSpPr>
          <p:cNvPr id="6" name="Rectangle 5">
            <a:extLst>
              <a:ext uri="{FF2B5EF4-FFF2-40B4-BE49-F238E27FC236}">
                <a16:creationId xmlns:a16="http://schemas.microsoft.com/office/drawing/2014/main" id="{C8333F40-6DE4-4F46-884A-BCBBAD8C15F5}"/>
              </a:ext>
            </a:extLst>
          </p:cNvPr>
          <p:cNvSpPr/>
          <p:nvPr userDrawn="1"/>
        </p:nvSpPr>
        <p:spPr>
          <a:xfrm>
            <a:off x="8669012" y="0"/>
            <a:ext cx="3522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6" name="Text Placeholder 14">
            <a:extLst>
              <a:ext uri="{FF2B5EF4-FFF2-40B4-BE49-F238E27FC236}">
                <a16:creationId xmlns:a16="http://schemas.microsoft.com/office/drawing/2014/main" id="{5679E918-2E29-7A4B-8FE1-9DC1861C1644}"/>
              </a:ext>
            </a:extLst>
          </p:cNvPr>
          <p:cNvSpPr>
            <a:spLocks noGrp="1"/>
          </p:cNvSpPr>
          <p:nvPr>
            <p:ph type="body" sz="quarter" idx="17"/>
          </p:nvPr>
        </p:nvSpPr>
        <p:spPr>
          <a:xfrm>
            <a:off x="997512" y="2070616"/>
            <a:ext cx="3198770" cy="215444"/>
          </a:xfrm>
        </p:spPr>
        <p:txBody>
          <a:bodyPr wrap="square" anchor="t" anchorCtr="0">
            <a:spAutoFit/>
          </a:bodyPr>
          <a:lstStyle>
            <a:lvl1pPr marL="0" indent="0" eaLnBrk="1">
              <a:buNone/>
              <a:defRPr sz="1400" b="1">
                <a:latin typeface="+mn-lt"/>
              </a:defRPr>
            </a:lvl1pPr>
          </a:lstStyle>
          <a:p>
            <a:pPr lvl="0"/>
            <a:endParaRPr lang="en-GB"/>
          </a:p>
        </p:txBody>
      </p:sp>
      <p:sp>
        <p:nvSpPr>
          <p:cNvPr id="27" name="Text Placeholder 14">
            <a:extLst>
              <a:ext uri="{FF2B5EF4-FFF2-40B4-BE49-F238E27FC236}">
                <a16:creationId xmlns:a16="http://schemas.microsoft.com/office/drawing/2014/main" id="{8C465A8E-597F-9349-BC17-7186A8EEDD0A}"/>
              </a:ext>
            </a:extLst>
          </p:cNvPr>
          <p:cNvSpPr>
            <a:spLocks noGrp="1"/>
          </p:cNvSpPr>
          <p:nvPr>
            <p:ph type="body" sz="quarter" idx="19" hasCustomPrompt="1"/>
          </p:nvPr>
        </p:nvSpPr>
        <p:spPr>
          <a:xfrm>
            <a:off x="4727080" y="2070616"/>
            <a:ext cx="3486091" cy="184666"/>
          </a:xfrm>
        </p:spPr>
        <p:txBody>
          <a:bodyPr wrap="square" anchor="t" anchorCtr="0">
            <a:spAutoFit/>
          </a:bodyPr>
          <a:lstStyle>
            <a:lvl1pPr marL="0" indent="0">
              <a:buNone/>
              <a:defRPr sz="1200" b="1" spc="300">
                <a:latin typeface="+mn-lt"/>
              </a:defRPr>
            </a:lvl1pPr>
          </a:lstStyle>
          <a:p>
            <a:pPr lvl="0"/>
            <a:r>
              <a:rPr lang="en-GB"/>
              <a:t>CORE ACTIVITIES:</a:t>
            </a:r>
          </a:p>
        </p:txBody>
      </p:sp>
      <p:sp>
        <p:nvSpPr>
          <p:cNvPr id="28" name="Text Placeholder 14">
            <a:extLst>
              <a:ext uri="{FF2B5EF4-FFF2-40B4-BE49-F238E27FC236}">
                <a16:creationId xmlns:a16="http://schemas.microsoft.com/office/drawing/2014/main" id="{6E228EA3-A86B-2A47-A78B-D4597F5CC7DA}"/>
              </a:ext>
            </a:extLst>
          </p:cNvPr>
          <p:cNvSpPr>
            <a:spLocks noGrp="1"/>
          </p:cNvSpPr>
          <p:nvPr>
            <p:ph type="body" sz="quarter" idx="20"/>
          </p:nvPr>
        </p:nvSpPr>
        <p:spPr>
          <a:xfrm>
            <a:off x="4727080" y="2391041"/>
            <a:ext cx="3486091" cy="184666"/>
          </a:xfrm>
        </p:spPr>
        <p:txBody>
          <a:bodyPr wrap="square">
            <a:spAutoFit/>
          </a:bodyPr>
          <a:lstStyle>
            <a:lvl1pPr marL="0" indent="0" eaLnBrk="1">
              <a:lnSpc>
                <a:spcPct val="100000"/>
              </a:lnSpc>
              <a:spcBef>
                <a:spcPts val="600"/>
              </a:spcBef>
              <a:buFont typeface="Arial" panose="020B0604020202020204" pitchFamily="34" charset="0"/>
              <a:buNone/>
              <a:defRPr sz="1200" b="0" spc="0">
                <a:latin typeface="+mn-lt"/>
              </a:defRPr>
            </a:lvl1pPr>
          </a:lstStyle>
          <a:p>
            <a:pPr lvl="0"/>
            <a:endParaRPr lang="en-GB"/>
          </a:p>
        </p:txBody>
      </p:sp>
      <p:sp>
        <p:nvSpPr>
          <p:cNvPr id="31" name="Text Placeholder 14">
            <a:extLst>
              <a:ext uri="{FF2B5EF4-FFF2-40B4-BE49-F238E27FC236}">
                <a16:creationId xmlns:a16="http://schemas.microsoft.com/office/drawing/2014/main" id="{0309D2BB-731E-8244-8584-7B864E01B5CF}"/>
              </a:ext>
            </a:extLst>
          </p:cNvPr>
          <p:cNvSpPr>
            <a:spLocks noGrp="1"/>
          </p:cNvSpPr>
          <p:nvPr>
            <p:ph type="body" sz="quarter" idx="21" hasCustomPrompt="1"/>
          </p:nvPr>
        </p:nvSpPr>
        <p:spPr>
          <a:xfrm>
            <a:off x="4727080" y="4026506"/>
            <a:ext cx="3486091" cy="184666"/>
          </a:xfrm>
        </p:spPr>
        <p:txBody>
          <a:bodyPr wrap="square" anchor="t" anchorCtr="0">
            <a:spAutoFit/>
          </a:bodyPr>
          <a:lstStyle>
            <a:lvl1pPr marL="0" indent="0">
              <a:buNone/>
              <a:defRPr sz="1200" b="1" spc="300">
                <a:latin typeface="+mn-lt"/>
              </a:defRPr>
            </a:lvl1pPr>
          </a:lstStyle>
          <a:p>
            <a:pPr lvl="0"/>
            <a:r>
              <a:rPr lang="en-GB"/>
              <a:t>IMPACT:</a:t>
            </a:r>
          </a:p>
        </p:txBody>
      </p:sp>
      <p:sp>
        <p:nvSpPr>
          <p:cNvPr id="32" name="Text Placeholder 14">
            <a:extLst>
              <a:ext uri="{FF2B5EF4-FFF2-40B4-BE49-F238E27FC236}">
                <a16:creationId xmlns:a16="http://schemas.microsoft.com/office/drawing/2014/main" id="{4A4A241E-988C-3445-84AE-1DED185B1896}"/>
              </a:ext>
            </a:extLst>
          </p:cNvPr>
          <p:cNvSpPr>
            <a:spLocks noGrp="1"/>
          </p:cNvSpPr>
          <p:nvPr>
            <p:ph type="body" sz="quarter" idx="22"/>
          </p:nvPr>
        </p:nvSpPr>
        <p:spPr>
          <a:xfrm>
            <a:off x="4727080" y="4344455"/>
            <a:ext cx="3486091" cy="184666"/>
          </a:xfrm>
        </p:spPr>
        <p:txBody>
          <a:bodyPr wrap="square">
            <a:spAutoFit/>
          </a:bodyPr>
          <a:lstStyle>
            <a:lvl1pPr marL="0" indent="0" eaLnBrk="1">
              <a:lnSpc>
                <a:spcPct val="100000"/>
              </a:lnSpc>
              <a:spcBef>
                <a:spcPts val="600"/>
              </a:spcBef>
              <a:buFont typeface="Arial" panose="020B0604020202020204" pitchFamily="34" charset="0"/>
              <a:buNone/>
              <a:defRPr sz="1200" b="0" spc="0">
                <a:latin typeface="+mn-lt"/>
              </a:defRPr>
            </a:lvl1pPr>
          </a:lstStyle>
          <a:p>
            <a:pPr lvl="0"/>
            <a:endParaRPr lang="en-GB"/>
          </a:p>
        </p:txBody>
      </p:sp>
      <p:sp>
        <p:nvSpPr>
          <p:cNvPr id="36" name="Text Placeholder 14">
            <a:extLst>
              <a:ext uri="{FF2B5EF4-FFF2-40B4-BE49-F238E27FC236}">
                <a16:creationId xmlns:a16="http://schemas.microsoft.com/office/drawing/2014/main" id="{4740FDEB-E2DC-F94E-907B-CF0D2C450BED}"/>
              </a:ext>
            </a:extLst>
          </p:cNvPr>
          <p:cNvSpPr>
            <a:spLocks noGrp="1"/>
          </p:cNvSpPr>
          <p:nvPr>
            <p:ph type="body" sz="quarter" idx="23"/>
          </p:nvPr>
        </p:nvSpPr>
        <p:spPr>
          <a:xfrm>
            <a:off x="997512" y="2915824"/>
            <a:ext cx="3198770" cy="184666"/>
          </a:xfrm>
        </p:spPr>
        <p:txBody>
          <a:bodyPr wrap="square">
            <a:spAutoFit/>
          </a:bodyPr>
          <a:lstStyle>
            <a:lvl1pPr marL="0" indent="0" eaLnBrk="1">
              <a:lnSpc>
                <a:spcPct val="100000"/>
              </a:lnSpc>
              <a:spcBef>
                <a:spcPts val="600"/>
              </a:spcBef>
              <a:buNone/>
              <a:defRPr sz="1200" b="0">
                <a:latin typeface="+mn-lt"/>
              </a:defRPr>
            </a:lvl1pPr>
          </a:lstStyle>
          <a:p>
            <a:pPr lvl="0"/>
            <a:endParaRPr lang="en-GB"/>
          </a:p>
        </p:txBody>
      </p:sp>
      <p:sp>
        <p:nvSpPr>
          <p:cNvPr id="39" name="TextBox 38">
            <a:extLst>
              <a:ext uri="{FF2B5EF4-FFF2-40B4-BE49-F238E27FC236}">
                <a16:creationId xmlns:a16="http://schemas.microsoft.com/office/drawing/2014/main" id="{71060785-E260-6A4E-830D-2E9C5949B696}"/>
              </a:ext>
            </a:extLst>
          </p:cNvPr>
          <p:cNvSpPr txBox="1"/>
          <p:nvPr userDrawn="1"/>
        </p:nvSpPr>
        <p:spPr>
          <a:xfrm>
            <a:off x="9054389" y="669544"/>
            <a:ext cx="1259083" cy="276999"/>
          </a:xfrm>
          <a:prstGeom prst="rect">
            <a:avLst/>
          </a:prstGeom>
          <a:noFill/>
          <a:effectLst/>
        </p:spPr>
        <p:txBody>
          <a:bodyPr wrap="square" lIns="0" rtlCol="0">
            <a:spAutoFit/>
          </a:bodyPr>
          <a:lstStyle/>
          <a:p>
            <a:r>
              <a:rPr lang="en-GB" sz="1200" spc="300">
                <a:latin typeface="Open Sans" panose="020B0606030504020204" pitchFamily="34" charset="0"/>
                <a:ea typeface="Open Sans" panose="020B0606030504020204" pitchFamily="34" charset="0"/>
                <a:cs typeface="Open Sans" panose="020B0606030504020204" pitchFamily="34" charset="0"/>
              </a:rPr>
              <a:t>LOCATION:</a:t>
            </a:r>
            <a:endParaRPr lang="en-GB" sz="300" spc="300">
              <a:latin typeface="Open Sans" panose="020B0606030504020204" pitchFamily="34" charset="0"/>
              <a:ea typeface="Open Sans" panose="020B0606030504020204" pitchFamily="34" charset="0"/>
              <a:cs typeface="Open Sans" panose="020B0606030504020204" pitchFamily="34" charset="0"/>
            </a:endParaRPr>
          </a:p>
        </p:txBody>
      </p:sp>
      <p:sp>
        <p:nvSpPr>
          <p:cNvPr id="43" name="TextBox 42">
            <a:extLst>
              <a:ext uri="{FF2B5EF4-FFF2-40B4-BE49-F238E27FC236}">
                <a16:creationId xmlns:a16="http://schemas.microsoft.com/office/drawing/2014/main" id="{968145B5-D024-CA42-A516-9F827AE705F3}"/>
              </a:ext>
            </a:extLst>
          </p:cNvPr>
          <p:cNvSpPr txBox="1"/>
          <p:nvPr userDrawn="1"/>
        </p:nvSpPr>
        <p:spPr>
          <a:xfrm>
            <a:off x="9054389" y="2894707"/>
            <a:ext cx="1935789" cy="400110"/>
          </a:xfrm>
          <a:prstGeom prst="rect">
            <a:avLst/>
          </a:prstGeom>
          <a:noFill/>
        </p:spPr>
        <p:txBody>
          <a:bodyPr wrap="square" lIns="0" tIns="0" rIns="0" bIns="0" rtlCol="0">
            <a:spAutoFit/>
          </a:bodyPr>
          <a:lstStyle/>
          <a:p>
            <a:pPr marL="0" marR="0" lvl="0" indent="0" defTabSz="914400" rtl="0" eaLnBrk="1" fontAlgn="auto" latinLnBrk="0" hangingPunct="1">
              <a:spcBef>
                <a:spcPts val="0"/>
              </a:spcBef>
              <a:spcAft>
                <a:spcPts val="0"/>
              </a:spcAft>
              <a:buClrTx/>
              <a:buSzTx/>
              <a:buFontTx/>
              <a:buNone/>
              <a:tabLst/>
              <a:defRPr/>
            </a:pPr>
            <a:r>
              <a:rPr lang="en-GB" sz="1200" spc="300">
                <a:latin typeface="Open Sans" panose="020B0606030504020204" pitchFamily="34" charset="0"/>
                <a:ea typeface="Open Sans" panose="020B0606030504020204" pitchFamily="34" charset="0"/>
                <a:cs typeface="Open Sans" panose="020B0606030504020204" pitchFamily="34" charset="0"/>
              </a:rPr>
              <a:t>DURATION:</a:t>
            </a:r>
            <a:r>
              <a:rPr kumimoji="0" lang="en-GB" sz="1400" u="none" strike="noStrike" kern="1200" cap="none" spc="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GB" sz="1400" u="none" strike="noStrike" kern="1200" cap="none" spc="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400" u="none" strike="noStrike" kern="1200" cap="none" spc="0" normalizeH="0" baseline="0">
              <a:ln>
                <a:noFill/>
              </a:ln>
              <a:effectLst/>
              <a:uLnTx/>
              <a:uFillTx/>
              <a:latin typeface="+mj-lt"/>
              <a:ea typeface="Open Sans" panose="020B0606030504020204" pitchFamily="34" charset="0"/>
              <a:cs typeface="Open Sans" panose="020B0606030504020204" pitchFamily="34" charset="0"/>
            </a:endParaRPr>
          </a:p>
        </p:txBody>
      </p:sp>
      <p:sp>
        <p:nvSpPr>
          <p:cNvPr id="44" name="Text Placeholder 14">
            <a:extLst>
              <a:ext uri="{FF2B5EF4-FFF2-40B4-BE49-F238E27FC236}">
                <a16:creationId xmlns:a16="http://schemas.microsoft.com/office/drawing/2014/main" id="{A1693476-40F9-054A-B12C-0BEA6D7DC2BD}"/>
              </a:ext>
            </a:extLst>
          </p:cNvPr>
          <p:cNvSpPr>
            <a:spLocks noGrp="1"/>
          </p:cNvSpPr>
          <p:nvPr>
            <p:ph type="body" sz="quarter" idx="16" hasCustomPrompt="1"/>
          </p:nvPr>
        </p:nvSpPr>
        <p:spPr>
          <a:xfrm>
            <a:off x="9054389" y="930891"/>
            <a:ext cx="2065337" cy="369332"/>
          </a:xfrm>
        </p:spPr>
        <p:txBody>
          <a:bodyPr>
            <a:spAutoFit/>
          </a:bodyPr>
          <a:lstStyle>
            <a:lvl1pPr marL="0" indent="0">
              <a:buNone/>
              <a:defRPr sz="2400">
                <a:latin typeface="+mj-lt"/>
              </a:defRPr>
            </a:lvl1pPr>
          </a:lstStyle>
          <a:p>
            <a:pPr lvl="0"/>
            <a:r>
              <a:rPr lang="en-GB"/>
              <a:t>Country</a:t>
            </a:r>
          </a:p>
        </p:txBody>
      </p:sp>
      <p:sp>
        <p:nvSpPr>
          <p:cNvPr id="45" name="Text Placeholder 14">
            <a:extLst>
              <a:ext uri="{FF2B5EF4-FFF2-40B4-BE49-F238E27FC236}">
                <a16:creationId xmlns:a16="http://schemas.microsoft.com/office/drawing/2014/main" id="{3E908E75-5FCB-8448-9D68-367609BB3096}"/>
              </a:ext>
            </a:extLst>
          </p:cNvPr>
          <p:cNvSpPr>
            <a:spLocks noGrp="1"/>
          </p:cNvSpPr>
          <p:nvPr>
            <p:ph type="body" sz="quarter" idx="25" hasCustomPrompt="1"/>
          </p:nvPr>
        </p:nvSpPr>
        <p:spPr>
          <a:xfrm>
            <a:off x="9054390" y="1528189"/>
            <a:ext cx="445219" cy="369332"/>
          </a:xfrm>
        </p:spPr>
        <p:txBody>
          <a:bodyPr wrap="square" anchor="b" anchorCtr="0">
            <a:spAutoFit/>
          </a:bodyPr>
          <a:lstStyle>
            <a:lvl1pPr marL="0" indent="0" algn="r">
              <a:buNone/>
              <a:defRPr sz="2400">
                <a:latin typeface="+mj-lt"/>
              </a:defRPr>
            </a:lvl1pPr>
          </a:lstStyle>
          <a:p>
            <a:pPr lvl="0"/>
            <a:r>
              <a:rPr lang="en-GB"/>
              <a:t>00</a:t>
            </a:r>
          </a:p>
        </p:txBody>
      </p:sp>
      <p:sp>
        <p:nvSpPr>
          <p:cNvPr id="46" name="Text Placeholder 14">
            <a:extLst>
              <a:ext uri="{FF2B5EF4-FFF2-40B4-BE49-F238E27FC236}">
                <a16:creationId xmlns:a16="http://schemas.microsoft.com/office/drawing/2014/main" id="{BC14C65D-1E64-EE47-881E-036EE9C826E8}"/>
              </a:ext>
            </a:extLst>
          </p:cNvPr>
          <p:cNvSpPr>
            <a:spLocks noGrp="1"/>
          </p:cNvSpPr>
          <p:nvPr>
            <p:ph type="body" sz="quarter" idx="26" hasCustomPrompt="1"/>
          </p:nvPr>
        </p:nvSpPr>
        <p:spPr>
          <a:xfrm>
            <a:off x="9054390" y="2194750"/>
            <a:ext cx="445220" cy="369332"/>
          </a:xfrm>
        </p:spPr>
        <p:txBody>
          <a:bodyPr wrap="square" anchor="b" anchorCtr="0">
            <a:spAutoFit/>
          </a:bodyPr>
          <a:lstStyle>
            <a:lvl1pPr marL="0" indent="0" algn="r">
              <a:buNone/>
              <a:defRPr sz="2400">
                <a:latin typeface="+mj-lt"/>
              </a:defRPr>
            </a:lvl1pPr>
          </a:lstStyle>
          <a:p>
            <a:pPr lvl="0"/>
            <a:r>
              <a:rPr lang="en-GB"/>
              <a:t>00</a:t>
            </a:r>
          </a:p>
        </p:txBody>
      </p:sp>
      <p:sp>
        <p:nvSpPr>
          <p:cNvPr id="47" name="Text Placeholder 14">
            <a:extLst>
              <a:ext uri="{FF2B5EF4-FFF2-40B4-BE49-F238E27FC236}">
                <a16:creationId xmlns:a16="http://schemas.microsoft.com/office/drawing/2014/main" id="{DF6A0892-2219-A840-88E0-33C4E6B2C684}"/>
              </a:ext>
            </a:extLst>
          </p:cNvPr>
          <p:cNvSpPr>
            <a:spLocks noGrp="1"/>
          </p:cNvSpPr>
          <p:nvPr>
            <p:ph type="body" sz="quarter" idx="27"/>
          </p:nvPr>
        </p:nvSpPr>
        <p:spPr>
          <a:xfrm>
            <a:off x="9556526" y="1595686"/>
            <a:ext cx="1620116" cy="138499"/>
          </a:xfrm>
        </p:spPr>
        <p:txBody>
          <a:bodyPr wrap="square" anchor="t" anchorCtr="0">
            <a:spAutoFit/>
          </a:bodyPr>
          <a:lstStyle>
            <a:lvl1pPr marL="0" indent="0" eaLnBrk="1">
              <a:lnSpc>
                <a:spcPct val="90000"/>
              </a:lnSpc>
              <a:spcBef>
                <a:spcPts val="0"/>
              </a:spcBef>
              <a:buNone/>
              <a:defRPr sz="10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endParaRPr lang="en-GB"/>
          </a:p>
        </p:txBody>
      </p:sp>
      <p:sp>
        <p:nvSpPr>
          <p:cNvPr id="48" name="Text Placeholder 14">
            <a:extLst>
              <a:ext uri="{FF2B5EF4-FFF2-40B4-BE49-F238E27FC236}">
                <a16:creationId xmlns:a16="http://schemas.microsoft.com/office/drawing/2014/main" id="{DAD8FA14-8385-9742-A888-D738E1CD3D27}"/>
              </a:ext>
            </a:extLst>
          </p:cNvPr>
          <p:cNvSpPr>
            <a:spLocks noGrp="1"/>
          </p:cNvSpPr>
          <p:nvPr>
            <p:ph type="body" sz="quarter" idx="28"/>
          </p:nvPr>
        </p:nvSpPr>
        <p:spPr>
          <a:xfrm>
            <a:off x="9556526" y="2262247"/>
            <a:ext cx="1620116" cy="138499"/>
          </a:xfrm>
        </p:spPr>
        <p:txBody>
          <a:bodyPr wrap="square" anchor="t" anchorCtr="0">
            <a:spAutoFit/>
          </a:bodyPr>
          <a:lstStyle>
            <a:lvl1pPr marL="0" indent="0" eaLnBrk="1">
              <a:lnSpc>
                <a:spcPct val="90000"/>
              </a:lnSpc>
              <a:spcBef>
                <a:spcPts val="0"/>
              </a:spcBef>
              <a:buNone/>
              <a:defRPr sz="10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endParaRPr lang="en-GB"/>
          </a:p>
        </p:txBody>
      </p:sp>
      <p:grpSp>
        <p:nvGrpSpPr>
          <p:cNvPr id="49" name="Group 48">
            <a:extLst>
              <a:ext uri="{FF2B5EF4-FFF2-40B4-BE49-F238E27FC236}">
                <a16:creationId xmlns:a16="http://schemas.microsoft.com/office/drawing/2014/main" id="{B149E6AB-EBEC-F548-AAC1-CB254AEA30F9}"/>
              </a:ext>
            </a:extLst>
          </p:cNvPr>
          <p:cNvGrpSpPr>
            <a:grpSpLocks noChangeAspect="1"/>
          </p:cNvGrpSpPr>
          <p:nvPr userDrawn="1"/>
        </p:nvGrpSpPr>
        <p:grpSpPr>
          <a:xfrm>
            <a:off x="9054389" y="3133257"/>
            <a:ext cx="690978" cy="690978"/>
            <a:chOff x="5089526" y="5137785"/>
            <a:chExt cx="255588" cy="255588"/>
          </a:xfrm>
        </p:grpSpPr>
        <p:sp>
          <p:nvSpPr>
            <p:cNvPr id="50" name="Freeform 177">
              <a:extLst>
                <a:ext uri="{FF2B5EF4-FFF2-40B4-BE49-F238E27FC236}">
                  <a16:creationId xmlns:a16="http://schemas.microsoft.com/office/drawing/2014/main" id="{ED2A07A0-86F0-DD4E-A0BA-B8DACC07A8B0}"/>
                </a:ext>
              </a:extLst>
            </p:cNvPr>
            <p:cNvSpPr>
              <a:spLocks/>
            </p:cNvSpPr>
            <p:nvPr/>
          </p:nvSpPr>
          <p:spPr bwMode="auto">
            <a:xfrm>
              <a:off x="5143501" y="5137785"/>
              <a:ext cx="17463" cy="58738"/>
            </a:xfrm>
            <a:custGeom>
              <a:avLst/>
              <a:gdLst>
                <a:gd name="T0" fmla="*/ 5 w 21"/>
                <a:gd name="T1" fmla="*/ 72 h 72"/>
                <a:gd name="T2" fmla="*/ 16 w 21"/>
                <a:gd name="T3" fmla="*/ 72 h 72"/>
                <a:gd name="T4" fmla="*/ 16 w 21"/>
                <a:gd name="T5" fmla="*/ 72 h 72"/>
                <a:gd name="T6" fmla="*/ 17 w 21"/>
                <a:gd name="T7" fmla="*/ 72 h 72"/>
                <a:gd name="T8" fmla="*/ 19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9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9" y="71"/>
                  </a:lnTo>
                  <a:lnTo>
                    <a:pt x="20" y="70"/>
                  </a:lnTo>
                  <a:lnTo>
                    <a:pt x="21" y="67"/>
                  </a:lnTo>
                  <a:lnTo>
                    <a:pt x="21" y="5"/>
                  </a:lnTo>
                  <a:lnTo>
                    <a:pt x="21" y="5"/>
                  </a:lnTo>
                  <a:lnTo>
                    <a:pt x="20" y="4"/>
                  </a:lnTo>
                  <a:lnTo>
                    <a:pt x="19"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1" name="Freeform 178">
              <a:extLst>
                <a:ext uri="{FF2B5EF4-FFF2-40B4-BE49-F238E27FC236}">
                  <a16:creationId xmlns:a16="http://schemas.microsoft.com/office/drawing/2014/main" id="{548EA0A2-1FFD-3F46-B8D3-709CBBCFD639}"/>
                </a:ext>
              </a:extLst>
            </p:cNvPr>
            <p:cNvSpPr>
              <a:spLocks/>
            </p:cNvSpPr>
            <p:nvPr/>
          </p:nvSpPr>
          <p:spPr bwMode="auto">
            <a:xfrm>
              <a:off x="5275263" y="5137785"/>
              <a:ext cx="15875" cy="58738"/>
            </a:xfrm>
            <a:custGeom>
              <a:avLst/>
              <a:gdLst>
                <a:gd name="T0" fmla="*/ 6 w 22"/>
                <a:gd name="T1" fmla="*/ 72 h 72"/>
                <a:gd name="T2" fmla="*/ 16 w 22"/>
                <a:gd name="T3" fmla="*/ 72 h 72"/>
                <a:gd name="T4" fmla="*/ 16 w 22"/>
                <a:gd name="T5" fmla="*/ 72 h 72"/>
                <a:gd name="T6" fmla="*/ 18 w 22"/>
                <a:gd name="T7" fmla="*/ 72 h 72"/>
                <a:gd name="T8" fmla="*/ 20 w 22"/>
                <a:gd name="T9" fmla="*/ 71 h 72"/>
                <a:gd name="T10" fmla="*/ 20 w 22"/>
                <a:gd name="T11" fmla="*/ 70 h 72"/>
                <a:gd name="T12" fmla="*/ 22 w 22"/>
                <a:gd name="T13" fmla="*/ 67 h 72"/>
                <a:gd name="T14" fmla="*/ 22 w 22"/>
                <a:gd name="T15" fmla="*/ 5 h 72"/>
                <a:gd name="T16" fmla="*/ 22 w 22"/>
                <a:gd name="T17" fmla="*/ 5 h 72"/>
                <a:gd name="T18" fmla="*/ 20 w 22"/>
                <a:gd name="T19" fmla="*/ 4 h 72"/>
                <a:gd name="T20" fmla="*/ 20 w 22"/>
                <a:gd name="T21" fmla="*/ 2 h 72"/>
                <a:gd name="T22" fmla="*/ 18 w 22"/>
                <a:gd name="T23" fmla="*/ 1 h 72"/>
                <a:gd name="T24" fmla="*/ 16 w 22"/>
                <a:gd name="T25" fmla="*/ 0 h 72"/>
                <a:gd name="T26" fmla="*/ 6 w 22"/>
                <a:gd name="T27" fmla="*/ 0 h 72"/>
                <a:gd name="T28" fmla="*/ 6 w 22"/>
                <a:gd name="T29" fmla="*/ 0 h 72"/>
                <a:gd name="T30" fmla="*/ 4 w 22"/>
                <a:gd name="T31" fmla="*/ 1 h 72"/>
                <a:gd name="T32" fmla="*/ 3 w 22"/>
                <a:gd name="T33" fmla="*/ 2 h 72"/>
                <a:gd name="T34" fmla="*/ 1 w 22"/>
                <a:gd name="T35" fmla="*/ 4 h 72"/>
                <a:gd name="T36" fmla="*/ 0 w 22"/>
                <a:gd name="T37" fmla="*/ 5 h 72"/>
                <a:gd name="T38" fmla="*/ 0 w 22"/>
                <a:gd name="T39" fmla="*/ 67 h 72"/>
                <a:gd name="T40" fmla="*/ 0 w 22"/>
                <a:gd name="T41" fmla="*/ 67 h 72"/>
                <a:gd name="T42" fmla="*/ 1 w 22"/>
                <a:gd name="T43" fmla="*/ 70 h 72"/>
                <a:gd name="T44" fmla="*/ 3 w 22"/>
                <a:gd name="T45" fmla="*/ 71 h 72"/>
                <a:gd name="T46" fmla="*/ 4 w 22"/>
                <a:gd name="T47" fmla="*/ 72 h 72"/>
                <a:gd name="T48" fmla="*/ 6 w 22"/>
                <a:gd name="T49" fmla="*/ 72 h 72"/>
                <a:gd name="T50" fmla="*/ 6 w 22"/>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72">
                  <a:moveTo>
                    <a:pt x="6" y="72"/>
                  </a:moveTo>
                  <a:lnTo>
                    <a:pt x="16" y="72"/>
                  </a:lnTo>
                  <a:lnTo>
                    <a:pt x="16" y="72"/>
                  </a:lnTo>
                  <a:lnTo>
                    <a:pt x="18" y="72"/>
                  </a:lnTo>
                  <a:lnTo>
                    <a:pt x="20" y="71"/>
                  </a:lnTo>
                  <a:lnTo>
                    <a:pt x="20" y="70"/>
                  </a:lnTo>
                  <a:lnTo>
                    <a:pt x="22" y="67"/>
                  </a:lnTo>
                  <a:lnTo>
                    <a:pt x="22" y="5"/>
                  </a:lnTo>
                  <a:lnTo>
                    <a:pt x="22" y="5"/>
                  </a:lnTo>
                  <a:lnTo>
                    <a:pt x="20" y="4"/>
                  </a:lnTo>
                  <a:lnTo>
                    <a:pt x="20" y="2"/>
                  </a:lnTo>
                  <a:lnTo>
                    <a:pt x="18" y="1"/>
                  </a:lnTo>
                  <a:lnTo>
                    <a:pt x="16" y="0"/>
                  </a:lnTo>
                  <a:lnTo>
                    <a:pt x="6" y="0"/>
                  </a:lnTo>
                  <a:lnTo>
                    <a:pt x="6" y="0"/>
                  </a:lnTo>
                  <a:lnTo>
                    <a:pt x="4" y="1"/>
                  </a:lnTo>
                  <a:lnTo>
                    <a:pt x="3" y="2"/>
                  </a:lnTo>
                  <a:lnTo>
                    <a:pt x="1" y="4"/>
                  </a:lnTo>
                  <a:lnTo>
                    <a:pt x="0" y="5"/>
                  </a:lnTo>
                  <a:lnTo>
                    <a:pt x="0" y="67"/>
                  </a:lnTo>
                  <a:lnTo>
                    <a:pt x="0" y="67"/>
                  </a:lnTo>
                  <a:lnTo>
                    <a:pt x="1" y="70"/>
                  </a:lnTo>
                  <a:lnTo>
                    <a:pt x="3" y="71"/>
                  </a:lnTo>
                  <a:lnTo>
                    <a:pt x="4" y="72"/>
                  </a:lnTo>
                  <a:lnTo>
                    <a:pt x="6" y="72"/>
                  </a:lnTo>
                  <a:lnTo>
                    <a:pt x="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2" name="Freeform 179">
              <a:extLst>
                <a:ext uri="{FF2B5EF4-FFF2-40B4-BE49-F238E27FC236}">
                  <a16:creationId xmlns:a16="http://schemas.microsoft.com/office/drawing/2014/main" id="{6EC282F7-1D94-104F-B0DA-451788A1F64B}"/>
                </a:ext>
              </a:extLst>
            </p:cNvPr>
            <p:cNvSpPr>
              <a:spLocks noEditPoints="1"/>
            </p:cNvSpPr>
            <p:nvPr/>
          </p:nvSpPr>
          <p:spPr bwMode="auto">
            <a:xfrm>
              <a:off x="5089526" y="5164773"/>
              <a:ext cx="255588" cy="228600"/>
            </a:xfrm>
            <a:custGeom>
              <a:avLst/>
              <a:gdLst>
                <a:gd name="T0" fmla="*/ 264 w 321"/>
                <a:gd name="T1" fmla="*/ 0 h 289"/>
                <a:gd name="T2" fmla="*/ 264 w 321"/>
                <a:gd name="T3" fmla="*/ 46 h 289"/>
                <a:gd name="T4" fmla="*/ 262 w 321"/>
                <a:gd name="T5" fmla="*/ 50 h 289"/>
                <a:gd name="T6" fmla="*/ 259 w 321"/>
                <a:gd name="T7" fmla="*/ 51 h 289"/>
                <a:gd name="T8" fmla="*/ 228 w 321"/>
                <a:gd name="T9" fmla="*/ 51 h 289"/>
                <a:gd name="T10" fmla="*/ 224 w 321"/>
                <a:gd name="T11" fmla="*/ 50 h 289"/>
                <a:gd name="T12" fmla="*/ 223 w 321"/>
                <a:gd name="T13" fmla="*/ 46 h 289"/>
                <a:gd name="T14" fmla="*/ 98 w 321"/>
                <a:gd name="T15" fmla="*/ 0 h 289"/>
                <a:gd name="T16" fmla="*/ 98 w 321"/>
                <a:gd name="T17" fmla="*/ 46 h 289"/>
                <a:gd name="T18" fmla="*/ 96 w 321"/>
                <a:gd name="T19" fmla="*/ 50 h 289"/>
                <a:gd name="T20" fmla="*/ 92 w 321"/>
                <a:gd name="T21" fmla="*/ 51 h 289"/>
                <a:gd name="T22" fmla="*/ 61 w 321"/>
                <a:gd name="T23" fmla="*/ 51 h 289"/>
                <a:gd name="T24" fmla="*/ 59 w 321"/>
                <a:gd name="T25" fmla="*/ 50 h 289"/>
                <a:gd name="T26" fmla="*/ 56 w 321"/>
                <a:gd name="T27" fmla="*/ 46 h 289"/>
                <a:gd name="T28" fmla="*/ 10 w 321"/>
                <a:gd name="T29" fmla="*/ 0 h 289"/>
                <a:gd name="T30" fmla="*/ 6 w 321"/>
                <a:gd name="T31" fmla="*/ 0 h 289"/>
                <a:gd name="T32" fmla="*/ 1 w 321"/>
                <a:gd name="T33" fmla="*/ 5 h 289"/>
                <a:gd name="T34" fmla="*/ 0 w 321"/>
                <a:gd name="T35" fmla="*/ 278 h 289"/>
                <a:gd name="T36" fmla="*/ 1 w 321"/>
                <a:gd name="T37" fmla="*/ 282 h 289"/>
                <a:gd name="T38" fmla="*/ 6 w 321"/>
                <a:gd name="T39" fmla="*/ 289 h 289"/>
                <a:gd name="T40" fmla="*/ 310 w 321"/>
                <a:gd name="T41" fmla="*/ 289 h 289"/>
                <a:gd name="T42" fmla="*/ 314 w 321"/>
                <a:gd name="T43" fmla="*/ 289 h 289"/>
                <a:gd name="T44" fmla="*/ 319 w 321"/>
                <a:gd name="T45" fmla="*/ 282 h 289"/>
                <a:gd name="T46" fmla="*/ 321 w 321"/>
                <a:gd name="T47" fmla="*/ 9 h 289"/>
                <a:gd name="T48" fmla="*/ 319 w 321"/>
                <a:gd name="T49" fmla="*/ 5 h 289"/>
                <a:gd name="T50" fmla="*/ 314 w 321"/>
                <a:gd name="T51" fmla="*/ 0 h 289"/>
                <a:gd name="T52" fmla="*/ 310 w 321"/>
                <a:gd name="T53" fmla="*/ 0 h 289"/>
                <a:gd name="T54" fmla="*/ 299 w 321"/>
                <a:gd name="T55" fmla="*/ 264 h 289"/>
                <a:gd name="T56" fmla="*/ 298 w 321"/>
                <a:gd name="T57" fmla="*/ 266 h 289"/>
                <a:gd name="T58" fmla="*/ 294 w 321"/>
                <a:gd name="T59" fmla="*/ 268 h 289"/>
                <a:gd name="T60" fmla="*/ 27 w 321"/>
                <a:gd name="T61" fmla="*/ 268 h 289"/>
                <a:gd name="T62" fmla="*/ 22 w 321"/>
                <a:gd name="T63" fmla="*/ 266 h 289"/>
                <a:gd name="T64" fmla="*/ 21 w 321"/>
                <a:gd name="T65" fmla="*/ 264 h 289"/>
                <a:gd name="T66" fmla="*/ 21 w 321"/>
                <a:gd name="T67" fmla="*/ 87 h 289"/>
                <a:gd name="T68" fmla="*/ 22 w 321"/>
                <a:gd name="T69" fmla="*/ 83 h 289"/>
                <a:gd name="T70" fmla="*/ 27 w 321"/>
                <a:gd name="T71" fmla="*/ 82 h 289"/>
                <a:gd name="T72" fmla="*/ 294 w 321"/>
                <a:gd name="T73" fmla="*/ 82 h 289"/>
                <a:gd name="T74" fmla="*/ 298 w 321"/>
                <a:gd name="T75" fmla="*/ 83 h 289"/>
                <a:gd name="T76" fmla="*/ 299 w 321"/>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289">
                  <a:moveTo>
                    <a:pt x="310" y="0"/>
                  </a:moveTo>
                  <a:lnTo>
                    <a:pt x="264" y="0"/>
                  </a:lnTo>
                  <a:lnTo>
                    <a:pt x="264" y="46"/>
                  </a:lnTo>
                  <a:lnTo>
                    <a:pt x="264" y="46"/>
                  </a:lnTo>
                  <a:lnTo>
                    <a:pt x="263" y="48"/>
                  </a:lnTo>
                  <a:lnTo>
                    <a:pt x="262" y="50"/>
                  </a:lnTo>
                  <a:lnTo>
                    <a:pt x="260" y="51"/>
                  </a:lnTo>
                  <a:lnTo>
                    <a:pt x="259" y="51"/>
                  </a:lnTo>
                  <a:lnTo>
                    <a:pt x="228" y="51"/>
                  </a:lnTo>
                  <a:lnTo>
                    <a:pt x="228" y="51"/>
                  </a:lnTo>
                  <a:lnTo>
                    <a:pt x="225" y="51"/>
                  </a:lnTo>
                  <a:lnTo>
                    <a:pt x="224" y="50"/>
                  </a:lnTo>
                  <a:lnTo>
                    <a:pt x="223" y="48"/>
                  </a:lnTo>
                  <a:lnTo>
                    <a:pt x="223" y="46"/>
                  </a:lnTo>
                  <a:lnTo>
                    <a:pt x="223" y="0"/>
                  </a:lnTo>
                  <a:lnTo>
                    <a:pt x="98" y="0"/>
                  </a:lnTo>
                  <a:lnTo>
                    <a:pt x="98" y="46"/>
                  </a:lnTo>
                  <a:lnTo>
                    <a:pt x="98" y="46"/>
                  </a:lnTo>
                  <a:lnTo>
                    <a:pt x="98" y="48"/>
                  </a:lnTo>
                  <a:lnTo>
                    <a:pt x="96" y="50"/>
                  </a:lnTo>
                  <a:lnTo>
                    <a:pt x="95" y="51"/>
                  </a:lnTo>
                  <a:lnTo>
                    <a:pt x="92" y="51"/>
                  </a:lnTo>
                  <a:lnTo>
                    <a:pt x="61" y="51"/>
                  </a:lnTo>
                  <a:lnTo>
                    <a:pt x="61" y="51"/>
                  </a:lnTo>
                  <a:lnTo>
                    <a:pt x="60" y="51"/>
                  </a:lnTo>
                  <a:lnTo>
                    <a:pt x="59" y="50"/>
                  </a:lnTo>
                  <a:lnTo>
                    <a:pt x="57" y="48"/>
                  </a:lnTo>
                  <a:lnTo>
                    <a:pt x="56" y="46"/>
                  </a:lnTo>
                  <a:lnTo>
                    <a:pt x="56" y="0"/>
                  </a:lnTo>
                  <a:lnTo>
                    <a:pt x="10" y="0"/>
                  </a:lnTo>
                  <a:lnTo>
                    <a:pt x="10" y="0"/>
                  </a:lnTo>
                  <a:lnTo>
                    <a:pt x="6" y="0"/>
                  </a:lnTo>
                  <a:lnTo>
                    <a:pt x="2" y="3"/>
                  </a:lnTo>
                  <a:lnTo>
                    <a:pt x="1" y="5"/>
                  </a:lnTo>
                  <a:lnTo>
                    <a:pt x="0" y="9"/>
                  </a:lnTo>
                  <a:lnTo>
                    <a:pt x="0" y="278"/>
                  </a:lnTo>
                  <a:lnTo>
                    <a:pt x="0" y="278"/>
                  </a:lnTo>
                  <a:lnTo>
                    <a:pt x="1" y="282"/>
                  </a:lnTo>
                  <a:lnTo>
                    <a:pt x="2" y="286"/>
                  </a:lnTo>
                  <a:lnTo>
                    <a:pt x="6" y="289"/>
                  </a:lnTo>
                  <a:lnTo>
                    <a:pt x="10" y="289"/>
                  </a:lnTo>
                  <a:lnTo>
                    <a:pt x="310" y="289"/>
                  </a:lnTo>
                  <a:lnTo>
                    <a:pt x="310" y="289"/>
                  </a:lnTo>
                  <a:lnTo>
                    <a:pt x="314" y="289"/>
                  </a:lnTo>
                  <a:lnTo>
                    <a:pt x="318" y="286"/>
                  </a:lnTo>
                  <a:lnTo>
                    <a:pt x="319" y="282"/>
                  </a:lnTo>
                  <a:lnTo>
                    <a:pt x="321" y="278"/>
                  </a:lnTo>
                  <a:lnTo>
                    <a:pt x="321" y="9"/>
                  </a:lnTo>
                  <a:lnTo>
                    <a:pt x="321" y="9"/>
                  </a:lnTo>
                  <a:lnTo>
                    <a:pt x="319" y="5"/>
                  </a:lnTo>
                  <a:lnTo>
                    <a:pt x="318" y="3"/>
                  </a:lnTo>
                  <a:lnTo>
                    <a:pt x="314" y="0"/>
                  </a:lnTo>
                  <a:lnTo>
                    <a:pt x="310" y="0"/>
                  </a:lnTo>
                  <a:lnTo>
                    <a:pt x="310" y="0"/>
                  </a:lnTo>
                  <a:close/>
                  <a:moveTo>
                    <a:pt x="299" y="264"/>
                  </a:moveTo>
                  <a:lnTo>
                    <a:pt x="299" y="264"/>
                  </a:lnTo>
                  <a:lnTo>
                    <a:pt x="299" y="265"/>
                  </a:lnTo>
                  <a:lnTo>
                    <a:pt x="298" y="266"/>
                  </a:lnTo>
                  <a:lnTo>
                    <a:pt x="297" y="268"/>
                  </a:lnTo>
                  <a:lnTo>
                    <a:pt x="294" y="268"/>
                  </a:lnTo>
                  <a:lnTo>
                    <a:pt x="27" y="268"/>
                  </a:lnTo>
                  <a:lnTo>
                    <a:pt x="27" y="268"/>
                  </a:lnTo>
                  <a:lnTo>
                    <a:pt x="24" y="268"/>
                  </a:lnTo>
                  <a:lnTo>
                    <a:pt x="22" y="266"/>
                  </a:lnTo>
                  <a:lnTo>
                    <a:pt x="21" y="265"/>
                  </a:lnTo>
                  <a:lnTo>
                    <a:pt x="21" y="264"/>
                  </a:lnTo>
                  <a:lnTo>
                    <a:pt x="21" y="87"/>
                  </a:lnTo>
                  <a:lnTo>
                    <a:pt x="21" y="87"/>
                  </a:lnTo>
                  <a:lnTo>
                    <a:pt x="21" y="85"/>
                  </a:lnTo>
                  <a:lnTo>
                    <a:pt x="22" y="83"/>
                  </a:lnTo>
                  <a:lnTo>
                    <a:pt x="24" y="82"/>
                  </a:lnTo>
                  <a:lnTo>
                    <a:pt x="27" y="82"/>
                  </a:lnTo>
                  <a:lnTo>
                    <a:pt x="294" y="82"/>
                  </a:lnTo>
                  <a:lnTo>
                    <a:pt x="294" y="82"/>
                  </a:lnTo>
                  <a:lnTo>
                    <a:pt x="297" y="82"/>
                  </a:lnTo>
                  <a:lnTo>
                    <a:pt x="298" y="83"/>
                  </a:lnTo>
                  <a:lnTo>
                    <a:pt x="299" y="85"/>
                  </a:lnTo>
                  <a:lnTo>
                    <a:pt x="299" y="87"/>
                  </a:lnTo>
                  <a:lnTo>
                    <a:pt x="299"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sp>
        <p:nvSpPr>
          <p:cNvPr id="54" name="Text Placeholder 14">
            <a:extLst>
              <a:ext uri="{FF2B5EF4-FFF2-40B4-BE49-F238E27FC236}">
                <a16:creationId xmlns:a16="http://schemas.microsoft.com/office/drawing/2014/main" id="{56BBE02B-B109-8548-8E2D-155159312FCE}"/>
              </a:ext>
            </a:extLst>
          </p:cNvPr>
          <p:cNvSpPr>
            <a:spLocks noGrp="1"/>
          </p:cNvSpPr>
          <p:nvPr>
            <p:ph type="body" sz="quarter" idx="24" hasCustomPrompt="1"/>
          </p:nvPr>
        </p:nvSpPr>
        <p:spPr>
          <a:xfrm>
            <a:off x="9205676" y="3390627"/>
            <a:ext cx="539691" cy="369332"/>
          </a:xfrm>
        </p:spPr>
        <p:txBody>
          <a:bodyPr wrap="square">
            <a:spAutoFit/>
          </a:bodyPr>
          <a:lstStyle>
            <a:lvl1pPr marL="0" indent="0">
              <a:buNone/>
              <a:defRPr sz="2400">
                <a:latin typeface="+mj-lt"/>
              </a:defRPr>
            </a:lvl1pPr>
          </a:lstStyle>
          <a:p>
            <a:pPr lvl="0"/>
            <a:r>
              <a:rPr lang="en-GB"/>
              <a:t>00</a:t>
            </a:r>
          </a:p>
        </p:txBody>
      </p:sp>
    </p:spTree>
    <p:extLst>
      <p:ext uri="{BB962C8B-B14F-4D97-AF65-F5344CB8AC3E}">
        <p14:creationId xmlns:p14="http://schemas.microsoft.com/office/powerpoint/2010/main" val="3113014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eyond Digital Platform - Qual Blu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538017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7"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2CDEA418-E5B5-3444-8318-2EB7F91DB884}"/>
              </a:ext>
            </a:extLst>
          </p:cNvPr>
          <p:cNvSpPr/>
          <p:nvPr userDrawn="1"/>
        </p:nvSpPr>
        <p:spPr>
          <a:xfrm>
            <a:off x="775767" y="1836797"/>
            <a:ext cx="3634187" cy="4274636"/>
          </a:xfrm>
          <a:prstGeom prst="rect">
            <a:avLst/>
          </a:prstGeom>
          <a:solidFill>
            <a:schemeClr val="bg1"/>
          </a:solidFill>
          <a:ln>
            <a:noFill/>
          </a:ln>
          <a:effectLst>
            <a:outerShdw blurRad="63500" sx="101000" sy="1010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 name="Title 1"/>
          <p:cNvSpPr>
            <a:spLocks noGrp="1"/>
          </p:cNvSpPr>
          <p:nvPr>
            <p:ph type="title"/>
          </p:nvPr>
        </p:nvSpPr>
        <p:spPr>
          <a:xfrm>
            <a:off x="914400" y="694944"/>
            <a:ext cx="7754613" cy="594360"/>
          </a:xfrm>
        </p:spPr>
        <p:txBody>
          <a:bodyPr vert="horz" lIns="0" tIns="45720" rIns="0" bIns="0" rtlCol="0" anchor="b" anchorCtr="0">
            <a:noAutofit/>
          </a:bodyPr>
          <a:lstStyle>
            <a:lvl1pPr>
              <a:defRPr lang="en-US" sz="2800" spc="-75" dirty="0">
                <a:latin typeface="+mj-lt"/>
              </a:defRPr>
            </a:lvl1pPr>
          </a:lstStyle>
          <a:p>
            <a:pPr lvl="0" defTabSz="685800">
              <a:lnSpc>
                <a:spcPct val="85000"/>
              </a:lnSpc>
            </a:pPr>
            <a:r>
              <a:rPr lang="en-GB"/>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GB"/>
              <a:t>BREADCRUMBS</a:t>
            </a:r>
          </a:p>
        </p:txBody>
      </p:sp>
      <p:sp>
        <p:nvSpPr>
          <p:cNvPr id="6" name="Rectangle 5">
            <a:extLst>
              <a:ext uri="{FF2B5EF4-FFF2-40B4-BE49-F238E27FC236}">
                <a16:creationId xmlns:a16="http://schemas.microsoft.com/office/drawing/2014/main" id="{C8333F40-6DE4-4F46-884A-BCBBAD8C15F5}"/>
              </a:ext>
            </a:extLst>
          </p:cNvPr>
          <p:cNvSpPr/>
          <p:nvPr userDrawn="1"/>
        </p:nvSpPr>
        <p:spPr>
          <a:xfrm>
            <a:off x="8669012" y="0"/>
            <a:ext cx="3522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6" name="Text Placeholder 14">
            <a:extLst>
              <a:ext uri="{FF2B5EF4-FFF2-40B4-BE49-F238E27FC236}">
                <a16:creationId xmlns:a16="http://schemas.microsoft.com/office/drawing/2014/main" id="{5B752101-B61E-2242-ABCC-612878419164}"/>
              </a:ext>
            </a:extLst>
          </p:cNvPr>
          <p:cNvSpPr>
            <a:spLocks noGrp="1"/>
          </p:cNvSpPr>
          <p:nvPr>
            <p:ph type="body" sz="quarter" idx="17"/>
          </p:nvPr>
        </p:nvSpPr>
        <p:spPr>
          <a:xfrm>
            <a:off x="997512" y="2070616"/>
            <a:ext cx="3198770" cy="215444"/>
          </a:xfrm>
        </p:spPr>
        <p:txBody>
          <a:bodyPr wrap="square" anchor="t" anchorCtr="0">
            <a:spAutoFit/>
          </a:bodyPr>
          <a:lstStyle>
            <a:lvl1pPr marL="0" indent="0" eaLnBrk="1">
              <a:buNone/>
              <a:defRPr sz="1400" b="1">
                <a:latin typeface="+mn-lt"/>
              </a:defRPr>
            </a:lvl1pPr>
          </a:lstStyle>
          <a:p>
            <a:pPr lvl="0"/>
            <a:endParaRPr lang="en-GB"/>
          </a:p>
        </p:txBody>
      </p:sp>
      <p:sp>
        <p:nvSpPr>
          <p:cNvPr id="27" name="Text Placeholder 14">
            <a:extLst>
              <a:ext uri="{FF2B5EF4-FFF2-40B4-BE49-F238E27FC236}">
                <a16:creationId xmlns:a16="http://schemas.microsoft.com/office/drawing/2014/main" id="{24920484-FD34-074D-9EA3-39B3219EF530}"/>
              </a:ext>
            </a:extLst>
          </p:cNvPr>
          <p:cNvSpPr>
            <a:spLocks noGrp="1"/>
          </p:cNvSpPr>
          <p:nvPr>
            <p:ph type="body" sz="quarter" idx="19" hasCustomPrompt="1"/>
          </p:nvPr>
        </p:nvSpPr>
        <p:spPr>
          <a:xfrm>
            <a:off x="4727080" y="2070616"/>
            <a:ext cx="3486091" cy="184666"/>
          </a:xfrm>
        </p:spPr>
        <p:txBody>
          <a:bodyPr wrap="square" anchor="t" anchorCtr="0">
            <a:spAutoFit/>
          </a:bodyPr>
          <a:lstStyle>
            <a:lvl1pPr marL="0" indent="0">
              <a:buNone/>
              <a:defRPr sz="1200" b="1" spc="300">
                <a:latin typeface="+mn-lt"/>
              </a:defRPr>
            </a:lvl1pPr>
          </a:lstStyle>
          <a:p>
            <a:pPr lvl="0"/>
            <a:r>
              <a:rPr lang="en-GB"/>
              <a:t>CORE ACTIVITIES:</a:t>
            </a:r>
          </a:p>
        </p:txBody>
      </p:sp>
      <p:sp>
        <p:nvSpPr>
          <p:cNvPr id="28" name="Text Placeholder 14">
            <a:extLst>
              <a:ext uri="{FF2B5EF4-FFF2-40B4-BE49-F238E27FC236}">
                <a16:creationId xmlns:a16="http://schemas.microsoft.com/office/drawing/2014/main" id="{D9608BBD-BF09-3B4A-A04F-ACB64E3A895C}"/>
              </a:ext>
            </a:extLst>
          </p:cNvPr>
          <p:cNvSpPr>
            <a:spLocks noGrp="1"/>
          </p:cNvSpPr>
          <p:nvPr>
            <p:ph type="body" sz="quarter" idx="20"/>
          </p:nvPr>
        </p:nvSpPr>
        <p:spPr>
          <a:xfrm>
            <a:off x="4727080" y="2391041"/>
            <a:ext cx="3486091" cy="184666"/>
          </a:xfrm>
        </p:spPr>
        <p:txBody>
          <a:bodyPr wrap="square">
            <a:spAutoFit/>
          </a:bodyPr>
          <a:lstStyle>
            <a:lvl1pPr marL="0" indent="0" eaLnBrk="1">
              <a:lnSpc>
                <a:spcPct val="100000"/>
              </a:lnSpc>
              <a:spcBef>
                <a:spcPts val="600"/>
              </a:spcBef>
              <a:buFont typeface="Arial" panose="020B0604020202020204" pitchFamily="34" charset="0"/>
              <a:buNone/>
              <a:defRPr sz="1200" b="0" spc="0">
                <a:latin typeface="+mn-lt"/>
              </a:defRPr>
            </a:lvl1pPr>
          </a:lstStyle>
          <a:p>
            <a:pPr lvl="0"/>
            <a:endParaRPr lang="en-GB"/>
          </a:p>
        </p:txBody>
      </p:sp>
      <p:sp>
        <p:nvSpPr>
          <p:cNvPr id="31" name="Text Placeholder 14">
            <a:extLst>
              <a:ext uri="{FF2B5EF4-FFF2-40B4-BE49-F238E27FC236}">
                <a16:creationId xmlns:a16="http://schemas.microsoft.com/office/drawing/2014/main" id="{889DF3CE-1CA5-C24C-A0B1-6F49D162BCDE}"/>
              </a:ext>
            </a:extLst>
          </p:cNvPr>
          <p:cNvSpPr>
            <a:spLocks noGrp="1"/>
          </p:cNvSpPr>
          <p:nvPr>
            <p:ph type="body" sz="quarter" idx="21" hasCustomPrompt="1"/>
          </p:nvPr>
        </p:nvSpPr>
        <p:spPr>
          <a:xfrm>
            <a:off x="4727080" y="4026506"/>
            <a:ext cx="3486091" cy="184666"/>
          </a:xfrm>
        </p:spPr>
        <p:txBody>
          <a:bodyPr wrap="square" anchor="t" anchorCtr="0">
            <a:spAutoFit/>
          </a:bodyPr>
          <a:lstStyle>
            <a:lvl1pPr marL="0" indent="0">
              <a:buNone/>
              <a:defRPr sz="1200" b="1" spc="300">
                <a:latin typeface="+mn-lt"/>
              </a:defRPr>
            </a:lvl1pPr>
          </a:lstStyle>
          <a:p>
            <a:pPr lvl="0"/>
            <a:r>
              <a:rPr lang="en-GB"/>
              <a:t>IMPACT:</a:t>
            </a:r>
          </a:p>
        </p:txBody>
      </p:sp>
      <p:sp>
        <p:nvSpPr>
          <p:cNvPr id="32" name="Text Placeholder 14">
            <a:extLst>
              <a:ext uri="{FF2B5EF4-FFF2-40B4-BE49-F238E27FC236}">
                <a16:creationId xmlns:a16="http://schemas.microsoft.com/office/drawing/2014/main" id="{4FF3FD87-8D77-C448-B416-02A6B598BACA}"/>
              </a:ext>
            </a:extLst>
          </p:cNvPr>
          <p:cNvSpPr>
            <a:spLocks noGrp="1"/>
          </p:cNvSpPr>
          <p:nvPr>
            <p:ph type="body" sz="quarter" idx="22"/>
          </p:nvPr>
        </p:nvSpPr>
        <p:spPr>
          <a:xfrm>
            <a:off x="4727080" y="4344455"/>
            <a:ext cx="3486091" cy="184666"/>
          </a:xfrm>
        </p:spPr>
        <p:txBody>
          <a:bodyPr wrap="square">
            <a:spAutoFit/>
          </a:bodyPr>
          <a:lstStyle>
            <a:lvl1pPr marL="0" indent="0" eaLnBrk="1">
              <a:lnSpc>
                <a:spcPct val="100000"/>
              </a:lnSpc>
              <a:spcBef>
                <a:spcPts val="600"/>
              </a:spcBef>
              <a:buFont typeface="Arial" panose="020B0604020202020204" pitchFamily="34" charset="0"/>
              <a:buNone/>
              <a:defRPr sz="1200" b="0" spc="0">
                <a:latin typeface="+mn-lt"/>
              </a:defRPr>
            </a:lvl1pPr>
          </a:lstStyle>
          <a:p>
            <a:pPr lvl="0"/>
            <a:endParaRPr lang="en-GB"/>
          </a:p>
        </p:txBody>
      </p:sp>
      <p:sp>
        <p:nvSpPr>
          <p:cNvPr id="36" name="Text Placeholder 14">
            <a:extLst>
              <a:ext uri="{FF2B5EF4-FFF2-40B4-BE49-F238E27FC236}">
                <a16:creationId xmlns:a16="http://schemas.microsoft.com/office/drawing/2014/main" id="{C2E4F58F-207C-744A-90E2-64CDEA0270A8}"/>
              </a:ext>
            </a:extLst>
          </p:cNvPr>
          <p:cNvSpPr>
            <a:spLocks noGrp="1"/>
          </p:cNvSpPr>
          <p:nvPr>
            <p:ph type="body" sz="quarter" idx="23"/>
          </p:nvPr>
        </p:nvSpPr>
        <p:spPr>
          <a:xfrm>
            <a:off x="997512" y="2915824"/>
            <a:ext cx="3198770" cy="184666"/>
          </a:xfrm>
        </p:spPr>
        <p:txBody>
          <a:bodyPr wrap="square">
            <a:spAutoFit/>
          </a:bodyPr>
          <a:lstStyle>
            <a:lvl1pPr marL="0" indent="0" eaLnBrk="1">
              <a:lnSpc>
                <a:spcPct val="100000"/>
              </a:lnSpc>
              <a:spcBef>
                <a:spcPts val="600"/>
              </a:spcBef>
              <a:buNone/>
              <a:defRPr sz="1200" b="0">
                <a:latin typeface="+mn-lt"/>
              </a:defRPr>
            </a:lvl1pPr>
          </a:lstStyle>
          <a:p>
            <a:pPr lvl="0"/>
            <a:endParaRPr lang="en-GB"/>
          </a:p>
        </p:txBody>
      </p:sp>
      <p:sp>
        <p:nvSpPr>
          <p:cNvPr id="39" name="TextBox 38">
            <a:extLst>
              <a:ext uri="{FF2B5EF4-FFF2-40B4-BE49-F238E27FC236}">
                <a16:creationId xmlns:a16="http://schemas.microsoft.com/office/drawing/2014/main" id="{27458C44-9FB7-AF4E-9C82-1B01395851AC}"/>
              </a:ext>
            </a:extLst>
          </p:cNvPr>
          <p:cNvSpPr txBox="1"/>
          <p:nvPr userDrawn="1"/>
        </p:nvSpPr>
        <p:spPr>
          <a:xfrm>
            <a:off x="9054389" y="669544"/>
            <a:ext cx="1259083" cy="276999"/>
          </a:xfrm>
          <a:prstGeom prst="rect">
            <a:avLst/>
          </a:prstGeom>
          <a:noFill/>
          <a:effectLst/>
        </p:spPr>
        <p:txBody>
          <a:bodyPr wrap="square" lIns="0" rtlCol="0">
            <a:spAutoFit/>
          </a:bodyPr>
          <a:lstStyle/>
          <a:p>
            <a:r>
              <a:rPr lang="en-GB" sz="1200" spc="300">
                <a:latin typeface="Open Sans" panose="020B0606030504020204" pitchFamily="34" charset="0"/>
                <a:ea typeface="Open Sans" panose="020B0606030504020204" pitchFamily="34" charset="0"/>
                <a:cs typeface="Open Sans" panose="020B0606030504020204" pitchFamily="34" charset="0"/>
              </a:rPr>
              <a:t>LOCATION:</a:t>
            </a:r>
            <a:endParaRPr lang="en-GB" sz="300" spc="300">
              <a:latin typeface="Open Sans" panose="020B0606030504020204" pitchFamily="34" charset="0"/>
              <a:ea typeface="Open Sans" panose="020B0606030504020204" pitchFamily="34" charset="0"/>
              <a:cs typeface="Open Sans" panose="020B0606030504020204" pitchFamily="34" charset="0"/>
            </a:endParaRPr>
          </a:p>
        </p:txBody>
      </p:sp>
      <p:sp>
        <p:nvSpPr>
          <p:cNvPr id="43" name="TextBox 42">
            <a:extLst>
              <a:ext uri="{FF2B5EF4-FFF2-40B4-BE49-F238E27FC236}">
                <a16:creationId xmlns:a16="http://schemas.microsoft.com/office/drawing/2014/main" id="{8532EFBF-62F7-D446-8CFA-58B4AE67928D}"/>
              </a:ext>
            </a:extLst>
          </p:cNvPr>
          <p:cNvSpPr txBox="1"/>
          <p:nvPr userDrawn="1"/>
        </p:nvSpPr>
        <p:spPr>
          <a:xfrm>
            <a:off x="9054389" y="2894707"/>
            <a:ext cx="1935789" cy="400110"/>
          </a:xfrm>
          <a:prstGeom prst="rect">
            <a:avLst/>
          </a:prstGeom>
          <a:noFill/>
        </p:spPr>
        <p:txBody>
          <a:bodyPr wrap="square" lIns="0" tIns="0" rIns="0" bIns="0" rtlCol="0">
            <a:spAutoFit/>
          </a:bodyPr>
          <a:lstStyle/>
          <a:p>
            <a:pPr marL="0" marR="0" lvl="0" indent="0" defTabSz="914400" rtl="0" eaLnBrk="1" fontAlgn="auto" latinLnBrk="0" hangingPunct="1">
              <a:spcBef>
                <a:spcPts val="0"/>
              </a:spcBef>
              <a:spcAft>
                <a:spcPts val="0"/>
              </a:spcAft>
              <a:buClrTx/>
              <a:buSzTx/>
              <a:buFontTx/>
              <a:buNone/>
              <a:tabLst/>
              <a:defRPr/>
            </a:pPr>
            <a:r>
              <a:rPr lang="en-GB" sz="1200" spc="300">
                <a:latin typeface="Open Sans" panose="020B0606030504020204" pitchFamily="34" charset="0"/>
                <a:ea typeface="Open Sans" panose="020B0606030504020204" pitchFamily="34" charset="0"/>
                <a:cs typeface="Open Sans" panose="020B0606030504020204" pitchFamily="34" charset="0"/>
              </a:rPr>
              <a:t>DURATION:</a:t>
            </a:r>
            <a:r>
              <a:rPr kumimoji="0" lang="en-GB" sz="1400" u="none" strike="noStrike" kern="1200" cap="none" spc="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rPr>
              <a:t/>
            </a:r>
            <a:br>
              <a:rPr kumimoji="0" lang="en-GB" sz="1400" u="none" strike="noStrike" kern="1200" cap="none" spc="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rPr>
            </a:br>
            <a:endParaRPr kumimoji="0" lang="en-GB" sz="1400" u="none" strike="noStrike" kern="1200" cap="none" spc="0" normalizeH="0" baseline="0">
              <a:ln>
                <a:noFill/>
              </a:ln>
              <a:effectLst/>
              <a:uLnTx/>
              <a:uFillTx/>
              <a:latin typeface="+mj-lt"/>
              <a:ea typeface="Open Sans" panose="020B0606030504020204" pitchFamily="34" charset="0"/>
              <a:cs typeface="Open Sans" panose="020B0606030504020204" pitchFamily="34" charset="0"/>
            </a:endParaRPr>
          </a:p>
        </p:txBody>
      </p:sp>
      <p:sp>
        <p:nvSpPr>
          <p:cNvPr id="44" name="Text Placeholder 14">
            <a:extLst>
              <a:ext uri="{FF2B5EF4-FFF2-40B4-BE49-F238E27FC236}">
                <a16:creationId xmlns:a16="http://schemas.microsoft.com/office/drawing/2014/main" id="{5002CBFE-EB0D-A44A-9B0A-56B5F85A78D9}"/>
              </a:ext>
            </a:extLst>
          </p:cNvPr>
          <p:cNvSpPr>
            <a:spLocks noGrp="1"/>
          </p:cNvSpPr>
          <p:nvPr>
            <p:ph type="body" sz="quarter" idx="16" hasCustomPrompt="1"/>
          </p:nvPr>
        </p:nvSpPr>
        <p:spPr>
          <a:xfrm>
            <a:off x="9054389" y="930891"/>
            <a:ext cx="2065337" cy="369332"/>
          </a:xfrm>
        </p:spPr>
        <p:txBody>
          <a:bodyPr>
            <a:spAutoFit/>
          </a:bodyPr>
          <a:lstStyle>
            <a:lvl1pPr marL="0" indent="0">
              <a:buNone/>
              <a:defRPr sz="2400">
                <a:latin typeface="+mj-lt"/>
              </a:defRPr>
            </a:lvl1pPr>
          </a:lstStyle>
          <a:p>
            <a:pPr lvl="0"/>
            <a:r>
              <a:rPr lang="en-GB"/>
              <a:t>Country</a:t>
            </a:r>
          </a:p>
        </p:txBody>
      </p:sp>
      <p:sp>
        <p:nvSpPr>
          <p:cNvPr id="45" name="Text Placeholder 14">
            <a:extLst>
              <a:ext uri="{FF2B5EF4-FFF2-40B4-BE49-F238E27FC236}">
                <a16:creationId xmlns:a16="http://schemas.microsoft.com/office/drawing/2014/main" id="{B019C765-DC82-424A-A21B-BFB74105E0A9}"/>
              </a:ext>
            </a:extLst>
          </p:cNvPr>
          <p:cNvSpPr>
            <a:spLocks noGrp="1"/>
          </p:cNvSpPr>
          <p:nvPr>
            <p:ph type="body" sz="quarter" idx="25" hasCustomPrompt="1"/>
          </p:nvPr>
        </p:nvSpPr>
        <p:spPr>
          <a:xfrm>
            <a:off x="9054390" y="1528189"/>
            <a:ext cx="445219" cy="369332"/>
          </a:xfrm>
        </p:spPr>
        <p:txBody>
          <a:bodyPr wrap="square" anchor="b" anchorCtr="0">
            <a:spAutoFit/>
          </a:bodyPr>
          <a:lstStyle>
            <a:lvl1pPr marL="0" indent="0" algn="r">
              <a:buNone/>
              <a:defRPr sz="2400">
                <a:latin typeface="+mj-lt"/>
              </a:defRPr>
            </a:lvl1pPr>
          </a:lstStyle>
          <a:p>
            <a:pPr lvl="0"/>
            <a:r>
              <a:rPr lang="en-GB"/>
              <a:t>00</a:t>
            </a:r>
          </a:p>
        </p:txBody>
      </p:sp>
      <p:sp>
        <p:nvSpPr>
          <p:cNvPr id="46" name="Text Placeholder 14">
            <a:extLst>
              <a:ext uri="{FF2B5EF4-FFF2-40B4-BE49-F238E27FC236}">
                <a16:creationId xmlns:a16="http://schemas.microsoft.com/office/drawing/2014/main" id="{9A238635-D355-024A-BF72-9DE10448ED26}"/>
              </a:ext>
            </a:extLst>
          </p:cNvPr>
          <p:cNvSpPr>
            <a:spLocks noGrp="1"/>
          </p:cNvSpPr>
          <p:nvPr>
            <p:ph type="body" sz="quarter" idx="26" hasCustomPrompt="1"/>
          </p:nvPr>
        </p:nvSpPr>
        <p:spPr>
          <a:xfrm>
            <a:off x="9054390" y="2194750"/>
            <a:ext cx="445220" cy="369332"/>
          </a:xfrm>
        </p:spPr>
        <p:txBody>
          <a:bodyPr wrap="square" anchor="b" anchorCtr="0">
            <a:spAutoFit/>
          </a:bodyPr>
          <a:lstStyle>
            <a:lvl1pPr marL="0" indent="0" algn="r">
              <a:buNone/>
              <a:defRPr sz="2400">
                <a:latin typeface="+mj-lt"/>
              </a:defRPr>
            </a:lvl1pPr>
          </a:lstStyle>
          <a:p>
            <a:pPr lvl="0"/>
            <a:r>
              <a:rPr lang="en-GB"/>
              <a:t>00</a:t>
            </a:r>
          </a:p>
        </p:txBody>
      </p:sp>
      <p:sp>
        <p:nvSpPr>
          <p:cNvPr id="47" name="Text Placeholder 14">
            <a:extLst>
              <a:ext uri="{FF2B5EF4-FFF2-40B4-BE49-F238E27FC236}">
                <a16:creationId xmlns:a16="http://schemas.microsoft.com/office/drawing/2014/main" id="{AA490A44-B890-034F-AB0F-8D0CA30BE121}"/>
              </a:ext>
            </a:extLst>
          </p:cNvPr>
          <p:cNvSpPr>
            <a:spLocks noGrp="1"/>
          </p:cNvSpPr>
          <p:nvPr>
            <p:ph type="body" sz="quarter" idx="27"/>
          </p:nvPr>
        </p:nvSpPr>
        <p:spPr>
          <a:xfrm>
            <a:off x="9556526" y="1595686"/>
            <a:ext cx="1620116" cy="138499"/>
          </a:xfrm>
        </p:spPr>
        <p:txBody>
          <a:bodyPr wrap="square" anchor="t" anchorCtr="0">
            <a:spAutoFit/>
          </a:bodyPr>
          <a:lstStyle>
            <a:lvl1pPr marL="0" indent="0" eaLnBrk="1">
              <a:lnSpc>
                <a:spcPct val="90000"/>
              </a:lnSpc>
              <a:spcBef>
                <a:spcPts val="0"/>
              </a:spcBef>
              <a:buNone/>
              <a:defRPr sz="10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endParaRPr lang="en-GB"/>
          </a:p>
        </p:txBody>
      </p:sp>
      <p:sp>
        <p:nvSpPr>
          <p:cNvPr id="48" name="Text Placeholder 14">
            <a:extLst>
              <a:ext uri="{FF2B5EF4-FFF2-40B4-BE49-F238E27FC236}">
                <a16:creationId xmlns:a16="http://schemas.microsoft.com/office/drawing/2014/main" id="{EF704F7B-E68D-E14A-AE98-AD0D81640E03}"/>
              </a:ext>
            </a:extLst>
          </p:cNvPr>
          <p:cNvSpPr>
            <a:spLocks noGrp="1"/>
          </p:cNvSpPr>
          <p:nvPr>
            <p:ph type="body" sz="quarter" idx="28"/>
          </p:nvPr>
        </p:nvSpPr>
        <p:spPr>
          <a:xfrm>
            <a:off x="9556526" y="2262247"/>
            <a:ext cx="1620116" cy="138499"/>
          </a:xfrm>
        </p:spPr>
        <p:txBody>
          <a:bodyPr wrap="square" anchor="t" anchorCtr="0">
            <a:spAutoFit/>
          </a:bodyPr>
          <a:lstStyle>
            <a:lvl1pPr marL="0" indent="0" eaLnBrk="1">
              <a:lnSpc>
                <a:spcPct val="90000"/>
              </a:lnSpc>
              <a:spcBef>
                <a:spcPts val="0"/>
              </a:spcBef>
              <a:buNone/>
              <a:defRPr sz="10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endParaRPr lang="en-GB"/>
          </a:p>
        </p:txBody>
      </p:sp>
      <p:grpSp>
        <p:nvGrpSpPr>
          <p:cNvPr id="49" name="Group 48">
            <a:extLst>
              <a:ext uri="{FF2B5EF4-FFF2-40B4-BE49-F238E27FC236}">
                <a16:creationId xmlns:a16="http://schemas.microsoft.com/office/drawing/2014/main" id="{AE183238-9E63-1840-B5F8-4496CC07A5AA}"/>
              </a:ext>
            </a:extLst>
          </p:cNvPr>
          <p:cNvGrpSpPr>
            <a:grpSpLocks noChangeAspect="1"/>
          </p:cNvGrpSpPr>
          <p:nvPr userDrawn="1"/>
        </p:nvGrpSpPr>
        <p:grpSpPr>
          <a:xfrm>
            <a:off x="9054389" y="3133257"/>
            <a:ext cx="690978" cy="690978"/>
            <a:chOff x="5089526" y="5137785"/>
            <a:chExt cx="255588" cy="255588"/>
          </a:xfrm>
        </p:grpSpPr>
        <p:sp>
          <p:nvSpPr>
            <p:cNvPr id="50" name="Freeform 177">
              <a:extLst>
                <a:ext uri="{FF2B5EF4-FFF2-40B4-BE49-F238E27FC236}">
                  <a16:creationId xmlns:a16="http://schemas.microsoft.com/office/drawing/2014/main" id="{D722355F-2F76-784F-9A8A-4ABF7A2BE619}"/>
                </a:ext>
              </a:extLst>
            </p:cNvPr>
            <p:cNvSpPr>
              <a:spLocks/>
            </p:cNvSpPr>
            <p:nvPr/>
          </p:nvSpPr>
          <p:spPr bwMode="auto">
            <a:xfrm>
              <a:off x="5143501" y="5137785"/>
              <a:ext cx="17463" cy="58738"/>
            </a:xfrm>
            <a:custGeom>
              <a:avLst/>
              <a:gdLst>
                <a:gd name="T0" fmla="*/ 5 w 21"/>
                <a:gd name="T1" fmla="*/ 72 h 72"/>
                <a:gd name="T2" fmla="*/ 16 w 21"/>
                <a:gd name="T3" fmla="*/ 72 h 72"/>
                <a:gd name="T4" fmla="*/ 16 w 21"/>
                <a:gd name="T5" fmla="*/ 72 h 72"/>
                <a:gd name="T6" fmla="*/ 17 w 21"/>
                <a:gd name="T7" fmla="*/ 72 h 72"/>
                <a:gd name="T8" fmla="*/ 19 w 21"/>
                <a:gd name="T9" fmla="*/ 71 h 72"/>
                <a:gd name="T10" fmla="*/ 20 w 21"/>
                <a:gd name="T11" fmla="*/ 70 h 72"/>
                <a:gd name="T12" fmla="*/ 21 w 21"/>
                <a:gd name="T13" fmla="*/ 67 h 72"/>
                <a:gd name="T14" fmla="*/ 21 w 21"/>
                <a:gd name="T15" fmla="*/ 5 h 72"/>
                <a:gd name="T16" fmla="*/ 21 w 21"/>
                <a:gd name="T17" fmla="*/ 5 h 72"/>
                <a:gd name="T18" fmla="*/ 20 w 21"/>
                <a:gd name="T19" fmla="*/ 4 h 72"/>
                <a:gd name="T20" fmla="*/ 19 w 21"/>
                <a:gd name="T21" fmla="*/ 2 h 72"/>
                <a:gd name="T22" fmla="*/ 17 w 21"/>
                <a:gd name="T23" fmla="*/ 1 h 72"/>
                <a:gd name="T24" fmla="*/ 16 w 21"/>
                <a:gd name="T25" fmla="*/ 0 h 72"/>
                <a:gd name="T26" fmla="*/ 5 w 21"/>
                <a:gd name="T27" fmla="*/ 0 h 72"/>
                <a:gd name="T28" fmla="*/ 5 w 21"/>
                <a:gd name="T29" fmla="*/ 0 h 72"/>
                <a:gd name="T30" fmla="*/ 4 w 21"/>
                <a:gd name="T31" fmla="*/ 1 h 72"/>
                <a:gd name="T32" fmla="*/ 1 w 21"/>
                <a:gd name="T33" fmla="*/ 2 h 72"/>
                <a:gd name="T34" fmla="*/ 0 w 21"/>
                <a:gd name="T35" fmla="*/ 4 h 72"/>
                <a:gd name="T36" fmla="*/ 0 w 21"/>
                <a:gd name="T37" fmla="*/ 5 h 72"/>
                <a:gd name="T38" fmla="*/ 0 w 21"/>
                <a:gd name="T39" fmla="*/ 67 h 72"/>
                <a:gd name="T40" fmla="*/ 0 w 21"/>
                <a:gd name="T41" fmla="*/ 67 h 72"/>
                <a:gd name="T42" fmla="*/ 0 w 21"/>
                <a:gd name="T43" fmla="*/ 70 h 72"/>
                <a:gd name="T44" fmla="*/ 1 w 21"/>
                <a:gd name="T45" fmla="*/ 71 h 72"/>
                <a:gd name="T46" fmla="*/ 4 w 21"/>
                <a:gd name="T47" fmla="*/ 72 h 72"/>
                <a:gd name="T48" fmla="*/ 5 w 21"/>
                <a:gd name="T49" fmla="*/ 72 h 72"/>
                <a:gd name="T50" fmla="*/ 5 w 21"/>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72">
                  <a:moveTo>
                    <a:pt x="5" y="72"/>
                  </a:moveTo>
                  <a:lnTo>
                    <a:pt x="16" y="72"/>
                  </a:lnTo>
                  <a:lnTo>
                    <a:pt x="16" y="72"/>
                  </a:lnTo>
                  <a:lnTo>
                    <a:pt x="17" y="72"/>
                  </a:lnTo>
                  <a:lnTo>
                    <a:pt x="19" y="71"/>
                  </a:lnTo>
                  <a:lnTo>
                    <a:pt x="20" y="70"/>
                  </a:lnTo>
                  <a:lnTo>
                    <a:pt x="21" y="67"/>
                  </a:lnTo>
                  <a:lnTo>
                    <a:pt x="21" y="5"/>
                  </a:lnTo>
                  <a:lnTo>
                    <a:pt x="21" y="5"/>
                  </a:lnTo>
                  <a:lnTo>
                    <a:pt x="20" y="4"/>
                  </a:lnTo>
                  <a:lnTo>
                    <a:pt x="19" y="2"/>
                  </a:lnTo>
                  <a:lnTo>
                    <a:pt x="17" y="1"/>
                  </a:lnTo>
                  <a:lnTo>
                    <a:pt x="16" y="0"/>
                  </a:lnTo>
                  <a:lnTo>
                    <a:pt x="5" y="0"/>
                  </a:lnTo>
                  <a:lnTo>
                    <a:pt x="5" y="0"/>
                  </a:lnTo>
                  <a:lnTo>
                    <a:pt x="4" y="1"/>
                  </a:lnTo>
                  <a:lnTo>
                    <a:pt x="1" y="2"/>
                  </a:lnTo>
                  <a:lnTo>
                    <a:pt x="0" y="4"/>
                  </a:lnTo>
                  <a:lnTo>
                    <a:pt x="0" y="5"/>
                  </a:lnTo>
                  <a:lnTo>
                    <a:pt x="0" y="67"/>
                  </a:lnTo>
                  <a:lnTo>
                    <a:pt x="0" y="67"/>
                  </a:lnTo>
                  <a:lnTo>
                    <a:pt x="0" y="70"/>
                  </a:lnTo>
                  <a:lnTo>
                    <a:pt x="1" y="71"/>
                  </a:lnTo>
                  <a:lnTo>
                    <a:pt x="4" y="72"/>
                  </a:lnTo>
                  <a:lnTo>
                    <a:pt x="5" y="72"/>
                  </a:lnTo>
                  <a:lnTo>
                    <a:pt x="5"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1" name="Freeform 178">
              <a:extLst>
                <a:ext uri="{FF2B5EF4-FFF2-40B4-BE49-F238E27FC236}">
                  <a16:creationId xmlns:a16="http://schemas.microsoft.com/office/drawing/2014/main" id="{8763D62C-2412-1746-AF01-998D0DDF7679}"/>
                </a:ext>
              </a:extLst>
            </p:cNvPr>
            <p:cNvSpPr>
              <a:spLocks/>
            </p:cNvSpPr>
            <p:nvPr/>
          </p:nvSpPr>
          <p:spPr bwMode="auto">
            <a:xfrm>
              <a:off x="5275263" y="5137785"/>
              <a:ext cx="15875" cy="58738"/>
            </a:xfrm>
            <a:custGeom>
              <a:avLst/>
              <a:gdLst>
                <a:gd name="T0" fmla="*/ 6 w 22"/>
                <a:gd name="T1" fmla="*/ 72 h 72"/>
                <a:gd name="T2" fmla="*/ 16 w 22"/>
                <a:gd name="T3" fmla="*/ 72 h 72"/>
                <a:gd name="T4" fmla="*/ 16 w 22"/>
                <a:gd name="T5" fmla="*/ 72 h 72"/>
                <a:gd name="T6" fmla="*/ 18 w 22"/>
                <a:gd name="T7" fmla="*/ 72 h 72"/>
                <a:gd name="T8" fmla="*/ 20 w 22"/>
                <a:gd name="T9" fmla="*/ 71 h 72"/>
                <a:gd name="T10" fmla="*/ 20 w 22"/>
                <a:gd name="T11" fmla="*/ 70 h 72"/>
                <a:gd name="T12" fmla="*/ 22 w 22"/>
                <a:gd name="T13" fmla="*/ 67 h 72"/>
                <a:gd name="T14" fmla="*/ 22 w 22"/>
                <a:gd name="T15" fmla="*/ 5 h 72"/>
                <a:gd name="T16" fmla="*/ 22 w 22"/>
                <a:gd name="T17" fmla="*/ 5 h 72"/>
                <a:gd name="T18" fmla="*/ 20 w 22"/>
                <a:gd name="T19" fmla="*/ 4 h 72"/>
                <a:gd name="T20" fmla="*/ 20 w 22"/>
                <a:gd name="T21" fmla="*/ 2 h 72"/>
                <a:gd name="T22" fmla="*/ 18 w 22"/>
                <a:gd name="T23" fmla="*/ 1 h 72"/>
                <a:gd name="T24" fmla="*/ 16 w 22"/>
                <a:gd name="T25" fmla="*/ 0 h 72"/>
                <a:gd name="T26" fmla="*/ 6 w 22"/>
                <a:gd name="T27" fmla="*/ 0 h 72"/>
                <a:gd name="T28" fmla="*/ 6 w 22"/>
                <a:gd name="T29" fmla="*/ 0 h 72"/>
                <a:gd name="T30" fmla="*/ 4 w 22"/>
                <a:gd name="T31" fmla="*/ 1 h 72"/>
                <a:gd name="T32" fmla="*/ 3 w 22"/>
                <a:gd name="T33" fmla="*/ 2 h 72"/>
                <a:gd name="T34" fmla="*/ 1 w 22"/>
                <a:gd name="T35" fmla="*/ 4 h 72"/>
                <a:gd name="T36" fmla="*/ 0 w 22"/>
                <a:gd name="T37" fmla="*/ 5 h 72"/>
                <a:gd name="T38" fmla="*/ 0 w 22"/>
                <a:gd name="T39" fmla="*/ 67 h 72"/>
                <a:gd name="T40" fmla="*/ 0 w 22"/>
                <a:gd name="T41" fmla="*/ 67 h 72"/>
                <a:gd name="T42" fmla="*/ 1 w 22"/>
                <a:gd name="T43" fmla="*/ 70 h 72"/>
                <a:gd name="T44" fmla="*/ 3 w 22"/>
                <a:gd name="T45" fmla="*/ 71 h 72"/>
                <a:gd name="T46" fmla="*/ 4 w 22"/>
                <a:gd name="T47" fmla="*/ 72 h 72"/>
                <a:gd name="T48" fmla="*/ 6 w 22"/>
                <a:gd name="T49" fmla="*/ 72 h 72"/>
                <a:gd name="T50" fmla="*/ 6 w 22"/>
                <a:gd name="T5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72">
                  <a:moveTo>
                    <a:pt x="6" y="72"/>
                  </a:moveTo>
                  <a:lnTo>
                    <a:pt x="16" y="72"/>
                  </a:lnTo>
                  <a:lnTo>
                    <a:pt x="16" y="72"/>
                  </a:lnTo>
                  <a:lnTo>
                    <a:pt x="18" y="72"/>
                  </a:lnTo>
                  <a:lnTo>
                    <a:pt x="20" y="71"/>
                  </a:lnTo>
                  <a:lnTo>
                    <a:pt x="20" y="70"/>
                  </a:lnTo>
                  <a:lnTo>
                    <a:pt x="22" y="67"/>
                  </a:lnTo>
                  <a:lnTo>
                    <a:pt x="22" y="5"/>
                  </a:lnTo>
                  <a:lnTo>
                    <a:pt x="22" y="5"/>
                  </a:lnTo>
                  <a:lnTo>
                    <a:pt x="20" y="4"/>
                  </a:lnTo>
                  <a:lnTo>
                    <a:pt x="20" y="2"/>
                  </a:lnTo>
                  <a:lnTo>
                    <a:pt x="18" y="1"/>
                  </a:lnTo>
                  <a:lnTo>
                    <a:pt x="16" y="0"/>
                  </a:lnTo>
                  <a:lnTo>
                    <a:pt x="6" y="0"/>
                  </a:lnTo>
                  <a:lnTo>
                    <a:pt x="6" y="0"/>
                  </a:lnTo>
                  <a:lnTo>
                    <a:pt x="4" y="1"/>
                  </a:lnTo>
                  <a:lnTo>
                    <a:pt x="3" y="2"/>
                  </a:lnTo>
                  <a:lnTo>
                    <a:pt x="1" y="4"/>
                  </a:lnTo>
                  <a:lnTo>
                    <a:pt x="0" y="5"/>
                  </a:lnTo>
                  <a:lnTo>
                    <a:pt x="0" y="67"/>
                  </a:lnTo>
                  <a:lnTo>
                    <a:pt x="0" y="67"/>
                  </a:lnTo>
                  <a:lnTo>
                    <a:pt x="1" y="70"/>
                  </a:lnTo>
                  <a:lnTo>
                    <a:pt x="3" y="71"/>
                  </a:lnTo>
                  <a:lnTo>
                    <a:pt x="4" y="72"/>
                  </a:lnTo>
                  <a:lnTo>
                    <a:pt x="6" y="72"/>
                  </a:lnTo>
                  <a:lnTo>
                    <a:pt x="6"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sp>
          <p:nvSpPr>
            <p:cNvPr id="52" name="Freeform 179">
              <a:extLst>
                <a:ext uri="{FF2B5EF4-FFF2-40B4-BE49-F238E27FC236}">
                  <a16:creationId xmlns:a16="http://schemas.microsoft.com/office/drawing/2014/main" id="{6AFBBA68-3C5F-E149-AF34-A4195642434B}"/>
                </a:ext>
              </a:extLst>
            </p:cNvPr>
            <p:cNvSpPr>
              <a:spLocks noEditPoints="1"/>
            </p:cNvSpPr>
            <p:nvPr/>
          </p:nvSpPr>
          <p:spPr bwMode="auto">
            <a:xfrm>
              <a:off x="5089526" y="5164773"/>
              <a:ext cx="255588" cy="228600"/>
            </a:xfrm>
            <a:custGeom>
              <a:avLst/>
              <a:gdLst>
                <a:gd name="T0" fmla="*/ 264 w 321"/>
                <a:gd name="T1" fmla="*/ 0 h 289"/>
                <a:gd name="T2" fmla="*/ 264 w 321"/>
                <a:gd name="T3" fmla="*/ 46 h 289"/>
                <a:gd name="T4" fmla="*/ 262 w 321"/>
                <a:gd name="T5" fmla="*/ 50 h 289"/>
                <a:gd name="T6" fmla="*/ 259 w 321"/>
                <a:gd name="T7" fmla="*/ 51 h 289"/>
                <a:gd name="T8" fmla="*/ 228 w 321"/>
                <a:gd name="T9" fmla="*/ 51 h 289"/>
                <a:gd name="T10" fmla="*/ 224 w 321"/>
                <a:gd name="T11" fmla="*/ 50 h 289"/>
                <a:gd name="T12" fmla="*/ 223 w 321"/>
                <a:gd name="T13" fmla="*/ 46 h 289"/>
                <a:gd name="T14" fmla="*/ 98 w 321"/>
                <a:gd name="T15" fmla="*/ 0 h 289"/>
                <a:gd name="T16" fmla="*/ 98 w 321"/>
                <a:gd name="T17" fmla="*/ 46 h 289"/>
                <a:gd name="T18" fmla="*/ 96 w 321"/>
                <a:gd name="T19" fmla="*/ 50 h 289"/>
                <a:gd name="T20" fmla="*/ 92 w 321"/>
                <a:gd name="T21" fmla="*/ 51 h 289"/>
                <a:gd name="T22" fmla="*/ 61 w 321"/>
                <a:gd name="T23" fmla="*/ 51 h 289"/>
                <a:gd name="T24" fmla="*/ 59 w 321"/>
                <a:gd name="T25" fmla="*/ 50 h 289"/>
                <a:gd name="T26" fmla="*/ 56 w 321"/>
                <a:gd name="T27" fmla="*/ 46 h 289"/>
                <a:gd name="T28" fmla="*/ 10 w 321"/>
                <a:gd name="T29" fmla="*/ 0 h 289"/>
                <a:gd name="T30" fmla="*/ 6 w 321"/>
                <a:gd name="T31" fmla="*/ 0 h 289"/>
                <a:gd name="T32" fmla="*/ 1 w 321"/>
                <a:gd name="T33" fmla="*/ 5 h 289"/>
                <a:gd name="T34" fmla="*/ 0 w 321"/>
                <a:gd name="T35" fmla="*/ 278 h 289"/>
                <a:gd name="T36" fmla="*/ 1 w 321"/>
                <a:gd name="T37" fmla="*/ 282 h 289"/>
                <a:gd name="T38" fmla="*/ 6 w 321"/>
                <a:gd name="T39" fmla="*/ 289 h 289"/>
                <a:gd name="T40" fmla="*/ 310 w 321"/>
                <a:gd name="T41" fmla="*/ 289 h 289"/>
                <a:gd name="T42" fmla="*/ 314 w 321"/>
                <a:gd name="T43" fmla="*/ 289 h 289"/>
                <a:gd name="T44" fmla="*/ 319 w 321"/>
                <a:gd name="T45" fmla="*/ 282 h 289"/>
                <a:gd name="T46" fmla="*/ 321 w 321"/>
                <a:gd name="T47" fmla="*/ 9 h 289"/>
                <a:gd name="T48" fmla="*/ 319 w 321"/>
                <a:gd name="T49" fmla="*/ 5 h 289"/>
                <a:gd name="T50" fmla="*/ 314 w 321"/>
                <a:gd name="T51" fmla="*/ 0 h 289"/>
                <a:gd name="T52" fmla="*/ 310 w 321"/>
                <a:gd name="T53" fmla="*/ 0 h 289"/>
                <a:gd name="T54" fmla="*/ 299 w 321"/>
                <a:gd name="T55" fmla="*/ 264 h 289"/>
                <a:gd name="T56" fmla="*/ 298 w 321"/>
                <a:gd name="T57" fmla="*/ 266 h 289"/>
                <a:gd name="T58" fmla="*/ 294 w 321"/>
                <a:gd name="T59" fmla="*/ 268 h 289"/>
                <a:gd name="T60" fmla="*/ 27 w 321"/>
                <a:gd name="T61" fmla="*/ 268 h 289"/>
                <a:gd name="T62" fmla="*/ 22 w 321"/>
                <a:gd name="T63" fmla="*/ 266 h 289"/>
                <a:gd name="T64" fmla="*/ 21 w 321"/>
                <a:gd name="T65" fmla="*/ 264 h 289"/>
                <a:gd name="T66" fmla="*/ 21 w 321"/>
                <a:gd name="T67" fmla="*/ 87 h 289"/>
                <a:gd name="T68" fmla="*/ 22 w 321"/>
                <a:gd name="T69" fmla="*/ 83 h 289"/>
                <a:gd name="T70" fmla="*/ 27 w 321"/>
                <a:gd name="T71" fmla="*/ 82 h 289"/>
                <a:gd name="T72" fmla="*/ 294 w 321"/>
                <a:gd name="T73" fmla="*/ 82 h 289"/>
                <a:gd name="T74" fmla="*/ 298 w 321"/>
                <a:gd name="T75" fmla="*/ 83 h 289"/>
                <a:gd name="T76" fmla="*/ 299 w 321"/>
                <a:gd name="T77" fmla="*/ 8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289">
                  <a:moveTo>
                    <a:pt x="310" y="0"/>
                  </a:moveTo>
                  <a:lnTo>
                    <a:pt x="264" y="0"/>
                  </a:lnTo>
                  <a:lnTo>
                    <a:pt x="264" y="46"/>
                  </a:lnTo>
                  <a:lnTo>
                    <a:pt x="264" y="46"/>
                  </a:lnTo>
                  <a:lnTo>
                    <a:pt x="263" y="48"/>
                  </a:lnTo>
                  <a:lnTo>
                    <a:pt x="262" y="50"/>
                  </a:lnTo>
                  <a:lnTo>
                    <a:pt x="260" y="51"/>
                  </a:lnTo>
                  <a:lnTo>
                    <a:pt x="259" y="51"/>
                  </a:lnTo>
                  <a:lnTo>
                    <a:pt x="228" y="51"/>
                  </a:lnTo>
                  <a:lnTo>
                    <a:pt x="228" y="51"/>
                  </a:lnTo>
                  <a:lnTo>
                    <a:pt x="225" y="51"/>
                  </a:lnTo>
                  <a:lnTo>
                    <a:pt x="224" y="50"/>
                  </a:lnTo>
                  <a:lnTo>
                    <a:pt x="223" y="48"/>
                  </a:lnTo>
                  <a:lnTo>
                    <a:pt x="223" y="46"/>
                  </a:lnTo>
                  <a:lnTo>
                    <a:pt x="223" y="0"/>
                  </a:lnTo>
                  <a:lnTo>
                    <a:pt x="98" y="0"/>
                  </a:lnTo>
                  <a:lnTo>
                    <a:pt x="98" y="46"/>
                  </a:lnTo>
                  <a:lnTo>
                    <a:pt x="98" y="46"/>
                  </a:lnTo>
                  <a:lnTo>
                    <a:pt x="98" y="48"/>
                  </a:lnTo>
                  <a:lnTo>
                    <a:pt x="96" y="50"/>
                  </a:lnTo>
                  <a:lnTo>
                    <a:pt x="95" y="51"/>
                  </a:lnTo>
                  <a:lnTo>
                    <a:pt x="92" y="51"/>
                  </a:lnTo>
                  <a:lnTo>
                    <a:pt x="61" y="51"/>
                  </a:lnTo>
                  <a:lnTo>
                    <a:pt x="61" y="51"/>
                  </a:lnTo>
                  <a:lnTo>
                    <a:pt x="60" y="51"/>
                  </a:lnTo>
                  <a:lnTo>
                    <a:pt x="59" y="50"/>
                  </a:lnTo>
                  <a:lnTo>
                    <a:pt x="57" y="48"/>
                  </a:lnTo>
                  <a:lnTo>
                    <a:pt x="56" y="46"/>
                  </a:lnTo>
                  <a:lnTo>
                    <a:pt x="56" y="0"/>
                  </a:lnTo>
                  <a:lnTo>
                    <a:pt x="10" y="0"/>
                  </a:lnTo>
                  <a:lnTo>
                    <a:pt x="10" y="0"/>
                  </a:lnTo>
                  <a:lnTo>
                    <a:pt x="6" y="0"/>
                  </a:lnTo>
                  <a:lnTo>
                    <a:pt x="2" y="3"/>
                  </a:lnTo>
                  <a:lnTo>
                    <a:pt x="1" y="5"/>
                  </a:lnTo>
                  <a:lnTo>
                    <a:pt x="0" y="9"/>
                  </a:lnTo>
                  <a:lnTo>
                    <a:pt x="0" y="278"/>
                  </a:lnTo>
                  <a:lnTo>
                    <a:pt x="0" y="278"/>
                  </a:lnTo>
                  <a:lnTo>
                    <a:pt x="1" y="282"/>
                  </a:lnTo>
                  <a:lnTo>
                    <a:pt x="2" y="286"/>
                  </a:lnTo>
                  <a:lnTo>
                    <a:pt x="6" y="289"/>
                  </a:lnTo>
                  <a:lnTo>
                    <a:pt x="10" y="289"/>
                  </a:lnTo>
                  <a:lnTo>
                    <a:pt x="310" y="289"/>
                  </a:lnTo>
                  <a:lnTo>
                    <a:pt x="310" y="289"/>
                  </a:lnTo>
                  <a:lnTo>
                    <a:pt x="314" y="289"/>
                  </a:lnTo>
                  <a:lnTo>
                    <a:pt x="318" y="286"/>
                  </a:lnTo>
                  <a:lnTo>
                    <a:pt x="319" y="282"/>
                  </a:lnTo>
                  <a:lnTo>
                    <a:pt x="321" y="278"/>
                  </a:lnTo>
                  <a:lnTo>
                    <a:pt x="321" y="9"/>
                  </a:lnTo>
                  <a:lnTo>
                    <a:pt x="321" y="9"/>
                  </a:lnTo>
                  <a:lnTo>
                    <a:pt x="319" y="5"/>
                  </a:lnTo>
                  <a:lnTo>
                    <a:pt x="318" y="3"/>
                  </a:lnTo>
                  <a:lnTo>
                    <a:pt x="314" y="0"/>
                  </a:lnTo>
                  <a:lnTo>
                    <a:pt x="310" y="0"/>
                  </a:lnTo>
                  <a:lnTo>
                    <a:pt x="310" y="0"/>
                  </a:lnTo>
                  <a:close/>
                  <a:moveTo>
                    <a:pt x="299" y="264"/>
                  </a:moveTo>
                  <a:lnTo>
                    <a:pt x="299" y="264"/>
                  </a:lnTo>
                  <a:lnTo>
                    <a:pt x="299" y="265"/>
                  </a:lnTo>
                  <a:lnTo>
                    <a:pt x="298" y="266"/>
                  </a:lnTo>
                  <a:lnTo>
                    <a:pt x="297" y="268"/>
                  </a:lnTo>
                  <a:lnTo>
                    <a:pt x="294" y="268"/>
                  </a:lnTo>
                  <a:lnTo>
                    <a:pt x="27" y="268"/>
                  </a:lnTo>
                  <a:lnTo>
                    <a:pt x="27" y="268"/>
                  </a:lnTo>
                  <a:lnTo>
                    <a:pt x="24" y="268"/>
                  </a:lnTo>
                  <a:lnTo>
                    <a:pt x="22" y="266"/>
                  </a:lnTo>
                  <a:lnTo>
                    <a:pt x="21" y="265"/>
                  </a:lnTo>
                  <a:lnTo>
                    <a:pt x="21" y="264"/>
                  </a:lnTo>
                  <a:lnTo>
                    <a:pt x="21" y="87"/>
                  </a:lnTo>
                  <a:lnTo>
                    <a:pt x="21" y="87"/>
                  </a:lnTo>
                  <a:lnTo>
                    <a:pt x="21" y="85"/>
                  </a:lnTo>
                  <a:lnTo>
                    <a:pt x="22" y="83"/>
                  </a:lnTo>
                  <a:lnTo>
                    <a:pt x="24" y="82"/>
                  </a:lnTo>
                  <a:lnTo>
                    <a:pt x="27" y="82"/>
                  </a:lnTo>
                  <a:lnTo>
                    <a:pt x="294" y="82"/>
                  </a:lnTo>
                  <a:lnTo>
                    <a:pt x="294" y="82"/>
                  </a:lnTo>
                  <a:lnTo>
                    <a:pt x="297" y="82"/>
                  </a:lnTo>
                  <a:lnTo>
                    <a:pt x="298" y="83"/>
                  </a:lnTo>
                  <a:lnTo>
                    <a:pt x="299" y="85"/>
                  </a:lnTo>
                  <a:lnTo>
                    <a:pt x="299" y="87"/>
                  </a:lnTo>
                  <a:lnTo>
                    <a:pt x="299" y="2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GB"/>
            </a:p>
          </p:txBody>
        </p:sp>
      </p:grpSp>
      <p:sp>
        <p:nvSpPr>
          <p:cNvPr id="54" name="Text Placeholder 14">
            <a:extLst>
              <a:ext uri="{FF2B5EF4-FFF2-40B4-BE49-F238E27FC236}">
                <a16:creationId xmlns:a16="http://schemas.microsoft.com/office/drawing/2014/main" id="{641579B5-7FB8-3D4A-BEBA-04902592A260}"/>
              </a:ext>
            </a:extLst>
          </p:cNvPr>
          <p:cNvSpPr>
            <a:spLocks noGrp="1"/>
          </p:cNvSpPr>
          <p:nvPr>
            <p:ph type="body" sz="quarter" idx="24" hasCustomPrompt="1"/>
          </p:nvPr>
        </p:nvSpPr>
        <p:spPr>
          <a:xfrm>
            <a:off x="9205676" y="3390627"/>
            <a:ext cx="539691" cy="369332"/>
          </a:xfrm>
        </p:spPr>
        <p:txBody>
          <a:bodyPr wrap="square">
            <a:spAutoFit/>
          </a:bodyPr>
          <a:lstStyle>
            <a:lvl1pPr marL="0" indent="0">
              <a:buNone/>
              <a:defRPr sz="2400">
                <a:latin typeface="+mj-lt"/>
              </a:defRPr>
            </a:lvl1pPr>
          </a:lstStyle>
          <a:p>
            <a:pPr lvl="0"/>
            <a:r>
              <a:rPr lang="en-GB"/>
              <a:t>00</a:t>
            </a:r>
          </a:p>
        </p:txBody>
      </p:sp>
    </p:spTree>
    <p:extLst>
      <p:ext uri="{BB962C8B-B14F-4D97-AF65-F5344CB8AC3E}">
        <p14:creationId xmlns:p14="http://schemas.microsoft.com/office/powerpoint/2010/main" val="2009948966"/>
      </p:ext>
    </p:extLst>
  </p:cSld>
  <p:clrMapOvr>
    <a:overrideClrMapping bg1="lt1" tx1="dk1" bg2="lt2" tx2="dk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gital Strategy - CV">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5366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1"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id="{D1DE570C-003F-F744-95DD-1AC429FB616E}"/>
              </a:ext>
            </a:extLst>
          </p:cNvPr>
          <p:cNvSpPr txBox="1">
            <a:spLocks/>
          </p:cNvSpPr>
          <p:nvPr userDrawn="1"/>
        </p:nvSpPr>
        <p:spPr>
          <a:xfrm>
            <a:off x="645495" y="1049733"/>
            <a:ext cx="5400416" cy="439737"/>
          </a:xfrm>
          <a:prstGeom prst="rect">
            <a:avLst/>
          </a:prstGeom>
        </p:spPr>
        <p:txBody>
          <a:bodyPr anchor="b" anchorCtr="0"/>
          <a:lstStyle>
            <a:lvl1pPr marL="0" indent="0" algn="l" defTabSz="914400" rtl="0" eaLnBrk="1" latinLnBrk="0" hangingPunct="1">
              <a:lnSpc>
                <a:spcPct val="90000"/>
              </a:lnSpc>
              <a:spcBef>
                <a:spcPts val="0"/>
              </a:spcBef>
              <a:buClr>
                <a:schemeClr val="accent5"/>
              </a:buClr>
              <a:buSzPct val="75000"/>
              <a:buFont typeface="Arial" panose="020B0604020202020204" pitchFamily="34" charset="0"/>
              <a:buNone/>
              <a:defRPr sz="2800" kern="1200" spc="-30">
                <a:solidFill>
                  <a:schemeClr val="tx1"/>
                </a:solidFill>
                <a:latin typeface="+mj-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b="1">
                <a:latin typeface="+mn-lt"/>
              </a:rPr>
              <a:t>First &amp; Last Name</a:t>
            </a:r>
            <a:r>
              <a:rPr lang="en-GB" sz="2400"/>
              <a:t/>
            </a:r>
            <a:br>
              <a:rPr lang="en-GB" sz="2400"/>
            </a:br>
            <a:r>
              <a:rPr lang="en-GB" sz="2400">
                <a:latin typeface="Open Sans Light" panose="020B0306030504020204" pitchFamily="34" charset="0"/>
                <a:ea typeface="Open Sans Light" panose="020B0306030504020204" pitchFamily="34" charset="0"/>
                <a:cs typeface="Open Sans Light" panose="020B0306030504020204" pitchFamily="34" charset="0"/>
              </a:rPr>
              <a:t>Title, Group</a:t>
            </a:r>
          </a:p>
        </p:txBody>
      </p:sp>
      <p:sp>
        <p:nvSpPr>
          <p:cNvPr id="5" name="Text Placeholder 9">
            <a:extLst>
              <a:ext uri="{FF2B5EF4-FFF2-40B4-BE49-F238E27FC236}">
                <a16:creationId xmlns:a16="http://schemas.microsoft.com/office/drawing/2014/main" id="{EAACF38E-E2E4-CE4A-AEF8-367DB56E98D2}"/>
              </a:ext>
            </a:extLst>
          </p:cNvPr>
          <p:cNvSpPr txBox="1">
            <a:spLocks/>
          </p:cNvSpPr>
          <p:nvPr userDrawn="1"/>
        </p:nvSpPr>
        <p:spPr>
          <a:xfrm>
            <a:off x="4571827" y="811774"/>
            <a:ext cx="3463925" cy="228600"/>
          </a:xfrm>
          <a:prstGeom prst="rect">
            <a:avLst/>
          </a:prstGeom>
        </p:spPr>
        <p:txBody>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900" b="1" i="0" u="none" strike="noStrike" kern="1200" cap="none" spc="300" normalizeH="0" baseline="0" noProof="0">
                <a:ln>
                  <a:noFill/>
                </a:ln>
                <a:solidFill>
                  <a:srgbClr val="000000"/>
                </a:solidFill>
                <a:effectLst/>
                <a:uLnTx/>
                <a:uFillTx/>
                <a:latin typeface="Open Sans"/>
                <a:ea typeface="Open Sans" charset="0"/>
                <a:cs typeface="Open Sans" charset="0"/>
              </a:rPr>
              <a:t>BIO</a:t>
            </a:r>
          </a:p>
        </p:txBody>
      </p:sp>
      <p:sp>
        <p:nvSpPr>
          <p:cNvPr id="15" name="Rectangle 14">
            <a:extLst>
              <a:ext uri="{FF2B5EF4-FFF2-40B4-BE49-F238E27FC236}">
                <a16:creationId xmlns:a16="http://schemas.microsoft.com/office/drawing/2014/main" id="{5D36B62D-67D7-3445-AE3E-DD89E4E93B87}"/>
              </a:ext>
            </a:extLst>
          </p:cNvPr>
          <p:cNvSpPr/>
          <p:nvPr userDrawn="1"/>
        </p:nvSpPr>
        <p:spPr>
          <a:xfrm flipH="1">
            <a:off x="4128390" y="0"/>
            <a:ext cx="92182"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Tree>
    <p:extLst>
      <p:ext uri="{BB962C8B-B14F-4D97-AF65-F5344CB8AC3E}">
        <p14:creationId xmlns:p14="http://schemas.microsoft.com/office/powerpoint/2010/main" val="39407714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igital Vision - CV Turquois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7890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5"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C58D203-E92C-7343-846C-4AB50869A4C6}"/>
              </a:ext>
            </a:extLst>
          </p:cNvPr>
          <p:cNvSpPr/>
          <p:nvPr userDrawn="1"/>
        </p:nvSpPr>
        <p:spPr>
          <a:xfrm>
            <a:off x="0" y="0"/>
            <a:ext cx="412839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5" name="Rectangle 14">
            <a:extLst>
              <a:ext uri="{FF2B5EF4-FFF2-40B4-BE49-F238E27FC236}">
                <a16:creationId xmlns:a16="http://schemas.microsoft.com/office/drawing/2014/main" id="{5D36B62D-67D7-3445-AE3E-DD89E4E93B87}"/>
              </a:ext>
            </a:extLst>
          </p:cNvPr>
          <p:cNvSpPr/>
          <p:nvPr userDrawn="1"/>
        </p:nvSpPr>
        <p:spPr>
          <a:xfrm flipH="1">
            <a:off x="4128390" y="0"/>
            <a:ext cx="92182"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8" name="Text Placeholder 9">
            <a:extLst>
              <a:ext uri="{FF2B5EF4-FFF2-40B4-BE49-F238E27FC236}">
                <a16:creationId xmlns:a16="http://schemas.microsoft.com/office/drawing/2014/main" id="{7CDABC30-20B2-7243-92CE-0A2DDCCB77DA}"/>
              </a:ext>
            </a:extLst>
          </p:cNvPr>
          <p:cNvSpPr txBox="1">
            <a:spLocks/>
          </p:cNvSpPr>
          <p:nvPr userDrawn="1"/>
        </p:nvSpPr>
        <p:spPr>
          <a:xfrm>
            <a:off x="4571827" y="811774"/>
            <a:ext cx="3463925" cy="228600"/>
          </a:xfrm>
          <a:prstGeom prst="rect">
            <a:avLst/>
          </a:prstGeom>
        </p:spPr>
        <p:txBody>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900" b="1" i="0" u="none" strike="noStrike" kern="1200" cap="none" spc="300" normalizeH="0" baseline="0" noProof="0">
                <a:ln>
                  <a:noFill/>
                </a:ln>
                <a:solidFill>
                  <a:srgbClr val="000000"/>
                </a:solidFill>
                <a:effectLst/>
                <a:uLnTx/>
                <a:uFillTx/>
                <a:latin typeface="Open Sans"/>
                <a:ea typeface="Open Sans" charset="0"/>
                <a:cs typeface="Open Sans" charset="0"/>
              </a:rPr>
              <a:t>BIO</a:t>
            </a:r>
          </a:p>
        </p:txBody>
      </p:sp>
      <p:sp>
        <p:nvSpPr>
          <p:cNvPr id="23" name="Oval 22">
            <a:extLst>
              <a:ext uri="{FF2B5EF4-FFF2-40B4-BE49-F238E27FC236}">
                <a16:creationId xmlns:a16="http://schemas.microsoft.com/office/drawing/2014/main" id="{8D12F1CF-7CE3-4D4F-A1C8-AF13B9AE5640}"/>
              </a:ext>
            </a:extLst>
          </p:cNvPr>
          <p:cNvSpPr/>
          <p:nvPr userDrawn="1"/>
        </p:nvSpPr>
        <p:spPr>
          <a:xfrm>
            <a:off x="248280" y="1828800"/>
            <a:ext cx="3733800" cy="3733800"/>
          </a:xfrm>
          <a:prstGeom prst="ellipse">
            <a:avLst/>
          </a:prstGeom>
          <a:pattFill prst="lgConfetti">
            <a:fgClr>
              <a:schemeClr val="tx1"/>
            </a:fgClr>
            <a:bgClr>
              <a:schemeClr val="accent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Tree>
    <p:extLst>
      <p:ext uri="{BB962C8B-B14F-4D97-AF65-F5344CB8AC3E}">
        <p14:creationId xmlns:p14="http://schemas.microsoft.com/office/powerpoint/2010/main" val="2224918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Digital Proposition - CV yell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919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9"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8825231A-2974-8645-806D-30B0D5905E13}"/>
              </a:ext>
            </a:extLst>
          </p:cNvPr>
          <p:cNvSpPr/>
          <p:nvPr userDrawn="1"/>
        </p:nvSpPr>
        <p:spPr>
          <a:xfrm>
            <a:off x="0" y="0"/>
            <a:ext cx="412839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5" name="Rectangle 14">
            <a:extLst>
              <a:ext uri="{FF2B5EF4-FFF2-40B4-BE49-F238E27FC236}">
                <a16:creationId xmlns:a16="http://schemas.microsoft.com/office/drawing/2014/main" id="{5D36B62D-67D7-3445-AE3E-DD89E4E93B87}"/>
              </a:ext>
            </a:extLst>
          </p:cNvPr>
          <p:cNvSpPr/>
          <p:nvPr userDrawn="1"/>
        </p:nvSpPr>
        <p:spPr>
          <a:xfrm flipH="1">
            <a:off x="4128390" y="0"/>
            <a:ext cx="92182"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0" name="Text Placeholder 9">
            <a:extLst>
              <a:ext uri="{FF2B5EF4-FFF2-40B4-BE49-F238E27FC236}">
                <a16:creationId xmlns:a16="http://schemas.microsoft.com/office/drawing/2014/main" id="{8B105E35-5209-4F45-9627-4AA6992861AF}"/>
              </a:ext>
            </a:extLst>
          </p:cNvPr>
          <p:cNvSpPr txBox="1">
            <a:spLocks/>
          </p:cNvSpPr>
          <p:nvPr userDrawn="1"/>
        </p:nvSpPr>
        <p:spPr>
          <a:xfrm>
            <a:off x="4571827" y="811774"/>
            <a:ext cx="3463925" cy="228600"/>
          </a:xfrm>
          <a:prstGeom prst="rect">
            <a:avLst/>
          </a:prstGeom>
        </p:spPr>
        <p:txBody>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900" b="1" i="0" u="none" strike="noStrike" kern="1200" cap="none" spc="300" normalizeH="0" baseline="0" noProof="0">
                <a:ln>
                  <a:noFill/>
                </a:ln>
                <a:solidFill>
                  <a:srgbClr val="000000"/>
                </a:solidFill>
                <a:effectLst/>
                <a:uLnTx/>
                <a:uFillTx/>
                <a:latin typeface="Open Sans"/>
                <a:ea typeface="Open Sans" charset="0"/>
                <a:cs typeface="Open Sans" charset="0"/>
              </a:rPr>
              <a:t>BIO</a:t>
            </a:r>
          </a:p>
        </p:txBody>
      </p:sp>
      <p:sp>
        <p:nvSpPr>
          <p:cNvPr id="21" name="Oval 20">
            <a:extLst>
              <a:ext uri="{FF2B5EF4-FFF2-40B4-BE49-F238E27FC236}">
                <a16:creationId xmlns:a16="http://schemas.microsoft.com/office/drawing/2014/main" id="{5533CBF1-9EE6-3C44-8252-E45D465C8C39}"/>
              </a:ext>
            </a:extLst>
          </p:cNvPr>
          <p:cNvSpPr/>
          <p:nvPr userDrawn="1"/>
        </p:nvSpPr>
        <p:spPr>
          <a:xfrm>
            <a:off x="248280" y="1828800"/>
            <a:ext cx="3733800" cy="3733800"/>
          </a:xfrm>
          <a:prstGeom prst="ellipse">
            <a:avLst/>
          </a:prstGeom>
          <a:pattFill prst="dashVert">
            <a:fgClr>
              <a:schemeClr val="tx1"/>
            </a:fgClr>
            <a:bgClr>
              <a:schemeClr val="accent3"/>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Tree>
    <p:extLst>
      <p:ext uri="{BB962C8B-B14F-4D97-AF65-F5344CB8AC3E}">
        <p14:creationId xmlns:p14="http://schemas.microsoft.com/office/powerpoint/2010/main" val="31415517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Digital Migration - CV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7488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3"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89358BDC-86A3-D844-A601-4568E64B814D}"/>
              </a:ext>
            </a:extLst>
          </p:cNvPr>
          <p:cNvSpPr/>
          <p:nvPr userDrawn="1"/>
        </p:nvSpPr>
        <p:spPr>
          <a:xfrm>
            <a:off x="0" y="0"/>
            <a:ext cx="412839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5" name="Rectangle 14">
            <a:extLst>
              <a:ext uri="{FF2B5EF4-FFF2-40B4-BE49-F238E27FC236}">
                <a16:creationId xmlns:a16="http://schemas.microsoft.com/office/drawing/2014/main" id="{5D36B62D-67D7-3445-AE3E-DD89E4E93B87}"/>
              </a:ext>
            </a:extLst>
          </p:cNvPr>
          <p:cNvSpPr/>
          <p:nvPr userDrawn="1"/>
        </p:nvSpPr>
        <p:spPr>
          <a:xfrm flipH="1">
            <a:off x="4128390" y="0"/>
            <a:ext cx="92182"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9" name="Text Placeholder 9">
            <a:extLst>
              <a:ext uri="{FF2B5EF4-FFF2-40B4-BE49-F238E27FC236}">
                <a16:creationId xmlns:a16="http://schemas.microsoft.com/office/drawing/2014/main" id="{0EAA8B41-E8FB-D448-8E40-BC705358523E}"/>
              </a:ext>
            </a:extLst>
          </p:cNvPr>
          <p:cNvSpPr txBox="1">
            <a:spLocks/>
          </p:cNvSpPr>
          <p:nvPr userDrawn="1"/>
        </p:nvSpPr>
        <p:spPr>
          <a:xfrm>
            <a:off x="4571827" y="811774"/>
            <a:ext cx="3463925" cy="228600"/>
          </a:xfrm>
          <a:prstGeom prst="rect">
            <a:avLst/>
          </a:prstGeom>
        </p:spPr>
        <p:txBody>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900" b="1" i="0" u="none" strike="noStrike" kern="1200" cap="none" spc="300" normalizeH="0" baseline="0" noProof="0">
                <a:ln>
                  <a:noFill/>
                </a:ln>
                <a:solidFill>
                  <a:srgbClr val="000000"/>
                </a:solidFill>
                <a:effectLst/>
                <a:uLnTx/>
                <a:uFillTx/>
                <a:latin typeface="Open Sans"/>
                <a:ea typeface="Open Sans" charset="0"/>
                <a:cs typeface="Open Sans" charset="0"/>
              </a:rPr>
              <a:t>BIO</a:t>
            </a:r>
          </a:p>
        </p:txBody>
      </p:sp>
      <p:sp>
        <p:nvSpPr>
          <p:cNvPr id="20" name="Oval 19">
            <a:extLst>
              <a:ext uri="{FF2B5EF4-FFF2-40B4-BE49-F238E27FC236}">
                <a16:creationId xmlns:a16="http://schemas.microsoft.com/office/drawing/2014/main" id="{A5A5C8C3-A2AC-4845-92C6-D25E9A907AB7}"/>
              </a:ext>
            </a:extLst>
          </p:cNvPr>
          <p:cNvSpPr/>
          <p:nvPr userDrawn="1"/>
        </p:nvSpPr>
        <p:spPr>
          <a:xfrm>
            <a:off x="248280" y="1828800"/>
            <a:ext cx="3733800" cy="3733800"/>
          </a:xfrm>
          <a:prstGeom prst="ellipse">
            <a:avLst/>
          </a:prstGeom>
          <a:pattFill prst="openDmnd">
            <a:fgClr>
              <a:schemeClr val="tx1"/>
            </a:fgClr>
            <a:bgClr>
              <a:schemeClr val="accent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Tree>
    <p:extLst>
      <p:ext uri="{BB962C8B-B14F-4D97-AF65-F5344CB8AC3E}">
        <p14:creationId xmlns:p14="http://schemas.microsoft.com/office/powerpoint/2010/main" val="14885868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Beyond Digital Platform - CV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7253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7"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EAACF38E-E2E4-CE4A-AEF8-367DB56E98D2}"/>
              </a:ext>
            </a:extLst>
          </p:cNvPr>
          <p:cNvSpPr txBox="1">
            <a:spLocks/>
          </p:cNvSpPr>
          <p:nvPr userDrawn="1"/>
        </p:nvSpPr>
        <p:spPr>
          <a:xfrm>
            <a:off x="4571827" y="811774"/>
            <a:ext cx="3463925" cy="228600"/>
          </a:xfrm>
          <a:prstGeom prst="rect">
            <a:avLst/>
          </a:prstGeom>
        </p:spPr>
        <p:txBody>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900" b="1" i="0" u="none" strike="noStrike" kern="1200" cap="none" spc="300" normalizeH="0" baseline="0" noProof="0">
                <a:ln>
                  <a:noFill/>
                </a:ln>
                <a:solidFill>
                  <a:srgbClr val="000000"/>
                </a:solidFill>
                <a:effectLst/>
                <a:uLnTx/>
                <a:uFillTx/>
                <a:latin typeface="Open Sans"/>
                <a:ea typeface="Open Sans" charset="0"/>
                <a:cs typeface="Open Sans" charset="0"/>
              </a:rPr>
              <a:t>BIO</a:t>
            </a:r>
          </a:p>
        </p:txBody>
      </p:sp>
      <p:sp>
        <p:nvSpPr>
          <p:cNvPr id="15" name="Rectangle 14">
            <a:extLst>
              <a:ext uri="{FF2B5EF4-FFF2-40B4-BE49-F238E27FC236}">
                <a16:creationId xmlns:a16="http://schemas.microsoft.com/office/drawing/2014/main" id="{5D36B62D-67D7-3445-AE3E-DD89E4E93B87}"/>
              </a:ext>
            </a:extLst>
          </p:cNvPr>
          <p:cNvSpPr/>
          <p:nvPr userDrawn="1"/>
        </p:nvSpPr>
        <p:spPr>
          <a:xfrm flipH="1">
            <a:off x="4128390" y="0"/>
            <a:ext cx="92182"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9" name="Rectangle 18">
            <a:extLst>
              <a:ext uri="{FF2B5EF4-FFF2-40B4-BE49-F238E27FC236}">
                <a16:creationId xmlns:a16="http://schemas.microsoft.com/office/drawing/2014/main" id="{D24BA94A-770D-D747-BB9F-6CD5358C1BB5}"/>
              </a:ext>
            </a:extLst>
          </p:cNvPr>
          <p:cNvSpPr/>
          <p:nvPr userDrawn="1"/>
        </p:nvSpPr>
        <p:spPr>
          <a:xfrm>
            <a:off x="0" y="0"/>
            <a:ext cx="412839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20" name="Oval 19">
            <a:extLst>
              <a:ext uri="{FF2B5EF4-FFF2-40B4-BE49-F238E27FC236}">
                <a16:creationId xmlns:a16="http://schemas.microsoft.com/office/drawing/2014/main" id="{14D6FA63-216A-0F4C-B2DB-CCCB2EEC620D}"/>
              </a:ext>
            </a:extLst>
          </p:cNvPr>
          <p:cNvSpPr/>
          <p:nvPr userDrawn="1"/>
        </p:nvSpPr>
        <p:spPr>
          <a:xfrm>
            <a:off x="248280" y="1828800"/>
            <a:ext cx="3733800" cy="3733800"/>
          </a:xfrm>
          <a:prstGeom prst="ellipse">
            <a:avLst/>
          </a:prstGeom>
          <a:pattFill prst="zigZag">
            <a:fgClr>
              <a:schemeClr val="tx1"/>
            </a:fgClr>
            <a:bgClr>
              <a:schemeClr val="accent2"/>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Tree>
    <p:extLst>
      <p:ext uri="{BB962C8B-B14F-4D97-AF65-F5344CB8AC3E}">
        <p14:creationId xmlns:p14="http://schemas.microsoft.com/office/powerpoint/2010/main" val="30846254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 CV Clea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7707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1"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9">
            <a:extLst>
              <a:ext uri="{FF2B5EF4-FFF2-40B4-BE49-F238E27FC236}">
                <a16:creationId xmlns:a16="http://schemas.microsoft.com/office/drawing/2014/main" id="{EAACF38E-E2E4-CE4A-AEF8-367DB56E98D2}"/>
              </a:ext>
            </a:extLst>
          </p:cNvPr>
          <p:cNvSpPr txBox="1">
            <a:spLocks/>
          </p:cNvSpPr>
          <p:nvPr userDrawn="1"/>
        </p:nvSpPr>
        <p:spPr>
          <a:xfrm>
            <a:off x="4571827" y="811774"/>
            <a:ext cx="3463925" cy="228600"/>
          </a:xfrm>
          <a:prstGeom prst="rect">
            <a:avLst/>
          </a:prstGeom>
        </p:spPr>
        <p:txBody>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900" b="1" kern="1200" spc="30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GB" sz="900" b="1" i="0" u="none" strike="noStrike" kern="1200" cap="none" spc="300" normalizeH="0" baseline="0" noProof="0">
                <a:ln>
                  <a:noFill/>
                </a:ln>
                <a:solidFill>
                  <a:srgbClr val="000000"/>
                </a:solidFill>
                <a:effectLst/>
                <a:uLnTx/>
                <a:uFillTx/>
                <a:latin typeface="Open Sans"/>
                <a:ea typeface="Open Sans" charset="0"/>
                <a:cs typeface="Open Sans" charset="0"/>
              </a:rPr>
              <a:t>BIO</a:t>
            </a:r>
          </a:p>
        </p:txBody>
      </p:sp>
      <p:sp>
        <p:nvSpPr>
          <p:cNvPr id="15" name="Rectangle 14">
            <a:extLst>
              <a:ext uri="{FF2B5EF4-FFF2-40B4-BE49-F238E27FC236}">
                <a16:creationId xmlns:a16="http://schemas.microsoft.com/office/drawing/2014/main" id="{5D36B62D-67D7-3445-AE3E-DD89E4E93B87}"/>
              </a:ext>
            </a:extLst>
          </p:cNvPr>
          <p:cNvSpPr/>
          <p:nvPr userDrawn="1"/>
        </p:nvSpPr>
        <p:spPr>
          <a:xfrm flipH="1">
            <a:off x="4128390" y="0"/>
            <a:ext cx="92182"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Tree>
    <p:extLst>
      <p:ext uri="{BB962C8B-B14F-4D97-AF65-F5344CB8AC3E}">
        <p14:creationId xmlns:p14="http://schemas.microsoft.com/office/powerpoint/2010/main" val="7100091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55985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5"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GB"/>
              <a:t>Thank You </a:t>
            </a:r>
            <a:br>
              <a:rPr lang="en-GB"/>
            </a:br>
            <a:r>
              <a:rPr lang="en-GB"/>
              <a:t>Goes Here.</a:t>
            </a:r>
          </a:p>
        </p:txBody>
      </p:sp>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1588432351"/>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21013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1437515332"/>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358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9"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914400" y="1217629"/>
            <a:ext cx="10363200" cy="4616648"/>
          </a:xfrm>
          <a:prstGeom prst="rect">
            <a:avLst/>
          </a:prstGeom>
          <a:noFill/>
        </p:spPr>
        <p:txBody>
          <a:bodyPr wrap="square" rtlCol="0">
            <a:spAutoFit/>
          </a:bodyPr>
          <a:lstStyle/>
          <a:p>
            <a:pPr algn="ctr"/>
            <a:r>
              <a:rPr lang="en-GB" sz="11500" b="1"/>
              <a:t>Do not use this</a:t>
            </a:r>
            <a:r>
              <a:rPr lang="en-GB" sz="11500" b="1" baseline="0"/>
              <a:t> layout</a:t>
            </a:r>
          </a:p>
          <a:p>
            <a:pPr algn="ctr"/>
            <a:endParaRPr lang="en-GB" sz="3200" b="1" baseline="0"/>
          </a:p>
          <a:p>
            <a:pPr algn="ctr"/>
            <a:r>
              <a:rPr lang="en-GB" sz="3200" b="0" baseline="0"/>
              <a:t>Delete any master slides that occur after this layout</a:t>
            </a:r>
            <a:endParaRPr lang="en-GB" sz="3200" b="0"/>
          </a:p>
        </p:txBody>
      </p:sp>
    </p:spTree>
    <p:extLst>
      <p:ext uri="{BB962C8B-B14F-4D97-AF65-F5344CB8AC3E}">
        <p14:creationId xmlns:p14="http://schemas.microsoft.com/office/powerpoint/2010/main" val="3853431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7129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3" name="think-cell Slide" r:id="rId4" imgW="421" imgH="420" progId="TCLayout.ActiveDocument.1">
                  <p:embed/>
                </p:oleObj>
              </mc:Choice>
              <mc:Fallback>
                <p:oleObj name="think-cell Slide" r:id="rId4" imgW="421" imgH="42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GB"/>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GB"/>
              <a:t>Edit Master text styles</a:t>
            </a:r>
          </a:p>
        </p:txBody>
      </p:sp>
    </p:spTree>
    <p:extLst>
      <p:ext uri="{BB962C8B-B14F-4D97-AF65-F5344CB8AC3E}">
        <p14:creationId xmlns:p14="http://schemas.microsoft.com/office/powerpoint/2010/main" val="10720511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Subhead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78509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7"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200" spc="-75" dirty="0">
                <a:latin typeface="Chronicle Display Black"/>
              </a:defRPr>
            </a:lvl1pPr>
          </a:lstStyle>
          <a:p>
            <a:pPr lvl="0" defTabSz="685800">
              <a:lnSpc>
                <a:spcPct val="85000"/>
              </a:lnSpc>
            </a:pPr>
            <a:r>
              <a:rPr lang="en-GB"/>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GB"/>
              <a:t>Click to edit Master text styles</a:t>
            </a:r>
          </a:p>
        </p:txBody>
      </p:sp>
    </p:spTree>
    <p:extLst>
      <p:ext uri="{BB962C8B-B14F-4D97-AF65-F5344CB8AC3E}">
        <p14:creationId xmlns:p14="http://schemas.microsoft.com/office/powerpoint/2010/main" val="1795842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629958"/>
              </p:ext>
            </p:extLst>
          </p:nvPr>
        </p:nvGraphicFramePr>
        <p:xfrm>
          <a:off x="1992" y="1589"/>
          <a:ext cx="1991" cy="1587"/>
        </p:xfrm>
        <a:graphic>
          <a:graphicData uri="http://schemas.openxmlformats.org/presentationml/2006/ole">
            <mc:AlternateContent xmlns:mc="http://schemas.openxmlformats.org/markup-compatibility/2006">
              <mc:Choice xmlns:v="urn:schemas-microsoft-com:vml" Requires="v">
                <p:oleObj spid="_x0000_s10245" name="think-cell Slide" r:id="rId4" imgW="421" imgH="420" progId="TCLayout.ActiveDocument.1">
                  <p:embed/>
                </p:oleObj>
              </mc:Choice>
              <mc:Fallback>
                <p:oleObj name="think-cell Slide" r:id="rId4" imgW="421" imgH="420" progId="TCLayout.ActiveDocument.1">
                  <p:embed/>
                  <p:pic>
                    <p:nvPicPr>
                      <p:cNvPr id="2" name="Object 1" hidden="1"/>
                      <p:cNvPicPr/>
                      <p:nvPr/>
                    </p:nvPicPr>
                    <p:blipFill>
                      <a:blip r:embed="rId5"/>
                      <a:stretch>
                        <a:fillRect/>
                      </a:stretch>
                    </p:blipFill>
                    <p:spPr>
                      <a:xfrm>
                        <a:off x="1992" y="1589"/>
                        <a:ext cx="1991" cy="1587"/>
                      </a:xfrm>
                      <a:prstGeom prst="rect">
                        <a:avLst/>
                      </a:prstGeom>
                    </p:spPr>
                  </p:pic>
                </p:oleObj>
              </mc:Fallback>
            </mc:AlternateContent>
          </a:graphicData>
        </a:graphic>
      </p:graphicFrame>
      <p:sp>
        <p:nvSpPr>
          <p:cNvPr id="10" name="Text Placeholder 8"/>
          <p:cNvSpPr>
            <a:spLocks noGrp="1"/>
          </p:cNvSpPr>
          <p:nvPr>
            <p:ph type="body" sz="quarter" idx="13" hasCustomPrompt="1"/>
          </p:nvPr>
        </p:nvSpPr>
        <p:spPr>
          <a:xfrm>
            <a:off x="528001" y="651600"/>
            <a:ext cx="111359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28001" y="295683"/>
            <a:ext cx="11135999" cy="469492"/>
          </a:xfrm>
          <a:prstGeom prst="rect">
            <a:avLst/>
          </a:prstGeom>
        </p:spPr>
        <p:txBody>
          <a:bodyPr vert="horz" lIns="0" tIns="0" rIns="0" bIns="0" rtlCol="0" anchor="t" anchorCtr="0">
            <a:noAutofit/>
          </a:bodyPr>
          <a:lstStyle>
            <a:lvl1pPr>
              <a:defRPr sz="2000"/>
            </a:lvl1pPr>
          </a:lstStyle>
          <a:p>
            <a:r>
              <a:rPr lang="en-US"/>
              <a:t>Click to add title</a:t>
            </a:r>
          </a:p>
        </p:txBody>
      </p:sp>
    </p:spTree>
    <p:extLst>
      <p:ext uri="{BB962C8B-B14F-4D97-AF65-F5344CB8AC3E}">
        <p14:creationId xmlns:p14="http://schemas.microsoft.com/office/powerpoint/2010/main" val="400564027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oleObject" Target="../embeddings/oleObject11.bin"/><Relationship Id="rId5" Type="http://schemas.openxmlformats.org/officeDocument/2006/relationships/slideLayout" Target="../slideLayouts/slideLayout14.xml"/><Relationship Id="rId10" Type="http://schemas.openxmlformats.org/officeDocument/2006/relationships/tags" Target="../tags/tag12.xml"/><Relationship Id="rId4" Type="http://schemas.openxmlformats.org/officeDocument/2006/relationships/slideLayout" Target="../slideLayouts/slideLayout13.xml"/><Relationship Id="rId9" Type="http://schemas.openxmlformats.org/officeDocument/2006/relationships/vmlDrawing" Target="../drawings/vmlDrawing1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19.vml"/><Relationship Id="rId2" Type="http://schemas.openxmlformats.org/officeDocument/2006/relationships/slideLayout" Target="../slideLayouts/slideLayout18.xml"/><Relationship Id="rId16" Type="http://schemas.openxmlformats.org/officeDocument/2006/relationships/image" Target="../media/image6.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3.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19.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slideLayout" Target="../slideLayouts/slideLayout29.xml"/><Relationship Id="rId7" Type="http://schemas.openxmlformats.org/officeDocument/2006/relationships/vmlDrawing" Target="../drawings/vmlDrawing30.v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4.xml"/><Relationship Id="rId5" Type="http://schemas.openxmlformats.org/officeDocument/2006/relationships/slideLayout" Target="../slideLayouts/slideLayout31.xml"/><Relationship Id="rId4" Type="http://schemas.openxmlformats.org/officeDocument/2006/relationships/slideLayout" Target="../slideLayouts/slideLayout30.xml"/><Relationship Id="rId9" Type="http://schemas.openxmlformats.org/officeDocument/2006/relationships/oleObject" Target="../embeddings/oleObject30.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tags" Target="../tags/tag75.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vmlDrawing" Target="../drawings/vmlDrawing36.v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image" Target="../media/image7.emf"/><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heme" Target="../theme/theme5.xml"/><Relationship Id="rId30" Type="http://schemas.openxmlformats.org/officeDocument/2006/relationships/oleObject" Target="../embeddings/oleObject36.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theme" Target="../theme/theme6.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oleObject" Target="../embeddings/oleObject63.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tags" Target="../tags/tag10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vmlDrawing" Target="../drawings/vmlDrawing63.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ext uri="{D42A27DB-BD31-4B8C-83A1-F6EECF244321}">
                <p14:modId xmlns:p14="http://schemas.microsoft.com/office/powerpoint/2010/main" val="3271107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
        <p:nvSpPr>
          <p:cNvPr id="4" name="Rectangle 2"/>
          <p:cNvSpPr>
            <a:spLocks/>
          </p:cNvSpPr>
          <p:nvPr userDrawn="1"/>
        </p:nvSpPr>
        <p:spPr bwMode="auto">
          <a:xfrm>
            <a:off x="436255" y="6444147"/>
            <a:ext cx="153728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2</a:t>
            </a:r>
            <a:r>
              <a:rPr lang="sl-SI" sz="800" dirty="0">
                <a:solidFill>
                  <a:schemeClr val="accent5">
                    <a:lumMod val="60000"/>
                    <a:lumOff val="40000"/>
                  </a:schemeClr>
                </a:solidFill>
                <a:latin typeface="Open Sans" charset="0"/>
                <a:ea typeface="Open Sans" charset="0"/>
                <a:cs typeface="Open Sans" charset="0"/>
                <a:sym typeface="Frutiger Next Pro Light" charset="0"/>
              </a:rPr>
              <a:t>2</a:t>
            </a:r>
            <a:r>
              <a:rPr lang="en-US" sz="800" dirty="0">
                <a:solidFill>
                  <a:schemeClr val="accent5">
                    <a:lumMod val="60000"/>
                    <a:lumOff val="40000"/>
                  </a:schemeClr>
                </a:solidFill>
                <a:latin typeface="Open Sans" charset="0"/>
                <a:ea typeface="Open Sans" charset="0"/>
                <a:cs typeface="Open Sans" charset="0"/>
                <a:sym typeface="Frutiger Next Pro Light" charset="0"/>
              </a:rPr>
              <a:t> Deloitte</a:t>
            </a:r>
          </a:p>
        </p:txBody>
      </p:sp>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10" r:id="rId2"/>
    <p:sldLayoutId id="2147483809" r:id="rId3"/>
    <p:sldLayoutId id="2147483828" r:id="rId4"/>
    <p:sldLayoutId id="2147483814" r:id="rId5"/>
    <p:sldLayoutId id="2147483815" r:id="rId6"/>
    <p:sldLayoutId id="2147483827" r:id="rId7"/>
    <p:sldLayoutId id="2147484011" r:id="rId8"/>
    <p:sldLayoutId id="2147484012" r:id="rId9"/>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1" hidden="1"/>
          <p:cNvGraphicFramePr>
            <a:graphicFrameLocks/>
          </p:cNvGraphicFramePr>
          <p:nvPr>
            <p:custDataLst>
              <p:tags r:id="rId10"/>
            </p:custDataLst>
            <p:extLst>
              <p:ext uri="{D42A27DB-BD31-4B8C-83A1-F6EECF244321}">
                <p14:modId xmlns:p14="http://schemas.microsoft.com/office/powerpoint/2010/main" val="3275774644"/>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1269" name="think-cell Slide" r:id="rId11" imgW="0" imgH="0" progId="TCLayout.ActiveDocument.1">
                  <p:embed/>
                </p:oleObj>
              </mc:Choice>
              <mc:Fallback>
                <p:oleObj name="think-cell Slide" r:id="rId11" imgW="0" imgH="0" progId="TCLayout.ActiveDocument.1">
                  <p:embed/>
                  <p:pic>
                    <p:nvPicPr>
                      <p:cNvPr id="1026"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nvPr>
        </p:nvSpPr>
        <p:spPr>
          <a:xfrm>
            <a:off x="554567" y="6554789"/>
            <a:ext cx="376767"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chemeClr val="tx2"/>
                </a:solidFill>
                <a:latin typeface="Open Sans" panose="020B0606030504020204" pitchFamily="34" charset="0"/>
                <a:sym typeface="Open Sans" panose="020B0606030504020204" pitchFamily="34" charset="0"/>
              </a:defRPr>
            </a:lvl1pPr>
          </a:lstStyle>
          <a:p>
            <a:pPr>
              <a:defRPr/>
            </a:pPr>
            <a:fld id="{945F211F-2B2B-4D84-9FB5-E83644B1D6AB}" type="slidenum">
              <a:rPr lang="en-US" smtClean="0">
                <a:solidFill>
                  <a:srgbClr val="002776"/>
                </a:solidFill>
              </a:rPr>
              <a:pPr>
                <a:defRPr/>
              </a:pPr>
              <a:t>‹#›</a:t>
            </a:fld>
            <a:endParaRPr lang="en-US">
              <a:solidFill>
                <a:srgbClr val="002776"/>
              </a:solidFill>
            </a:endParaRPr>
          </a:p>
        </p:txBody>
      </p:sp>
      <p:sp>
        <p:nvSpPr>
          <p:cNvPr id="10" name="Footer Placeholder 10"/>
          <p:cNvSpPr>
            <a:spLocks noGrp="1"/>
          </p:cNvSpPr>
          <p:nvPr>
            <p:ph type="ftr" sz="quarter" idx="3"/>
          </p:nvPr>
        </p:nvSpPr>
        <p:spPr>
          <a:xfrm>
            <a:off x="1028700" y="6554789"/>
            <a:ext cx="5757333"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chemeClr val="tx2"/>
                </a:solidFill>
                <a:latin typeface="Open Sans" panose="020B0606030504020204" pitchFamily="34" charset="0"/>
                <a:sym typeface="Open Sans" panose="020B0606030504020204" pitchFamily="34" charset="0"/>
              </a:defRPr>
            </a:lvl1pPr>
          </a:lstStyle>
          <a:p>
            <a:pPr>
              <a:defRPr/>
            </a:pPr>
            <a:endParaRPr lang="en-US">
              <a:solidFill>
                <a:srgbClr val="002776"/>
              </a:solidFill>
            </a:endParaRPr>
          </a:p>
        </p:txBody>
      </p:sp>
      <p:sp>
        <p:nvSpPr>
          <p:cNvPr id="6" name="Rectangle 5"/>
          <p:cNvSpPr>
            <a:spLocks noChangeArrowheads="1"/>
          </p:cNvSpPr>
          <p:nvPr/>
        </p:nvSpPr>
        <p:spPr bwMode="auto">
          <a:xfrm>
            <a:off x="8530167" y="6554789"/>
            <a:ext cx="3083984" cy="142875"/>
          </a:xfrm>
          <a:prstGeom prst="rect">
            <a:avLst/>
          </a:prstGeom>
          <a:noFill/>
          <a:ln w="25400" algn="ctr">
            <a:noFill/>
            <a:miter lim="800000"/>
            <a:headEnd/>
            <a:tailEnd/>
          </a:ln>
        </p:spPr>
        <p:txBody>
          <a:bodyPr lIns="0" tIns="0" rIns="0" bIns="0"/>
          <a:lstStyle/>
          <a:p>
            <a:pPr algn="r" defTabSz="957998">
              <a:lnSpc>
                <a:spcPts val="1128"/>
              </a:lnSpc>
              <a:defRPr/>
            </a:pPr>
            <a:r>
              <a:rPr lang="en-US" sz="800">
                <a:solidFill>
                  <a:srgbClr val="002776"/>
                </a:solidFill>
                <a:latin typeface="Open Sans" panose="020B0606030504020204" pitchFamily="34" charset="0"/>
                <a:sym typeface="Open Sans" panose="020B0606030504020204" pitchFamily="34" charset="0"/>
              </a:rPr>
              <a:t>© 201</a:t>
            </a:r>
            <a:r>
              <a:rPr lang="sl-SI" sz="800">
                <a:solidFill>
                  <a:srgbClr val="002776"/>
                </a:solidFill>
                <a:latin typeface="Open Sans" panose="020B0606030504020204" pitchFamily="34" charset="0"/>
                <a:sym typeface="Open Sans" panose="020B0606030504020204" pitchFamily="34" charset="0"/>
              </a:rPr>
              <a:t>4</a:t>
            </a:r>
            <a:r>
              <a:rPr lang="en-US" sz="800">
                <a:solidFill>
                  <a:srgbClr val="002776"/>
                </a:solidFill>
                <a:latin typeface="Open Sans" panose="020B0606030504020204" pitchFamily="34" charset="0"/>
                <a:sym typeface="Open Sans" panose="020B0606030504020204" pitchFamily="34" charset="0"/>
              </a:rPr>
              <a:t> Deloitte</a:t>
            </a:r>
            <a:endParaRPr lang="en-US" sz="800" dirty="0">
              <a:solidFill>
                <a:srgbClr val="002776"/>
              </a:solidFill>
              <a:latin typeface="Open Sans" panose="020B0606030504020204" pitchFamily="34" charset="0"/>
              <a:sym typeface="Open Sans" panose="020B0606030504020204" pitchFamily="34" charset="0"/>
            </a:endParaRPr>
          </a:p>
        </p:txBody>
      </p:sp>
      <p:sp>
        <p:nvSpPr>
          <p:cNvPr id="1031" name="Title Placeholder 1"/>
          <p:cNvSpPr>
            <a:spLocks noGrp="1"/>
          </p:cNvSpPr>
          <p:nvPr>
            <p:ph type="title"/>
          </p:nvPr>
        </p:nvSpPr>
        <p:spPr bwMode="auto">
          <a:xfrm>
            <a:off x="529167" y="300038"/>
            <a:ext cx="11133667"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1367607260"/>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Lst>
  <p:hf hdr="0" dt="0"/>
  <p:txStyles>
    <p:titleStyle>
      <a:lvl1pPr algn="l" defTabSz="957263" rtl="0" eaLnBrk="1" fontAlgn="base" hangingPunct="1">
        <a:lnSpc>
          <a:spcPct val="106000"/>
        </a:lnSpc>
        <a:spcBef>
          <a:spcPct val="0"/>
        </a:spcBef>
        <a:spcAft>
          <a:spcPct val="0"/>
        </a:spcAft>
        <a:defRPr b="1" kern="1200">
          <a:solidFill>
            <a:schemeClr val="tx2"/>
          </a:solidFill>
          <a:latin typeface="Open Sans" panose="020B0606030504020204" pitchFamily="34" charset="0"/>
          <a:ea typeface="+mj-ea"/>
          <a:cs typeface="+mj-cs"/>
          <a:sym typeface="Open Sans" panose="020B0606030504020204" pitchFamily="34" charset="0"/>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3314431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14" imgW="395" imgH="394" progId="TCLayout.ActiveDocument.1">
                  <p:embed/>
                </p:oleObj>
              </mc:Choice>
              <mc:Fallback>
                <p:oleObj name="think-cell Slide" r:id="rId14" imgW="395" imgH="39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6146" name="Picture 2" descr="DEL_COL"/>
          <p:cNvPicPr>
            <a:picLocks noChangeAspect="1" noChangeArrowheads="1"/>
          </p:cNvPicPr>
          <p:nvPr/>
        </p:nvPicPr>
        <p:blipFill>
          <a:blip r:embed="rId16" cstate="print"/>
          <a:srcRect/>
          <a:stretch>
            <a:fillRect/>
          </a:stretch>
        </p:blipFill>
        <p:spPr bwMode="gray">
          <a:xfrm>
            <a:off x="529168" y="6619875"/>
            <a:ext cx="1183217" cy="165100"/>
          </a:xfrm>
          <a:prstGeom prst="rect">
            <a:avLst/>
          </a:prstGeom>
          <a:noFill/>
          <a:ln w="9525">
            <a:noFill/>
            <a:miter lim="800000"/>
            <a:headEnd/>
            <a:tailEnd/>
          </a:ln>
        </p:spPr>
      </p:pic>
      <p:sp>
        <p:nvSpPr>
          <p:cNvPr id="6147" name="Rectangle 3"/>
          <p:cNvSpPr>
            <a:spLocks noGrp="1" noChangeArrowheads="1"/>
          </p:cNvSpPr>
          <p:nvPr>
            <p:ph type="title"/>
          </p:nvPr>
        </p:nvSpPr>
        <p:spPr bwMode="gray">
          <a:xfrm>
            <a:off x="533400" y="407989"/>
            <a:ext cx="11116733"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p>
        </p:txBody>
      </p:sp>
      <p:sp>
        <p:nvSpPr>
          <p:cNvPr id="6148" name="Rectangle 4"/>
          <p:cNvSpPr>
            <a:spLocks noGrp="1" noChangeArrowheads="1"/>
          </p:cNvSpPr>
          <p:nvPr>
            <p:ph type="body" idx="1"/>
          </p:nvPr>
        </p:nvSpPr>
        <p:spPr bwMode="gray">
          <a:xfrm>
            <a:off x="533400" y="1154113"/>
            <a:ext cx="11116733"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3973" name="Text Box 5"/>
          <p:cNvSpPr txBox="1">
            <a:spLocks noChangeArrowheads="1"/>
          </p:cNvSpPr>
          <p:nvPr/>
        </p:nvSpPr>
        <p:spPr bwMode="gray">
          <a:xfrm>
            <a:off x="5911109" y="6622199"/>
            <a:ext cx="371897" cy="186590"/>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1200">
                <a:solidFill>
                  <a:srgbClr val="000000"/>
                </a:solidFill>
                <a:latin typeface="Open Sans" panose="020B0606030504020204" pitchFamily="34" charset="0"/>
                <a:cs typeface="Open Sans" panose="020B0606030504020204" pitchFamily="34" charset="0"/>
                <a:sym typeface="Open Sans" panose="020B0606030504020204" pitchFamily="34" charset="0"/>
              </a:rPr>
              <a:t>- </a:t>
            </a:r>
            <a:fld id="{72DF8D37-92E6-4799-97E3-ED52F1A95983}" type="slidenum">
              <a:rPr lang="en-US" sz="1200">
                <a:solidFill>
                  <a:srgbClr val="000000"/>
                </a:solidFill>
                <a:latin typeface="Open Sans" panose="020B0606030504020204" pitchFamily="34" charset="0"/>
                <a:cs typeface="Open Sans" panose="020B0606030504020204" pitchFamily="34" charset="0"/>
                <a:sym typeface="Open Sans" panose="020B0606030504020204" pitchFamily="34" charset="0"/>
              </a:rPr>
              <a:pPr algn="ctr" eaLnBrk="0" hangingPunct="0">
                <a:lnSpc>
                  <a:spcPct val="106000"/>
                </a:lnSpc>
                <a:buClr>
                  <a:srgbClr val="000000"/>
                </a:buClr>
                <a:buSzPct val="65000"/>
                <a:buFont typeface="Wingdings" pitchFamily="2" charset="2"/>
                <a:buNone/>
                <a:defRPr/>
              </a:pPr>
              <a:t>‹#›</a:t>
            </a:fld>
            <a:r>
              <a:rPr lang="en-US" sz="1200">
                <a:solidFill>
                  <a:srgbClr val="000000"/>
                </a:solidFill>
                <a:latin typeface="Open Sans" panose="020B0606030504020204" pitchFamily="34" charset="0"/>
                <a:cs typeface="Open Sans" panose="020B0606030504020204" pitchFamily="34" charset="0"/>
                <a:sym typeface="Open Sans" panose="020B0606030504020204" pitchFamily="34" charset="0"/>
              </a:rPr>
              <a:t> -</a:t>
            </a:r>
          </a:p>
        </p:txBody>
      </p:sp>
      <p:sp>
        <p:nvSpPr>
          <p:cNvPr id="83977" name="Line 9"/>
          <p:cNvSpPr>
            <a:spLocks noChangeShapeType="1"/>
          </p:cNvSpPr>
          <p:nvPr/>
        </p:nvSpPr>
        <p:spPr bwMode="gray">
          <a:xfrm>
            <a:off x="535517" y="803275"/>
            <a:ext cx="11114616" cy="0"/>
          </a:xfrm>
          <a:prstGeom prst="line">
            <a:avLst/>
          </a:prstGeom>
          <a:noFill/>
          <a:ln w="28575">
            <a:solidFill>
              <a:schemeClr val="accent1"/>
            </a:solidFill>
            <a:round/>
            <a:headEnd/>
            <a:tailEnd/>
          </a:ln>
          <a:effectLst/>
        </p:spPr>
        <p:txBody>
          <a:bodyPr wrap="none" anchor="ctr"/>
          <a:lstStyle/>
          <a:p>
            <a:pPr algn="ctr">
              <a:defRPr/>
            </a:pPr>
            <a:endParaRPr lang="en-US" sz="1800">
              <a:solidFill>
                <a:srgbClr val="000000"/>
              </a:solidFill>
              <a:latin typeface="Open Sans" panose="020B0606030504020204" pitchFamily="34" charset="0"/>
              <a:cs typeface="Open Sans" panose="020B0606030504020204" pitchFamily="34" charset="0"/>
              <a:sym typeface="Open Sans" panose="020B0606030504020204" pitchFamily="34" charset="0"/>
            </a:endParaRPr>
          </a:p>
        </p:txBody>
      </p:sp>
    </p:spTree>
    <p:extLst>
      <p:ext uri="{BB962C8B-B14F-4D97-AF65-F5344CB8AC3E}">
        <p14:creationId xmlns:p14="http://schemas.microsoft.com/office/powerpoint/2010/main" val="2889812895"/>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Lst>
  <p:txStyles>
    <p:titleStyle>
      <a:lvl1pPr algn="l" rtl="0" eaLnBrk="0" fontAlgn="base" hangingPunct="0">
        <a:spcBef>
          <a:spcPct val="0"/>
        </a:spcBef>
        <a:spcAft>
          <a:spcPct val="0"/>
        </a:spcAft>
        <a:defRPr sz="2400" b="1">
          <a:solidFill>
            <a:schemeClr val="tx1"/>
          </a:solidFill>
          <a:latin typeface="Open Sans" panose="020B0606030504020204" pitchFamily="34" charset="0"/>
          <a:ea typeface="+mj-ea"/>
          <a:cs typeface="Open Sans" panose="020B0606030504020204" pitchFamily="34" charset="0"/>
          <a:sym typeface="Open Sans" panose="020B0606030504020204" pitchFamily="34" charset="0"/>
        </a:defRPr>
      </a:lvl1pPr>
      <a:lvl2pPr algn="l" rtl="0" eaLnBrk="0" fontAlgn="base" hangingPunct="0">
        <a:spcBef>
          <a:spcPct val="0"/>
        </a:spcBef>
        <a:spcAft>
          <a:spcPct val="0"/>
        </a:spcAft>
        <a:defRPr sz="2400" b="1">
          <a:solidFill>
            <a:schemeClr val="tx1"/>
          </a:solidFill>
          <a:latin typeface="Arial" charset="0"/>
          <a:cs typeface="Arial" charset="0"/>
        </a:defRPr>
      </a:lvl2pPr>
      <a:lvl3pPr algn="l" rtl="0" eaLnBrk="0" fontAlgn="base" hangingPunct="0">
        <a:spcBef>
          <a:spcPct val="0"/>
        </a:spcBef>
        <a:spcAft>
          <a:spcPct val="0"/>
        </a:spcAft>
        <a:defRPr sz="2400" b="1">
          <a:solidFill>
            <a:schemeClr val="tx1"/>
          </a:solidFill>
          <a:latin typeface="Arial" charset="0"/>
          <a:cs typeface="Arial" charset="0"/>
        </a:defRPr>
      </a:lvl3pPr>
      <a:lvl4pPr algn="l" rtl="0" eaLnBrk="0" fontAlgn="base" hangingPunct="0">
        <a:spcBef>
          <a:spcPct val="0"/>
        </a:spcBef>
        <a:spcAft>
          <a:spcPct val="0"/>
        </a:spcAft>
        <a:defRPr sz="2400" b="1">
          <a:solidFill>
            <a:schemeClr val="tx1"/>
          </a:solidFill>
          <a:latin typeface="Arial" charset="0"/>
          <a:cs typeface="Arial" charset="0"/>
        </a:defRPr>
      </a:lvl4pPr>
      <a:lvl5pPr algn="l" rtl="0" eaLnBrk="0" fontAlgn="base" hangingPunct="0">
        <a:spcBef>
          <a:spcPct val="0"/>
        </a:spcBef>
        <a:spcAft>
          <a:spcPct val="0"/>
        </a:spcAft>
        <a:defRPr sz="2400" b="1">
          <a:solidFill>
            <a:schemeClr val="tx1"/>
          </a:solidFill>
          <a:latin typeface="Arial" charset="0"/>
          <a:cs typeface="Arial" charset="0"/>
        </a:defRPr>
      </a:lvl5pPr>
      <a:lvl6pPr marL="457200" algn="l" rtl="0" fontAlgn="base">
        <a:spcBef>
          <a:spcPct val="0"/>
        </a:spcBef>
        <a:spcAft>
          <a:spcPct val="0"/>
        </a:spcAft>
        <a:defRPr sz="2400" b="1">
          <a:solidFill>
            <a:schemeClr val="tx1"/>
          </a:solidFill>
          <a:latin typeface="Arial" charset="0"/>
          <a:cs typeface="Arial" charset="0"/>
        </a:defRPr>
      </a:lvl6pPr>
      <a:lvl7pPr marL="914400" algn="l" rtl="0" fontAlgn="base">
        <a:spcBef>
          <a:spcPct val="0"/>
        </a:spcBef>
        <a:spcAft>
          <a:spcPct val="0"/>
        </a:spcAft>
        <a:defRPr sz="2400" b="1">
          <a:solidFill>
            <a:schemeClr val="tx1"/>
          </a:solidFill>
          <a:latin typeface="Arial" charset="0"/>
          <a:cs typeface="Arial" charset="0"/>
        </a:defRPr>
      </a:lvl7pPr>
      <a:lvl8pPr marL="1371600" algn="l" rtl="0" fontAlgn="base">
        <a:spcBef>
          <a:spcPct val="0"/>
        </a:spcBef>
        <a:spcAft>
          <a:spcPct val="0"/>
        </a:spcAft>
        <a:defRPr sz="2400" b="1">
          <a:solidFill>
            <a:schemeClr val="tx1"/>
          </a:solidFill>
          <a:latin typeface="Arial" charset="0"/>
          <a:cs typeface="Arial" charset="0"/>
        </a:defRPr>
      </a:lvl8pPr>
      <a:lvl9pPr marL="1828800" algn="l" rtl="0" fontAlgn="base">
        <a:spcBef>
          <a:spcPct val="0"/>
        </a:spcBef>
        <a:spcAft>
          <a:spcPct val="0"/>
        </a:spcAft>
        <a:defRPr sz="2400" b="1">
          <a:solidFill>
            <a:schemeClr val="tx1"/>
          </a:solidFill>
          <a:latin typeface="Arial" charset="0"/>
          <a:cs typeface="Arial" charset="0"/>
        </a:defRPr>
      </a:lvl9pPr>
    </p:titleStyle>
    <p:bodyStyle>
      <a:lvl1pPr marL="342900" indent="-342900" algn="l" rtl="0" eaLnBrk="0" fontAlgn="base" hangingPunct="0">
        <a:lnSpc>
          <a:spcPct val="106000"/>
        </a:lnSpc>
        <a:spcBef>
          <a:spcPct val="40000"/>
        </a:spcBef>
        <a:spcAft>
          <a:spcPct val="0"/>
        </a:spcAft>
        <a:buClr>
          <a:schemeClr val="tx1"/>
        </a:buClr>
        <a:buSzPct val="80000"/>
        <a:buFont typeface="Wingdings" pitchFamily="2" charset="2"/>
        <a:defRPr>
          <a:solidFill>
            <a:schemeClr val="tx1"/>
          </a:solidFill>
          <a:latin typeface="Open Sans" panose="020B0606030504020204" pitchFamily="34" charset="0"/>
          <a:ea typeface="+mn-ea"/>
          <a:cs typeface="Open Sans" panose="020B0606030504020204" pitchFamily="34" charset="0"/>
          <a:sym typeface="Open Sans" panose="020B0606030504020204" pitchFamily="34" charset="0"/>
        </a:defRPr>
      </a:lvl1pPr>
      <a:lvl2pPr marL="227013" indent="-225425" algn="l" rtl="0" eaLnBrk="0" fontAlgn="base" hangingPunct="0">
        <a:lnSpc>
          <a:spcPct val="106000"/>
        </a:lnSpc>
        <a:spcBef>
          <a:spcPct val="40000"/>
        </a:spcBef>
        <a:spcAft>
          <a:spcPct val="0"/>
        </a:spcAft>
        <a:buClr>
          <a:schemeClr val="tx1"/>
        </a:buClr>
        <a:buFont typeface="Wingdings" pitchFamily="2" charset="2"/>
        <a:buChar char="§"/>
        <a:defRPr>
          <a:solidFill>
            <a:schemeClr val="tx1"/>
          </a:solidFill>
          <a:latin typeface="Open Sans" panose="020B0606030504020204" pitchFamily="34" charset="0"/>
          <a:cs typeface="Open Sans" panose="020B0606030504020204" pitchFamily="34" charset="0"/>
          <a:sym typeface="Open Sans" panose="020B0606030504020204" pitchFamily="34" charset="0"/>
        </a:defRPr>
      </a:lvl2pPr>
      <a:lvl3pPr marL="457200" indent="-228600" algn="l" rtl="0" eaLnBrk="0" fontAlgn="base" hangingPunct="0">
        <a:lnSpc>
          <a:spcPct val="106000"/>
        </a:lnSpc>
        <a:spcBef>
          <a:spcPct val="20000"/>
        </a:spcBef>
        <a:spcAft>
          <a:spcPct val="0"/>
        </a:spcAft>
        <a:buClr>
          <a:schemeClr val="tx1"/>
        </a:buClr>
        <a:buFont typeface="Arial" charset="0"/>
        <a:buChar char="–"/>
        <a:defRPr sz="1600">
          <a:solidFill>
            <a:schemeClr val="tx1"/>
          </a:solidFill>
          <a:latin typeface="Open Sans" panose="020B0606030504020204" pitchFamily="34" charset="0"/>
          <a:cs typeface="Open Sans" panose="020B0606030504020204" pitchFamily="34" charset="0"/>
          <a:sym typeface="Open Sans" panose="020B0606030504020204" pitchFamily="34" charset="0"/>
        </a:defRPr>
      </a:lvl3pPr>
      <a:lvl4pPr marL="681038" indent="-222250" algn="l" rtl="0" eaLnBrk="0" fontAlgn="base" hangingPunct="0">
        <a:lnSpc>
          <a:spcPct val="106000"/>
        </a:lnSpc>
        <a:spcBef>
          <a:spcPct val="20000"/>
        </a:spcBef>
        <a:spcAft>
          <a:spcPct val="0"/>
        </a:spcAft>
        <a:buClr>
          <a:schemeClr val="tx1"/>
        </a:buClr>
        <a:buChar char="•"/>
        <a:defRPr sz="1600">
          <a:solidFill>
            <a:schemeClr val="tx1"/>
          </a:solidFill>
          <a:latin typeface="Open Sans" panose="020B0606030504020204" pitchFamily="34" charset="0"/>
          <a:cs typeface="Open Sans" panose="020B0606030504020204" pitchFamily="34" charset="0"/>
          <a:sym typeface="Open Sans" panose="020B0606030504020204" pitchFamily="34" charset="0"/>
        </a:defRPr>
      </a:lvl4pPr>
      <a:lvl5pPr marL="1722438" indent="-236538" algn="l" rtl="0" eaLnBrk="0" fontAlgn="base" hangingPunct="0">
        <a:spcBef>
          <a:spcPct val="20000"/>
        </a:spcBef>
        <a:spcAft>
          <a:spcPct val="0"/>
        </a:spcAft>
        <a:buClr>
          <a:schemeClr val="tx1"/>
        </a:buClr>
        <a:buChar char="–"/>
        <a:defRPr sz="1200">
          <a:solidFill>
            <a:schemeClr val="tx1"/>
          </a:solidFill>
          <a:latin typeface="+mn-lt"/>
          <a:cs typeface="+mn-cs"/>
        </a:defRPr>
      </a:lvl5pPr>
      <a:lvl6pPr marL="2179638" indent="-236538" algn="l" rtl="0" fontAlgn="base">
        <a:spcBef>
          <a:spcPct val="20000"/>
        </a:spcBef>
        <a:spcAft>
          <a:spcPct val="0"/>
        </a:spcAft>
        <a:buClr>
          <a:schemeClr val="tx1"/>
        </a:buClr>
        <a:buChar char="–"/>
        <a:defRPr sz="1200">
          <a:solidFill>
            <a:schemeClr val="tx1"/>
          </a:solidFill>
          <a:latin typeface="+mn-lt"/>
          <a:cs typeface="+mn-cs"/>
        </a:defRPr>
      </a:lvl6pPr>
      <a:lvl7pPr marL="2636838" indent="-236538" algn="l" rtl="0" fontAlgn="base">
        <a:spcBef>
          <a:spcPct val="20000"/>
        </a:spcBef>
        <a:spcAft>
          <a:spcPct val="0"/>
        </a:spcAft>
        <a:buClr>
          <a:schemeClr val="tx1"/>
        </a:buClr>
        <a:buChar char="–"/>
        <a:defRPr sz="1200">
          <a:solidFill>
            <a:schemeClr val="tx1"/>
          </a:solidFill>
          <a:latin typeface="+mn-lt"/>
          <a:cs typeface="+mn-cs"/>
        </a:defRPr>
      </a:lvl7pPr>
      <a:lvl8pPr marL="3094038" indent="-236538" algn="l" rtl="0" fontAlgn="base">
        <a:spcBef>
          <a:spcPct val="20000"/>
        </a:spcBef>
        <a:spcAft>
          <a:spcPct val="0"/>
        </a:spcAft>
        <a:buClr>
          <a:schemeClr val="tx1"/>
        </a:buClr>
        <a:buChar char="–"/>
        <a:defRPr sz="1200">
          <a:solidFill>
            <a:schemeClr val="tx1"/>
          </a:solidFill>
          <a:latin typeface="+mn-lt"/>
          <a:cs typeface="+mn-cs"/>
        </a:defRPr>
      </a:lvl8pPr>
      <a:lvl9pPr marL="3551238" indent="-236538" algn="l" rtl="0" fontAlgn="base">
        <a:spcBef>
          <a:spcPct val="20000"/>
        </a:spcBef>
        <a:spcAft>
          <a:spcPct val="0"/>
        </a:spcAft>
        <a:buClr>
          <a:schemeClr val="tx1"/>
        </a:buClr>
        <a:buChar char="–"/>
        <a:defRPr sz="12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1" hidden="1"/>
          <p:cNvGraphicFramePr>
            <a:graphicFrameLocks/>
          </p:cNvGraphicFramePr>
          <p:nvPr>
            <p:custDataLst>
              <p:tags r:id="rId8"/>
            </p:custDataLst>
            <p:extLst>
              <p:ext uri="{D42A27DB-BD31-4B8C-83A1-F6EECF244321}">
                <p14:modId xmlns:p14="http://schemas.microsoft.com/office/powerpoint/2010/main" val="2268483420"/>
              </p:ext>
            </p:ext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30725" name="think-cell Slide" r:id="rId9" imgW="0" imgH="0" progId="TCLayout.ActiveDocument.1">
                  <p:embed/>
                </p:oleObj>
              </mc:Choice>
              <mc:Fallback>
                <p:oleObj name="think-cell Slide" r:id="rId9" imgW="0" imgH="0" progId="TCLayout.ActiveDocument.1">
                  <p:embed/>
                  <p:pic>
                    <p:nvPicPr>
                      <p:cNvPr id="1026"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nvPr>
        </p:nvSpPr>
        <p:spPr>
          <a:xfrm>
            <a:off x="554567" y="6554789"/>
            <a:ext cx="376767"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chemeClr val="tx2"/>
                </a:solidFill>
                <a:latin typeface="Open Sans" panose="020B0606030504020204" pitchFamily="34" charset="0"/>
                <a:sym typeface="Open Sans" panose="020B0606030504020204" pitchFamily="34" charset="0"/>
              </a:defRPr>
            </a:lvl1pPr>
          </a:lstStyle>
          <a:p>
            <a:pPr>
              <a:defRPr/>
            </a:pPr>
            <a:fld id="{945F211F-2B2B-4D84-9FB5-E83644B1D6AB}" type="slidenum">
              <a:rPr lang="en-US" smtClean="0"/>
              <a:pPr>
                <a:defRPr/>
              </a:pPr>
              <a:t>‹#›</a:t>
            </a:fld>
            <a:endParaRPr lang="en-US"/>
          </a:p>
        </p:txBody>
      </p:sp>
      <p:sp>
        <p:nvSpPr>
          <p:cNvPr id="10" name="Footer Placeholder 10"/>
          <p:cNvSpPr>
            <a:spLocks noGrp="1"/>
          </p:cNvSpPr>
          <p:nvPr>
            <p:ph type="ftr" sz="quarter" idx="3"/>
          </p:nvPr>
        </p:nvSpPr>
        <p:spPr>
          <a:xfrm>
            <a:off x="1028700" y="6554789"/>
            <a:ext cx="5757333"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chemeClr val="tx2"/>
                </a:solidFill>
                <a:latin typeface="Open Sans" panose="020B0606030504020204" pitchFamily="34" charset="0"/>
                <a:sym typeface="Open Sans" panose="020B0606030504020204" pitchFamily="34" charset="0"/>
              </a:defRPr>
            </a:lvl1pPr>
          </a:lstStyle>
          <a:p>
            <a:pPr>
              <a:defRPr/>
            </a:pPr>
            <a:endParaRPr lang="en-US"/>
          </a:p>
        </p:txBody>
      </p:sp>
      <p:sp>
        <p:nvSpPr>
          <p:cNvPr id="6" name="Rectangle 5"/>
          <p:cNvSpPr>
            <a:spLocks noChangeArrowheads="1"/>
          </p:cNvSpPr>
          <p:nvPr/>
        </p:nvSpPr>
        <p:spPr bwMode="auto">
          <a:xfrm>
            <a:off x="8530167" y="6554789"/>
            <a:ext cx="3083984" cy="142875"/>
          </a:xfrm>
          <a:prstGeom prst="rect">
            <a:avLst/>
          </a:prstGeom>
          <a:noFill/>
          <a:ln w="25400" algn="ctr">
            <a:noFill/>
            <a:miter lim="800000"/>
            <a:headEnd/>
            <a:tailEnd/>
          </a:ln>
        </p:spPr>
        <p:txBody>
          <a:bodyPr lIns="0" tIns="0" rIns="0" bIns="0"/>
          <a:lstStyle/>
          <a:p>
            <a:pPr algn="r" defTabSz="957998">
              <a:lnSpc>
                <a:spcPts val="1128"/>
              </a:lnSpc>
              <a:defRPr/>
            </a:pPr>
            <a:r>
              <a:rPr lang="en-US" sz="800">
                <a:solidFill>
                  <a:schemeClr val="tx2"/>
                </a:solidFill>
                <a:latin typeface="Open Sans" panose="020B0606030504020204" pitchFamily="34" charset="0"/>
                <a:sym typeface="Open Sans" panose="020B0606030504020204" pitchFamily="34" charset="0"/>
              </a:rPr>
              <a:t>© 201</a:t>
            </a:r>
            <a:r>
              <a:rPr lang="sl-SI" sz="800">
                <a:solidFill>
                  <a:schemeClr val="tx2"/>
                </a:solidFill>
                <a:latin typeface="Open Sans" panose="020B0606030504020204" pitchFamily="34" charset="0"/>
                <a:sym typeface="Open Sans" panose="020B0606030504020204" pitchFamily="34" charset="0"/>
              </a:rPr>
              <a:t>4</a:t>
            </a:r>
            <a:r>
              <a:rPr lang="en-US" sz="800">
                <a:solidFill>
                  <a:schemeClr val="tx2"/>
                </a:solidFill>
                <a:latin typeface="Open Sans" panose="020B0606030504020204" pitchFamily="34" charset="0"/>
                <a:sym typeface="Open Sans" panose="020B0606030504020204" pitchFamily="34" charset="0"/>
              </a:rPr>
              <a:t> Deloitte</a:t>
            </a:r>
            <a:endParaRPr lang="en-US" sz="800" dirty="0">
              <a:solidFill>
                <a:schemeClr val="tx2"/>
              </a:solidFill>
              <a:latin typeface="Open Sans" panose="020B0606030504020204" pitchFamily="34" charset="0"/>
              <a:sym typeface="Open Sans" panose="020B0606030504020204" pitchFamily="34" charset="0"/>
            </a:endParaRPr>
          </a:p>
        </p:txBody>
      </p:sp>
      <p:sp>
        <p:nvSpPr>
          <p:cNvPr id="1031" name="Title Placeholder 1"/>
          <p:cNvSpPr>
            <a:spLocks noGrp="1"/>
          </p:cNvSpPr>
          <p:nvPr>
            <p:ph type="title"/>
          </p:nvPr>
        </p:nvSpPr>
        <p:spPr bwMode="auto">
          <a:xfrm>
            <a:off x="529167" y="300038"/>
            <a:ext cx="11133667"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2730780543"/>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Lst>
  <p:hf hdr="0" dt="0"/>
  <p:txStyles>
    <p:titleStyle>
      <a:lvl1pPr algn="l" defTabSz="957263" rtl="0" eaLnBrk="1" fontAlgn="base" hangingPunct="1">
        <a:lnSpc>
          <a:spcPct val="106000"/>
        </a:lnSpc>
        <a:spcBef>
          <a:spcPct val="0"/>
        </a:spcBef>
        <a:spcAft>
          <a:spcPct val="0"/>
        </a:spcAft>
        <a:defRPr b="1" kern="1200">
          <a:solidFill>
            <a:schemeClr val="tx2"/>
          </a:solidFill>
          <a:latin typeface="Open Sans" panose="020B0606030504020204" pitchFamily="34" charset="0"/>
          <a:ea typeface="+mj-ea"/>
          <a:cs typeface="+mj-cs"/>
          <a:sym typeface="Open Sans" panose="020B0606030504020204" pitchFamily="34" charset="0"/>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9"/>
            </p:custDataLst>
            <p:extLst>
              <p:ext uri="{D42A27DB-BD31-4B8C-83A1-F6EECF244321}">
                <p14:modId xmlns:p14="http://schemas.microsoft.com/office/powerpoint/2010/main" val="4096555867"/>
              </p:ext>
            </p:extLst>
          </p:nvPr>
        </p:nvGraphicFramePr>
        <p:xfrm>
          <a:off x="2121" y="1593"/>
          <a:ext cx="2116" cy="1587"/>
        </p:xfrm>
        <a:graphic>
          <a:graphicData uri="http://schemas.openxmlformats.org/presentationml/2006/ole">
            <mc:AlternateContent xmlns:mc="http://schemas.openxmlformats.org/markup-compatibility/2006">
              <mc:Choice xmlns:v="urn:schemas-microsoft-com:vml" Requires="v">
                <p:oleObj spid="_x0000_s36869" name="think-cell Slide" r:id="rId30" imgW="270" imgH="270" progId="TCLayout.ActiveDocument.1">
                  <p:embed/>
                </p:oleObj>
              </mc:Choice>
              <mc:Fallback>
                <p:oleObj name="think-cell Slide" r:id="rId30" imgW="270" imgH="270" progId="TCLayout.ActiveDocument.1">
                  <p:embed/>
                  <p:pic>
                    <p:nvPicPr>
                      <p:cNvPr id="4" name="Object 3" hidden="1"/>
                      <p:cNvPicPr/>
                      <p:nvPr/>
                    </p:nvPicPr>
                    <p:blipFill>
                      <a:blip r:embed="rId31"/>
                      <a:stretch>
                        <a:fillRect/>
                      </a:stretch>
                    </p:blipFill>
                    <p:spPr>
                      <a:xfrm>
                        <a:off x="2121" y="1593"/>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553847" y="540000"/>
            <a:ext cx="11078308" cy="468000"/>
          </a:xfrm>
          <a:prstGeom prst="rect">
            <a:avLst/>
          </a:prstGeom>
        </p:spPr>
        <p:txBody>
          <a:bodyPr vert="horz" lIns="36000" tIns="36000" rIns="36000" bIns="36000" rtlCol="0" anchor="t" anchorCtr="0">
            <a:noAutofit/>
          </a:bodyPr>
          <a:lstStyle/>
          <a:p>
            <a:r>
              <a:rPr lang="en-US" dirty="0"/>
              <a:t>Structural Title...</a:t>
            </a:r>
          </a:p>
        </p:txBody>
      </p:sp>
      <p:sp>
        <p:nvSpPr>
          <p:cNvPr id="3" name="Text Placeholder 2"/>
          <p:cNvSpPr>
            <a:spLocks noGrp="1"/>
          </p:cNvSpPr>
          <p:nvPr>
            <p:ph type="body" idx="1"/>
          </p:nvPr>
        </p:nvSpPr>
        <p:spPr>
          <a:xfrm>
            <a:off x="553846" y="1728788"/>
            <a:ext cx="11078306" cy="4849812"/>
          </a:xfrm>
          <a:prstGeom prst="rect">
            <a:avLst/>
          </a:prstGeom>
        </p:spPr>
        <p:txBody>
          <a:bodyPr vert="horz" lIns="36000" tIns="36000" rIns="36000" bIns="3600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6806913"/>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spcBef>
          <a:spcPct val="0"/>
        </a:spcBef>
        <a:buNone/>
        <a:defRPr sz="3000" b="0" kern="1200">
          <a:solidFill>
            <a:schemeClr val="bg1"/>
          </a:solidFill>
          <a:latin typeface="+mj-lt"/>
          <a:ea typeface="+mj-ea"/>
          <a:cs typeface="+mj-cs"/>
        </a:defRPr>
      </a:lvl1pPr>
    </p:titleStyle>
    <p:bodyStyle>
      <a:lvl1pPr marL="263525" indent="-263525" algn="l" defTabSz="914400" rtl="0" eaLnBrk="1" latinLnBrk="0" hangingPunct="1">
        <a:spcBef>
          <a:spcPct val="20000"/>
        </a:spcBef>
        <a:buClr>
          <a:schemeClr val="accent5"/>
        </a:buClr>
        <a:buFont typeface="Arial" pitchFamily="34" charset="0"/>
        <a:buChar char="•"/>
        <a:defRPr sz="14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8"/>
            </p:custDataLst>
            <p:extLst>
              <p:ext uri="{D42A27DB-BD31-4B8C-83A1-F6EECF244321}">
                <p14:modId xmlns:p14="http://schemas.microsoft.com/office/powerpoint/2010/main" val="1210651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7" name="think-cell Slide" r:id="rId29" imgW="473" imgH="473" progId="TCLayout.ActiveDocument.1">
                  <p:embed/>
                </p:oleObj>
              </mc:Choice>
              <mc:Fallback>
                <p:oleObj name="think-cell Slide" r:id="rId29" imgW="473" imgH="473" progId="TCLayout.ActiveDocument.1">
                  <p:embed/>
                  <p:pic>
                    <p:nvPicPr>
                      <p:cNvPr id="5" name="Object 4"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GB"/>
              <a:t>Click To Edit Master Title</a:t>
            </a:r>
          </a:p>
        </p:txBody>
      </p:sp>
      <p:sp>
        <p:nvSpPr>
          <p:cNvPr id="7" name="Rectangle 2"/>
          <p:cNvSpPr>
            <a:spLocks/>
          </p:cNvSpPr>
          <p:nvPr userDrawn="1"/>
        </p:nvSpPr>
        <p:spPr bwMode="auto">
          <a:xfrm>
            <a:off x="436255" y="6444147"/>
            <a:ext cx="153728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dirty="0">
                <a:solidFill>
                  <a:schemeClr val="accent5">
                    <a:lumMod val="60000"/>
                    <a:lumOff val="40000"/>
                  </a:schemeClr>
                </a:solidFill>
                <a:latin typeface="Open Sans" charset="0"/>
                <a:ea typeface="Open Sans" charset="0"/>
                <a:cs typeface="Open Sans" charset="0"/>
                <a:sym typeface="Frutiger Next Pro Light" charset="0"/>
              </a:rPr>
              <a:t>  |  Copyright © 2020 Deloitte</a:t>
            </a:r>
          </a:p>
        </p:txBody>
      </p:sp>
    </p:spTree>
    <p:extLst>
      <p:ext uri="{BB962C8B-B14F-4D97-AF65-F5344CB8AC3E}">
        <p14:creationId xmlns:p14="http://schemas.microsoft.com/office/powerpoint/2010/main" val="3309004035"/>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Lst>
  <p:txStyles>
    <p:titleStyle>
      <a:lvl1pPr algn="l" defTabSz="914400" rtl="0" eaLnBrk="1" latinLnBrk="0" hangingPunct="1">
        <a:lnSpc>
          <a:spcPct val="80000"/>
        </a:lnSpc>
        <a:spcBef>
          <a:spcPct val="0"/>
        </a:spcBef>
        <a:buNone/>
        <a:defRPr sz="2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notesSlide" Target="../notesSlides/notesSlide1.xml"/><Relationship Id="rId4" Type="http://schemas.openxmlformats.org/officeDocument/2006/relationships/slideLayout" Target="../slideLayouts/slideLayout8.xml"/><Relationship Id="rId9"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90.vml"/><Relationship Id="rId6" Type="http://schemas.openxmlformats.org/officeDocument/2006/relationships/oleObject" Target="../embeddings/oleObject90.bin"/><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1.emf"/><Relationship Id="rId2" Type="http://schemas.openxmlformats.org/officeDocument/2006/relationships/tags" Target="../tags/tag132.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1.emf"/><Relationship Id="rId2" Type="http://schemas.openxmlformats.org/officeDocument/2006/relationships/tags" Target="../tags/tag134.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notesSlide" Target="../notesSlides/notesSlide4.xml"/><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37.xml"/><Relationship Id="rId7" Type="http://schemas.openxmlformats.org/officeDocument/2006/relationships/image" Target="../media/image1.emf"/><Relationship Id="rId2" Type="http://schemas.openxmlformats.org/officeDocument/2006/relationships/tags" Target="../tags/tag136.xml"/><Relationship Id="rId1" Type="http://schemas.openxmlformats.org/officeDocument/2006/relationships/vmlDrawing" Target="../drawings/vmlDrawing93.vml"/><Relationship Id="rId6" Type="http://schemas.openxmlformats.org/officeDocument/2006/relationships/oleObject" Target="../embeddings/oleObject93.bin"/><Relationship Id="rId5" Type="http://schemas.openxmlformats.org/officeDocument/2006/relationships/notesSlide" Target="../notesSlides/notesSlide5.xml"/><Relationship Id="rId4" Type="http://schemas.openxmlformats.org/officeDocument/2006/relationships/slideLayout" Target="../slideLayouts/slideLayout9.xml"/><Relationship Id="rId9"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9.xml"/><Relationship Id="rId7" Type="http://schemas.openxmlformats.org/officeDocument/2006/relationships/hyperlink" Target="http://www.deloitte.com/" TargetMode="External"/><Relationship Id="rId2" Type="http://schemas.openxmlformats.org/officeDocument/2006/relationships/tags" Target="../tags/tag138.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42516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1"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l-SI" sz="2800" b="1" dirty="0">
              <a:latin typeface="Open Sans" panose="020B0606030504020204" pitchFamily="34" charset="0"/>
              <a:sym typeface="Open Sans" panose="020B0606030504020204" pitchFamily="34" charset="0"/>
            </a:endParaRPr>
          </a:p>
        </p:txBody>
      </p:sp>
      <p:sp>
        <p:nvSpPr>
          <p:cNvPr id="8" name="Title 7">
            <a:extLst>
              <a:ext uri="{FF2B5EF4-FFF2-40B4-BE49-F238E27FC236}">
                <a16:creationId xmlns:a16="http://schemas.microsoft.com/office/drawing/2014/main" id="{2450D845-7F01-1F4B-881F-A5E17EDE1119}"/>
              </a:ext>
            </a:extLst>
          </p:cNvPr>
          <p:cNvSpPr>
            <a:spLocks noGrp="1"/>
          </p:cNvSpPr>
          <p:nvPr>
            <p:ph type="title"/>
          </p:nvPr>
        </p:nvSpPr>
        <p:spPr>
          <a:xfrm>
            <a:off x="880676" y="4469144"/>
            <a:ext cx="4130465" cy="809631"/>
          </a:xfrm>
        </p:spPr>
        <p:txBody>
          <a:bodyPr/>
          <a:lstStyle/>
          <a:p>
            <a:r>
              <a:rPr lang="sl-SI" dirty="0"/>
              <a:t>Analiza trga plačil v Sloveniji</a:t>
            </a:r>
          </a:p>
        </p:txBody>
      </p:sp>
      <p:sp>
        <p:nvSpPr>
          <p:cNvPr id="9" name="Text Placeholder 8">
            <a:extLst>
              <a:ext uri="{FF2B5EF4-FFF2-40B4-BE49-F238E27FC236}">
                <a16:creationId xmlns:a16="http://schemas.microsoft.com/office/drawing/2014/main" id="{3596A93A-E9C9-FB43-8473-3F82157CE5BE}"/>
              </a:ext>
            </a:extLst>
          </p:cNvPr>
          <p:cNvSpPr>
            <a:spLocks noGrp="1"/>
          </p:cNvSpPr>
          <p:nvPr>
            <p:ph type="body" sz="quarter" idx="16"/>
          </p:nvPr>
        </p:nvSpPr>
        <p:spPr>
          <a:xfrm>
            <a:off x="890588" y="5568421"/>
            <a:ext cx="5219925" cy="478209"/>
          </a:xfrm>
        </p:spPr>
        <p:txBody>
          <a:bodyPr/>
          <a:lstStyle/>
          <a:p>
            <a:r>
              <a:rPr lang="sl-SI" sz="1400" dirty="0">
                <a:latin typeface="Calibri Light" panose="020F0302020204030204" pitchFamily="34" charset="0"/>
                <a:cs typeface="Calibri Light" panose="020F0302020204030204" pitchFamily="34" charset="0"/>
              </a:rPr>
              <a:t>Stanje projekta - Predstavitev za Nacionalni svet za plačila (NSP)</a:t>
            </a:r>
          </a:p>
          <a:p>
            <a:r>
              <a:rPr lang="sl-SI" sz="1400" dirty="0">
                <a:latin typeface="Calibri Light" panose="020F0302020204030204" pitchFamily="34" charset="0"/>
                <a:cs typeface="Calibri Light" panose="020F0302020204030204" pitchFamily="34" charset="0"/>
              </a:rPr>
              <a:t>Ljubljana, 2.12.2022</a:t>
            </a:r>
          </a:p>
        </p:txBody>
      </p:sp>
      <p:sp>
        <p:nvSpPr>
          <p:cNvPr id="10" name="Text Placeholder 9">
            <a:extLst>
              <a:ext uri="{FF2B5EF4-FFF2-40B4-BE49-F238E27FC236}">
                <a16:creationId xmlns:a16="http://schemas.microsoft.com/office/drawing/2014/main" id="{190A1649-C088-E54C-9B86-392BCC22860E}"/>
              </a:ext>
            </a:extLst>
          </p:cNvPr>
          <p:cNvSpPr>
            <a:spLocks noGrp="1"/>
          </p:cNvSpPr>
          <p:nvPr>
            <p:ph type="body" sz="quarter" idx="17"/>
          </p:nvPr>
        </p:nvSpPr>
        <p:spPr>
          <a:xfrm>
            <a:off x="882051" y="4252013"/>
            <a:ext cx="4407673" cy="348286"/>
          </a:xfrm>
        </p:spPr>
        <p:txBody>
          <a:bodyPr/>
          <a:lstStyle/>
          <a:p>
            <a:r>
              <a:rPr lang="sl-SI" b="0" dirty="0">
                <a:solidFill>
                  <a:schemeClr val="tx1"/>
                </a:solidFill>
              </a:rPr>
              <a:t>DECEMBER 2022</a:t>
            </a:r>
          </a:p>
        </p:txBody>
      </p:sp>
      <p:grpSp>
        <p:nvGrpSpPr>
          <p:cNvPr id="6" name="Group 15">
            <a:extLst>
              <a:ext uri="{FF2B5EF4-FFF2-40B4-BE49-F238E27FC236}">
                <a16:creationId xmlns:a16="http://schemas.microsoft.com/office/drawing/2014/main" id="{395F04C8-E35F-475F-A0D5-9FB9FA5B0426}"/>
              </a:ext>
            </a:extLst>
          </p:cNvPr>
          <p:cNvGrpSpPr/>
          <p:nvPr/>
        </p:nvGrpSpPr>
        <p:grpSpPr>
          <a:xfrm>
            <a:off x="6365073" y="1216256"/>
            <a:ext cx="4537075" cy="4400549"/>
            <a:chOff x="5822951" y="833438"/>
            <a:chExt cx="5607050" cy="5191125"/>
          </a:xfrm>
        </p:grpSpPr>
        <p:sp>
          <p:nvSpPr>
            <p:cNvPr id="7" name="Freeform 5">
              <a:extLst>
                <a:ext uri="{FF2B5EF4-FFF2-40B4-BE49-F238E27FC236}">
                  <a16:creationId xmlns:a16="http://schemas.microsoft.com/office/drawing/2014/main" id="{12D7316D-AE34-4F01-A0CB-FA88CF034833}"/>
                </a:ext>
              </a:extLst>
            </p:cNvPr>
            <p:cNvSpPr>
              <a:spLocks noEditPoints="1"/>
            </p:cNvSpPr>
            <p:nvPr/>
          </p:nvSpPr>
          <p:spPr bwMode="auto">
            <a:xfrm>
              <a:off x="9393238" y="1598613"/>
              <a:ext cx="679450" cy="682625"/>
            </a:xfrm>
            <a:custGeom>
              <a:avLst/>
              <a:gdLst>
                <a:gd name="T0" fmla="*/ 180 w 428"/>
                <a:gd name="T1" fmla="*/ 383 h 430"/>
                <a:gd name="T2" fmla="*/ 128 w 428"/>
                <a:gd name="T3" fmla="*/ 413 h 430"/>
                <a:gd name="T4" fmla="*/ 100 w 428"/>
                <a:gd name="T5" fmla="*/ 344 h 430"/>
                <a:gd name="T6" fmla="*/ 17 w 428"/>
                <a:gd name="T7" fmla="*/ 302 h 430"/>
                <a:gd name="T8" fmla="*/ 47 w 428"/>
                <a:gd name="T9" fmla="*/ 248 h 430"/>
                <a:gd name="T10" fmla="*/ 47 w 428"/>
                <a:gd name="T11" fmla="*/ 181 h 430"/>
                <a:gd name="T12" fmla="*/ 17 w 428"/>
                <a:gd name="T13" fmla="*/ 129 h 430"/>
                <a:gd name="T14" fmla="*/ 86 w 428"/>
                <a:gd name="T15" fmla="*/ 102 h 430"/>
                <a:gd name="T16" fmla="*/ 128 w 428"/>
                <a:gd name="T17" fmla="*/ 16 h 430"/>
                <a:gd name="T18" fmla="*/ 180 w 428"/>
                <a:gd name="T19" fmla="*/ 46 h 430"/>
                <a:gd name="T20" fmla="*/ 247 w 428"/>
                <a:gd name="T21" fmla="*/ 46 h 430"/>
                <a:gd name="T22" fmla="*/ 300 w 428"/>
                <a:gd name="T23" fmla="*/ 18 h 430"/>
                <a:gd name="T24" fmla="*/ 326 w 428"/>
                <a:gd name="T25" fmla="*/ 87 h 430"/>
                <a:gd name="T26" fmla="*/ 412 w 428"/>
                <a:gd name="T27" fmla="*/ 129 h 430"/>
                <a:gd name="T28" fmla="*/ 382 w 428"/>
                <a:gd name="T29" fmla="*/ 181 h 430"/>
                <a:gd name="T30" fmla="*/ 382 w 428"/>
                <a:gd name="T31" fmla="*/ 248 h 430"/>
                <a:gd name="T32" fmla="*/ 412 w 428"/>
                <a:gd name="T33" fmla="*/ 302 h 430"/>
                <a:gd name="T34" fmla="*/ 343 w 428"/>
                <a:gd name="T35" fmla="*/ 328 h 430"/>
                <a:gd name="T36" fmla="*/ 300 w 428"/>
                <a:gd name="T37" fmla="*/ 413 h 430"/>
                <a:gd name="T38" fmla="*/ 247 w 428"/>
                <a:gd name="T39" fmla="*/ 383 h 430"/>
                <a:gd name="T40" fmla="*/ 221 w 428"/>
                <a:gd name="T41" fmla="*/ 409 h 430"/>
                <a:gd name="T42" fmla="*/ 237 w 428"/>
                <a:gd name="T43" fmla="*/ 365 h 430"/>
                <a:gd name="T44" fmla="*/ 276 w 428"/>
                <a:gd name="T45" fmla="*/ 354 h 430"/>
                <a:gd name="T46" fmla="*/ 302 w 428"/>
                <a:gd name="T47" fmla="*/ 337 h 430"/>
                <a:gd name="T48" fmla="*/ 321 w 428"/>
                <a:gd name="T49" fmla="*/ 322 h 430"/>
                <a:gd name="T50" fmla="*/ 378 w 428"/>
                <a:gd name="T51" fmla="*/ 318 h 430"/>
                <a:gd name="T52" fmla="*/ 354 w 428"/>
                <a:gd name="T53" fmla="*/ 270 h 430"/>
                <a:gd name="T54" fmla="*/ 363 w 428"/>
                <a:gd name="T55" fmla="*/ 239 h 430"/>
                <a:gd name="T56" fmla="*/ 408 w 428"/>
                <a:gd name="T57" fmla="*/ 209 h 430"/>
                <a:gd name="T58" fmla="*/ 363 w 428"/>
                <a:gd name="T59" fmla="*/ 192 h 430"/>
                <a:gd name="T60" fmla="*/ 352 w 428"/>
                <a:gd name="T61" fmla="*/ 153 h 430"/>
                <a:gd name="T62" fmla="*/ 336 w 428"/>
                <a:gd name="T63" fmla="*/ 126 h 430"/>
                <a:gd name="T64" fmla="*/ 321 w 428"/>
                <a:gd name="T65" fmla="*/ 109 h 430"/>
                <a:gd name="T66" fmla="*/ 317 w 428"/>
                <a:gd name="T67" fmla="*/ 52 h 430"/>
                <a:gd name="T68" fmla="*/ 269 w 428"/>
                <a:gd name="T69" fmla="*/ 74 h 430"/>
                <a:gd name="T70" fmla="*/ 237 w 428"/>
                <a:gd name="T71" fmla="*/ 66 h 430"/>
                <a:gd name="T72" fmla="*/ 208 w 428"/>
                <a:gd name="T73" fmla="*/ 22 h 430"/>
                <a:gd name="T74" fmla="*/ 191 w 428"/>
                <a:gd name="T75" fmla="*/ 66 h 430"/>
                <a:gd name="T76" fmla="*/ 152 w 428"/>
                <a:gd name="T77" fmla="*/ 78 h 430"/>
                <a:gd name="T78" fmla="*/ 126 w 428"/>
                <a:gd name="T79" fmla="*/ 92 h 430"/>
                <a:gd name="T80" fmla="*/ 108 w 428"/>
                <a:gd name="T81" fmla="*/ 109 h 430"/>
                <a:gd name="T82" fmla="*/ 50 w 428"/>
                <a:gd name="T83" fmla="*/ 113 h 430"/>
                <a:gd name="T84" fmla="*/ 74 w 428"/>
                <a:gd name="T85" fmla="*/ 161 h 430"/>
                <a:gd name="T86" fmla="*/ 65 w 428"/>
                <a:gd name="T87" fmla="*/ 192 h 430"/>
                <a:gd name="T88" fmla="*/ 21 w 428"/>
                <a:gd name="T89" fmla="*/ 222 h 430"/>
                <a:gd name="T90" fmla="*/ 65 w 428"/>
                <a:gd name="T91" fmla="*/ 239 h 430"/>
                <a:gd name="T92" fmla="*/ 76 w 428"/>
                <a:gd name="T93" fmla="*/ 276 h 430"/>
                <a:gd name="T94" fmla="*/ 93 w 428"/>
                <a:gd name="T95" fmla="*/ 304 h 430"/>
                <a:gd name="T96" fmla="*/ 108 w 428"/>
                <a:gd name="T97" fmla="*/ 322 h 430"/>
                <a:gd name="T98" fmla="*/ 112 w 428"/>
                <a:gd name="T99" fmla="*/ 380 h 430"/>
                <a:gd name="T100" fmla="*/ 160 w 428"/>
                <a:gd name="T101" fmla="*/ 355 h 430"/>
                <a:gd name="T102" fmla="*/ 191 w 428"/>
                <a:gd name="T103" fmla="*/ 36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8" h="430">
                  <a:moveTo>
                    <a:pt x="237" y="430"/>
                  </a:moveTo>
                  <a:lnTo>
                    <a:pt x="189" y="430"/>
                  </a:lnTo>
                  <a:lnTo>
                    <a:pt x="180" y="383"/>
                  </a:lnTo>
                  <a:lnTo>
                    <a:pt x="180" y="383"/>
                  </a:lnTo>
                  <a:lnTo>
                    <a:pt x="160" y="378"/>
                  </a:lnTo>
                  <a:lnTo>
                    <a:pt x="128" y="413"/>
                  </a:lnTo>
                  <a:lnTo>
                    <a:pt x="86" y="389"/>
                  </a:lnTo>
                  <a:lnTo>
                    <a:pt x="100" y="344"/>
                  </a:lnTo>
                  <a:lnTo>
                    <a:pt x="100" y="344"/>
                  </a:lnTo>
                  <a:lnTo>
                    <a:pt x="86" y="328"/>
                  </a:lnTo>
                  <a:lnTo>
                    <a:pt x="41" y="342"/>
                  </a:lnTo>
                  <a:lnTo>
                    <a:pt x="17" y="302"/>
                  </a:lnTo>
                  <a:lnTo>
                    <a:pt x="52" y="270"/>
                  </a:lnTo>
                  <a:lnTo>
                    <a:pt x="52" y="270"/>
                  </a:lnTo>
                  <a:lnTo>
                    <a:pt x="47" y="248"/>
                  </a:lnTo>
                  <a:lnTo>
                    <a:pt x="0" y="239"/>
                  </a:lnTo>
                  <a:lnTo>
                    <a:pt x="0" y="191"/>
                  </a:lnTo>
                  <a:lnTo>
                    <a:pt x="47" y="181"/>
                  </a:lnTo>
                  <a:lnTo>
                    <a:pt x="47" y="181"/>
                  </a:lnTo>
                  <a:lnTo>
                    <a:pt x="52" y="159"/>
                  </a:lnTo>
                  <a:lnTo>
                    <a:pt x="17" y="129"/>
                  </a:lnTo>
                  <a:lnTo>
                    <a:pt x="41" y="87"/>
                  </a:lnTo>
                  <a:lnTo>
                    <a:pt x="86" y="102"/>
                  </a:lnTo>
                  <a:lnTo>
                    <a:pt x="86" y="102"/>
                  </a:lnTo>
                  <a:lnTo>
                    <a:pt x="100" y="87"/>
                  </a:lnTo>
                  <a:lnTo>
                    <a:pt x="86" y="40"/>
                  </a:lnTo>
                  <a:lnTo>
                    <a:pt x="128" y="16"/>
                  </a:lnTo>
                  <a:lnTo>
                    <a:pt x="160" y="53"/>
                  </a:lnTo>
                  <a:lnTo>
                    <a:pt x="160" y="53"/>
                  </a:lnTo>
                  <a:lnTo>
                    <a:pt x="180" y="46"/>
                  </a:lnTo>
                  <a:lnTo>
                    <a:pt x="189" y="0"/>
                  </a:lnTo>
                  <a:lnTo>
                    <a:pt x="237" y="0"/>
                  </a:lnTo>
                  <a:lnTo>
                    <a:pt x="247" y="46"/>
                  </a:lnTo>
                  <a:lnTo>
                    <a:pt x="247" y="46"/>
                  </a:lnTo>
                  <a:lnTo>
                    <a:pt x="269" y="53"/>
                  </a:lnTo>
                  <a:lnTo>
                    <a:pt x="300" y="18"/>
                  </a:lnTo>
                  <a:lnTo>
                    <a:pt x="343" y="40"/>
                  </a:lnTo>
                  <a:lnTo>
                    <a:pt x="326" y="87"/>
                  </a:lnTo>
                  <a:lnTo>
                    <a:pt x="326" y="87"/>
                  </a:lnTo>
                  <a:lnTo>
                    <a:pt x="343" y="102"/>
                  </a:lnTo>
                  <a:lnTo>
                    <a:pt x="388" y="87"/>
                  </a:lnTo>
                  <a:lnTo>
                    <a:pt x="412" y="129"/>
                  </a:lnTo>
                  <a:lnTo>
                    <a:pt x="376" y="159"/>
                  </a:lnTo>
                  <a:lnTo>
                    <a:pt x="376" y="159"/>
                  </a:lnTo>
                  <a:lnTo>
                    <a:pt x="382" y="181"/>
                  </a:lnTo>
                  <a:lnTo>
                    <a:pt x="428" y="191"/>
                  </a:lnTo>
                  <a:lnTo>
                    <a:pt x="428" y="239"/>
                  </a:lnTo>
                  <a:lnTo>
                    <a:pt x="382" y="248"/>
                  </a:lnTo>
                  <a:lnTo>
                    <a:pt x="382" y="248"/>
                  </a:lnTo>
                  <a:lnTo>
                    <a:pt x="376" y="270"/>
                  </a:lnTo>
                  <a:lnTo>
                    <a:pt x="412" y="302"/>
                  </a:lnTo>
                  <a:lnTo>
                    <a:pt x="388" y="342"/>
                  </a:lnTo>
                  <a:lnTo>
                    <a:pt x="343" y="328"/>
                  </a:lnTo>
                  <a:lnTo>
                    <a:pt x="343" y="328"/>
                  </a:lnTo>
                  <a:lnTo>
                    <a:pt x="326" y="344"/>
                  </a:lnTo>
                  <a:lnTo>
                    <a:pt x="343" y="389"/>
                  </a:lnTo>
                  <a:lnTo>
                    <a:pt x="300" y="413"/>
                  </a:lnTo>
                  <a:lnTo>
                    <a:pt x="269" y="378"/>
                  </a:lnTo>
                  <a:lnTo>
                    <a:pt x="269" y="378"/>
                  </a:lnTo>
                  <a:lnTo>
                    <a:pt x="247" y="383"/>
                  </a:lnTo>
                  <a:lnTo>
                    <a:pt x="237" y="430"/>
                  </a:lnTo>
                  <a:close/>
                  <a:moveTo>
                    <a:pt x="208" y="409"/>
                  </a:moveTo>
                  <a:lnTo>
                    <a:pt x="221" y="409"/>
                  </a:lnTo>
                  <a:lnTo>
                    <a:pt x="230" y="365"/>
                  </a:lnTo>
                  <a:lnTo>
                    <a:pt x="237" y="365"/>
                  </a:lnTo>
                  <a:lnTo>
                    <a:pt x="237" y="365"/>
                  </a:lnTo>
                  <a:lnTo>
                    <a:pt x="252" y="361"/>
                  </a:lnTo>
                  <a:lnTo>
                    <a:pt x="269" y="355"/>
                  </a:lnTo>
                  <a:lnTo>
                    <a:pt x="276" y="354"/>
                  </a:lnTo>
                  <a:lnTo>
                    <a:pt x="304" y="385"/>
                  </a:lnTo>
                  <a:lnTo>
                    <a:pt x="317" y="380"/>
                  </a:lnTo>
                  <a:lnTo>
                    <a:pt x="302" y="337"/>
                  </a:lnTo>
                  <a:lnTo>
                    <a:pt x="308" y="333"/>
                  </a:lnTo>
                  <a:lnTo>
                    <a:pt x="308" y="333"/>
                  </a:lnTo>
                  <a:lnTo>
                    <a:pt x="321" y="322"/>
                  </a:lnTo>
                  <a:lnTo>
                    <a:pt x="332" y="309"/>
                  </a:lnTo>
                  <a:lnTo>
                    <a:pt x="336" y="304"/>
                  </a:lnTo>
                  <a:lnTo>
                    <a:pt x="378" y="318"/>
                  </a:lnTo>
                  <a:lnTo>
                    <a:pt x="386" y="305"/>
                  </a:lnTo>
                  <a:lnTo>
                    <a:pt x="352" y="276"/>
                  </a:lnTo>
                  <a:lnTo>
                    <a:pt x="354" y="270"/>
                  </a:lnTo>
                  <a:lnTo>
                    <a:pt x="354" y="270"/>
                  </a:lnTo>
                  <a:lnTo>
                    <a:pt x="360" y="254"/>
                  </a:lnTo>
                  <a:lnTo>
                    <a:pt x="363" y="239"/>
                  </a:lnTo>
                  <a:lnTo>
                    <a:pt x="363" y="231"/>
                  </a:lnTo>
                  <a:lnTo>
                    <a:pt x="408" y="222"/>
                  </a:lnTo>
                  <a:lnTo>
                    <a:pt x="408" y="209"/>
                  </a:lnTo>
                  <a:lnTo>
                    <a:pt x="363" y="200"/>
                  </a:lnTo>
                  <a:lnTo>
                    <a:pt x="363" y="192"/>
                  </a:lnTo>
                  <a:lnTo>
                    <a:pt x="363" y="192"/>
                  </a:lnTo>
                  <a:lnTo>
                    <a:pt x="360" y="176"/>
                  </a:lnTo>
                  <a:lnTo>
                    <a:pt x="354" y="161"/>
                  </a:lnTo>
                  <a:lnTo>
                    <a:pt x="352" y="153"/>
                  </a:lnTo>
                  <a:lnTo>
                    <a:pt x="386" y="124"/>
                  </a:lnTo>
                  <a:lnTo>
                    <a:pt x="378" y="113"/>
                  </a:lnTo>
                  <a:lnTo>
                    <a:pt x="336" y="126"/>
                  </a:lnTo>
                  <a:lnTo>
                    <a:pt x="332" y="120"/>
                  </a:lnTo>
                  <a:lnTo>
                    <a:pt x="332" y="120"/>
                  </a:lnTo>
                  <a:lnTo>
                    <a:pt x="321" y="109"/>
                  </a:lnTo>
                  <a:lnTo>
                    <a:pt x="308" y="98"/>
                  </a:lnTo>
                  <a:lnTo>
                    <a:pt x="302" y="92"/>
                  </a:lnTo>
                  <a:lnTo>
                    <a:pt x="317" y="52"/>
                  </a:lnTo>
                  <a:lnTo>
                    <a:pt x="304" y="44"/>
                  </a:lnTo>
                  <a:lnTo>
                    <a:pt x="276" y="78"/>
                  </a:lnTo>
                  <a:lnTo>
                    <a:pt x="269" y="74"/>
                  </a:lnTo>
                  <a:lnTo>
                    <a:pt x="269" y="74"/>
                  </a:lnTo>
                  <a:lnTo>
                    <a:pt x="252" y="70"/>
                  </a:lnTo>
                  <a:lnTo>
                    <a:pt x="237" y="66"/>
                  </a:lnTo>
                  <a:lnTo>
                    <a:pt x="230" y="65"/>
                  </a:lnTo>
                  <a:lnTo>
                    <a:pt x="221" y="22"/>
                  </a:lnTo>
                  <a:lnTo>
                    <a:pt x="208" y="22"/>
                  </a:lnTo>
                  <a:lnTo>
                    <a:pt x="199" y="65"/>
                  </a:lnTo>
                  <a:lnTo>
                    <a:pt x="191" y="66"/>
                  </a:lnTo>
                  <a:lnTo>
                    <a:pt x="191" y="66"/>
                  </a:lnTo>
                  <a:lnTo>
                    <a:pt x="174" y="70"/>
                  </a:lnTo>
                  <a:lnTo>
                    <a:pt x="160" y="74"/>
                  </a:lnTo>
                  <a:lnTo>
                    <a:pt x="152" y="78"/>
                  </a:lnTo>
                  <a:lnTo>
                    <a:pt x="123" y="44"/>
                  </a:lnTo>
                  <a:lnTo>
                    <a:pt x="112" y="52"/>
                  </a:lnTo>
                  <a:lnTo>
                    <a:pt x="126" y="92"/>
                  </a:lnTo>
                  <a:lnTo>
                    <a:pt x="121" y="98"/>
                  </a:lnTo>
                  <a:lnTo>
                    <a:pt x="121" y="98"/>
                  </a:lnTo>
                  <a:lnTo>
                    <a:pt x="108" y="109"/>
                  </a:lnTo>
                  <a:lnTo>
                    <a:pt x="97" y="120"/>
                  </a:lnTo>
                  <a:lnTo>
                    <a:pt x="93" y="126"/>
                  </a:lnTo>
                  <a:lnTo>
                    <a:pt x="50" y="113"/>
                  </a:lnTo>
                  <a:lnTo>
                    <a:pt x="43" y="124"/>
                  </a:lnTo>
                  <a:lnTo>
                    <a:pt x="76" y="153"/>
                  </a:lnTo>
                  <a:lnTo>
                    <a:pt x="74" y="161"/>
                  </a:lnTo>
                  <a:lnTo>
                    <a:pt x="74" y="161"/>
                  </a:lnTo>
                  <a:lnTo>
                    <a:pt x="69" y="176"/>
                  </a:lnTo>
                  <a:lnTo>
                    <a:pt x="65" y="192"/>
                  </a:lnTo>
                  <a:lnTo>
                    <a:pt x="63" y="200"/>
                  </a:lnTo>
                  <a:lnTo>
                    <a:pt x="21" y="209"/>
                  </a:lnTo>
                  <a:lnTo>
                    <a:pt x="21" y="222"/>
                  </a:lnTo>
                  <a:lnTo>
                    <a:pt x="63" y="231"/>
                  </a:lnTo>
                  <a:lnTo>
                    <a:pt x="65" y="239"/>
                  </a:lnTo>
                  <a:lnTo>
                    <a:pt x="65" y="239"/>
                  </a:lnTo>
                  <a:lnTo>
                    <a:pt x="69" y="254"/>
                  </a:lnTo>
                  <a:lnTo>
                    <a:pt x="74" y="270"/>
                  </a:lnTo>
                  <a:lnTo>
                    <a:pt x="76" y="276"/>
                  </a:lnTo>
                  <a:lnTo>
                    <a:pt x="43" y="305"/>
                  </a:lnTo>
                  <a:lnTo>
                    <a:pt x="50" y="318"/>
                  </a:lnTo>
                  <a:lnTo>
                    <a:pt x="93" y="304"/>
                  </a:lnTo>
                  <a:lnTo>
                    <a:pt x="97" y="309"/>
                  </a:lnTo>
                  <a:lnTo>
                    <a:pt x="97" y="309"/>
                  </a:lnTo>
                  <a:lnTo>
                    <a:pt x="108" y="322"/>
                  </a:lnTo>
                  <a:lnTo>
                    <a:pt x="121" y="333"/>
                  </a:lnTo>
                  <a:lnTo>
                    <a:pt x="126" y="337"/>
                  </a:lnTo>
                  <a:lnTo>
                    <a:pt x="112" y="380"/>
                  </a:lnTo>
                  <a:lnTo>
                    <a:pt x="123" y="385"/>
                  </a:lnTo>
                  <a:lnTo>
                    <a:pt x="152" y="354"/>
                  </a:lnTo>
                  <a:lnTo>
                    <a:pt x="160" y="355"/>
                  </a:lnTo>
                  <a:lnTo>
                    <a:pt x="160" y="355"/>
                  </a:lnTo>
                  <a:lnTo>
                    <a:pt x="174" y="361"/>
                  </a:lnTo>
                  <a:lnTo>
                    <a:pt x="191" y="365"/>
                  </a:lnTo>
                  <a:lnTo>
                    <a:pt x="199" y="365"/>
                  </a:lnTo>
                  <a:lnTo>
                    <a:pt x="208" y="40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1" name="Freeform 6">
              <a:extLst>
                <a:ext uri="{FF2B5EF4-FFF2-40B4-BE49-F238E27FC236}">
                  <a16:creationId xmlns:a16="http://schemas.microsoft.com/office/drawing/2014/main" id="{618BA717-A258-4C91-8478-9A08D39C3960}"/>
                </a:ext>
              </a:extLst>
            </p:cNvPr>
            <p:cNvSpPr>
              <a:spLocks/>
            </p:cNvSpPr>
            <p:nvPr/>
          </p:nvSpPr>
          <p:spPr bwMode="auto">
            <a:xfrm>
              <a:off x="9551988" y="1760538"/>
              <a:ext cx="361950" cy="360363"/>
            </a:xfrm>
            <a:custGeom>
              <a:avLst/>
              <a:gdLst>
                <a:gd name="T0" fmla="*/ 113 w 228"/>
                <a:gd name="T1" fmla="*/ 227 h 227"/>
                <a:gd name="T2" fmla="*/ 113 w 228"/>
                <a:gd name="T3" fmla="*/ 227 h 227"/>
                <a:gd name="T4" fmla="*/ 102 w 228"/>
                <a:gd name="T5" fmla="*/ 226 h 227"/>
                <a:gd name="T6" fmla="*/ 91 w 228"/>
                <a:gd name="T7" fmla="*/ 226 h 227"/>
                <a:gd name="T8" fmla="*/ 80 w 228"/>
                <a:gd name="T9" fmla="*/ 222 h 227"/>
                <a:gd name="T10" fmla="*/ 69 w 228"/>
                <a:gd name="T11" fmla="*/ 218 h 227"/>
                <a:gd name="T12" fmla="*/ 50 w 228"/>
                <a:gd name="T13" fmla="*/ 207 h 227"/>
                <a:gd name="T14" fmla="*/ 34 w 228"/>
                <a:gd name="T15" fmla="*/ 194 h 227"/>
                <a:gd name="T16" fmla="*/ 19 w 228"/>
                <a:gd name="T17" fmla="*/ 177 h 227"/>
                <a:gd name="T18" fmla="*/ 10 w 228"/>
                <a:gd name="T19" fmla="*/ 157 h 227"/>
                <a:gd name="T20" fmla="*/ 6 w 228"/>
                <a:gd name="T21" fmla="*/ 148 h 227"/>
                <a:gd name="T22" fmla="*/ 2 w 228"/>
                <a:gd name="T23" fmla="*/ 137 h 227"/>
                <a:gd name="T24" fmla="*/ 0 w 228"/>
                <a:gd name="T25" fmla="*/ 126 h 227"/>
                <a:gd name="T26" fmla="*/ 0 w 228"/>
                <a:gd name="T27" fmla="*/ 113 h 227"/>
                <a:gd name="T28" fmla="*/ 0 w 228"/>
                <a:gd name="T29" fmla="*/ 113 h 227"/>
                <a:gd name="T30" fmla="*/ 0 w 228"/>
                <a:gd name="T31" fmla="*/ 101 h 227"/>
                <a:gd name="T32" fmla="*/ 2 w 228"/>
                <a:gd name="T33" fmla="*/ 90 h 227"/>
                <a:gd name="T34" fmla="*/ 6 w 228"/>
                <a:gd name="T35" fmla="*/ 79 h 227"/>
                <a:gd name="T36" fmla="*/ 10 w 228"/>
                <a:gd name="T37" fmla="*/ 68 h 227"/>
                <a:gd name="T38" fmla="*/ 19 w 228"/>
                <a:gd name="T39" fmla="*/ 50 h 227"/>
                <a:gd name="T40" fmla="*/ 34 w 228"/>
                <a:gd name="T41" fmla="*/ 33 h 227"/>
                <a:gd name="T42" fmla="*/ 50 w 228"/>
                <a:gd name="T43" fmla="*/ 18 h 227"/>
                <a:gd name="T44" fmla="*/ 69 w 228"/>
                <a:gd name="T45" fmla="*/ 7 h 227"/>
                <a:gd name="T46" fmla="*/ 80 w 228"/>
                <a:gd name="T47" fmla="*/ 3 h 227"/>
                <a:gd name="T48" fmla="*/ 91 w 228"/>
                <a:gd name="T49" fmla="*/ 1 h 227"/>
                <a:gd name="T50" fmla="*/ 102 w 228"/>
                <a:gd name="T51" fmla="*/ 0 h 227"/>
                <a:gd name="T52" fmla="*/ 113 w 228"/>
                <a:gd name="T53" fmla="*/ 0 h 227"/>
                <a:gd name="T54" fmla="*/ 113 w 228"/>
                <a:gd name="T55" fmla="*/ 0 h 227"/>
                <a:gd name="T56" fmla="*/ 126 w 228"/>
                <a:gd name="T57" fmla="*/ 0 h 227"/>
                <a:gd name="T58" fmla="*/ 137 w 228"/>
                <a:gd name="T59" fmla="*/ 1 h 227"/>
                <a:gd name="T60" fmla="*/ 149 w 228"/>
                <a:gd name="T61" fmla="*/ 3 h 227"/>
                <a:gd name="T62" fmla="*/ 158 w 228"/>
                <a:gd name="T63" fmla="*/ 7 h 227"/>
                <a:gd name="T64" fmla="*/ 178 w 228"/>
                <a:gd name="T65" fmla="*/ 18 h 227"/>
                <a:gd name="T66" fmla="*/ 195 w 228"/>
                <a:gd name="T67" fmla="*/ 33 h 227"/>
                <a:gd name="T68" fmla="*/ 210 w 228"/>
                <a:gd name="T69" fmla="*/ 50 h 227"/>
                <a:gd name="T70" fmla="*/ 219 w 228"/>
                <a:gd name="T71" fmla="*/ 68 h 227"/>
                <a:gd name="T72" fmla="*/ 223 w 228"/>
                <a:gd name="T73" fmla="*/ 79 h 227"/>
                <a:gd name="T74" fmla="*/ 226 w 228"/>
                <a:gd name="T75" fmla="*/ 90 h 227"/>
                <a:gd name="T76" fmla="*/ 228 w 228"/>
                <a:gd name="T77" fmla="*/ 101 h 227"/>
                <a:gd name="T78" fmla="*/ 228 w 228"/>
                <a:gd name="T79" fmla="*/ 113 h 227"/>
                <a:gd name="T80" fmla="*/ 228 w 228"/>
                <a:gd name="T81" fmla="*/ 113 h 227"/>
                <a:gd name="T82" fmla="*/ 228 w 228"/>
                <a:gd name="T83" fmla="*/ 126 h 227"/>
                <a:gd name="T84" fmla="*/ 226 w 228"/>
                <a:gd name="T85" fmla="*/ 137 h 227"/>
                <a:gd name="T86" fmla="*/ 223 w 228"/>
                <a:gd name="T87" fmla="*/ 148 h 227"/>
                <a:gd name="T88" fmla="*/ 219 w 228"/>
                <a:gd name="T89" fmla="*/ 157 h 227"/>
                <a:gd name="T90" fmla="*/ 210 w 228"/>
                <a:gd name="T91" fmla="*/ 177 h 227"/>
                <a:gd name="T92" fmla="*/ 195 w 228"/>
                <a:gd name="T93" fmla="*/ 194 h 227"/>
                <a:gd name="T94" fmla="*/ 178 w 228"/>
                <a:gd name="T95" fmla="*/ 207 h 227"/>
                <a:gd name="T96" fmla="*/ 158 w 228"/>
                <a:gd name="T97" fmla="*/ 218 h 227"/>
                <a:gd name="T98" fmla="*/ 149 w 228"/>
                <a:gd name="T99" fmla="*/ 222 h 227"/>
                <a:gd name="T100" fmla="*/ 137 w 228"/>
                <a:gd name="T101" fmla="*/ 226 h 227"/>
                <a:gd name="T102" fmla="*/ 126 w 228"/>
                <a:gd name="T103" fmla="*/ 226 h 227"/>
                <a:gd name="T104" fmla="*/ 113 w 228"/>
                <a:gd name="T105" fmla="*/ 227 h 227"/>
                <a:gd name="T106" fmla="*/ 113 w 228"/>
                <a:gd name="T10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8" h="227">
                  <a:moveTo>
                    <a:pt x="113" y="227"/>
                  </a:moveTo>
                  <a:lnTo>
                    <a:pt x="113" y="227"/>
                  </a:lnTo>
                  <a:lnTo>
                    <a:pt x="102" y="226"/>
                  </a:lnTo>
                  <a:lnTo>
                    <a:pt x="91" y="226"/>
                  </a:lnTo>
                  <a:lnTo>
                    <a:pt x="80" y="222"/>
                  </a:lnTo>
                  <a:lnTo>
                    <a:pt x="69" y="218"/>
                  </a:lnTo>
                  <a:lnTo>
                    <a:pt x="50" y="207"/>
                  </a:lnTo>
                  <a:lnTo>
                    <a:pt x="34" y="194"/>
                  </a:lnTo>
                  <a:lnTo>
                    <a:pt x="19" y="177"/>
                  </a:lnTo>
                  <a:lnTo>
                    <a:pt x="10" y="157"/>
                  </a:lnTo>
                  <a:lnTo>
                    <a:pt x="6" y="148"/>
                  </a:lnTo>
                  <a:lnTo>
                    <a:pt x="2" y="137"/>
                  </a:lnTo>
                  <a:lnTo>
                    <a:pt x="0" y="126"/>
                  </a:lnTo>
                  <a:lnTo>
                    <a:pt x="0" y="113"/>
                  </a:lnTo>
                  <a:lnTo>
                    <a:pt x="0" y="113"/>
                  </a:lnTo>
                  <a:lnTo>
                    <a:pt x="0" y="101"/>
                  </a:lnTo>
                  <a:lnTo>
                    <a:pt x="2" y="90"/>
                  </a:lnTo>
                  <a:lnTo>
                    <a:pt x="6" y="79"/>
                  </a:lnTo>
                  <a:lnTo>
                    <a:pt x="10" y="68"/>
                  </a:lnTo>
                  <a:lnTo>
                    <a:pt x="19" y="50"/>
                  </a:lnTo>
                  <a:lnTo>
                    <a:pt x="34" y="33"/>
                  </a:lnTo>
                  <a:lnTo>
                    <a:pt x="50" y="18"/>
                  </a:lnTo>
                  <a:lnTo>
                    <a:pt x="69" y="7"/>
                  </a:lnTo>
                  <a:lnTo>
                    <a:pt x="80" y="3"/>
                  </a:lnTo>
                  <a:lnTo>
                    <a:pt x="91" y="1"/>
                  </a:lnTo>
                  <a:lnTo>
                    <a:pt x="102" y="0"/>
                  </a:lnTo>
                  <a:lnTo>
                    <a:pt x="113" y="0"/>
                  </a:lnTo>
                  <a:lnTo>
                    <a:pt x="113" y="0"/>
                  </a:lnTo>
                  <a:lnTo>
                    <a:pt x="126" y="0"/>
                  </a:lnTo>
                  <a:lnTo>
                    <a:pt x="137" y="1"/>
                  </a:lnTo>
                  <a:lnTo>
                    <a:pt x="149" y="3"/>
                  </a:lnTo>
                  <a:lnTo>
                    <a:pt x="158" y="7"/>
                  </a:lnTo>
                  <a:lnTo>
                    <a:pt x="178" y="18"/>
                  </a:lnTo>
                  <a:lnTo>
                    <a:pt x="195" y="33"/>
                  </a:lnTo>
                  <a:lnTo>
                    <a:pt x="210" y="50"/>
                  </a:lnTo>
                  <a:lnTo>
                    <a:pt x="219" y="68"/>
                  </a:lnTo>
                  <a:lnTo>
                    <a:pt x="223" y="79"/>
                  </a:lnTo>
                  <a:lnTo>
                    <a:pt x="226" y="90"/>
                  </a:lnTo>
                  <a:lnTo>
                    <a:pt x="228" y="101"/>
                  </a:lnTo>
                  <a:lnTo>
                    <a:pt x="228" y="113"/>
                  </a:lnTo>
                  <a:lnTo>
                    <a:pt x="228" y="113"/>
                  </a:lnTo>
                  <a:lnTo>
                    <a:pt x="228" y="126"/>
                  </a:lnTo>
                  <a:lnTo>
                    <a:pt x="226" y="137"/>
                  </a:lnTo>
                  <a:lnTo>
                    <a:pt x="223" y="148"/>
                  </a:lnTo>
                  <a:lnTo>
                    <a:pt x="219" y="157"/>
                  </a:lnTo>
                  <a:lnTo>
                    <a:pt x="210" y="177"/>
                  </a:lnTo>
                  <a:lnTo>
                    <a:pt x="195" y="194"/>
                  </a:lnTo>
                  <a:lnTo>
                    <a:pt x="178" y="207"/>
                  </a:lnTo>
                  <a:lnTo>
                    <a:pt x="158" y="218"/>
                  </a:lnTo>
                  <a:lnTo>
                    <a:pt x="149" y="222"/>
                  </a:lnTo>
                  <a:lnTo>
                    <a:pt x="137" y="226"/>
                  </a:lnTo>
                  <a:lnTo>
                    <a:pt x="126" y="226"/>
                  </a:lnTo>
                  <a:lnTo>
                    <a:pt x="113" y="227"/>
                  </a:lnTo>
                  <a:lnTo>
                    <a:pt x="113" y="227"/>
                  </a:lnTo>
                  <a:close/>
                </a:path>
              </a:pathLst>
            </a:custGeom>
            <a:solidFill>
              <a:srgbClr val="FDD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2" name="Freeform 7">
              <a:extLst>
                <a:ext uri="{FF2B5EF4-FFF2-40B4-BE49-F238E27FC236}">
                  <a16:creationId xmlns:a16="http://schemas.microsoft.com/office/drawing/2014/main" id="{500E9F2C-496A-4EB6-AED2-C8972BBB2544}"/>
                </a:ext>
              </a:extLst>
            </p:cNvPr>
            <p:cNvSpPr>
              <a:spLocks noEditPoints="1"/>
            </p:cNvSpPr>
            <p:nvPr/>
          </p:nvSpPr>
          <p:spPr bwMode="auto">
            <a:xfrm>
              <a:off x="9626601" y="1833563"/>
              <a:ext cx="211138" cy="214313"/>
            </a:xfrm>
            <a:custGeom>
              <a:avLst/>
              <a:gdLst>
                <a:gd name="T0" fmla="*/ 66 w 133"/>
                <a:gd name="T1" fmla="*/ 135 h 135"/>
                <a:gd name="T2" fmla="*/ 55 w 133"/>
                <a:gd name="T3" fmla="*/ 133 h 135"/>
                <a:gd name="T4" fmla="*/ 52 w 133"/>
                <a:gd name="T5" fmla="*/ 111 h 135"/>
                <a:gd name="T6" fmla="*/ 59 w 133"/>
                <a:gd name="T7" fmla="*/ 113 h 135"/>
                <a:gd name="T8" fmla="*/ 68 w 133"/>
                <a:gd name="T9" fmla="*/ 135 h 135"/>
                <a:gd name="T10" fmla="*/ 83 w 133"/>
                <a:gd name="T11" fmla="*/ 111 h 135"/>
                <a:gd name="T12" fmla="*/ 90 w 133"/>
                <a:gd name="T13" fmla="*/ 107 h 135"/>
                <a:gd name="T14" fmla="*/ 111 w 133"/>
                <a:gd name="T15" fmla="*/ 118 h 135"/>
                <a:gd name="T16" fmla="*/ 102 w 133"/>
                <a:gd name="T17" fmla="*/ 126 h 135"/>
                <a:gd name="T18" fmla="*/ 90 w 133"/>
                <a:gd name="T19" fmla="*/ 130 h 135"/>
                <a:gd name="T20" fmla="*/ 24 w 133"/>
                <a:gd name="T21" fmla="*/ 118 h 135"/>
                <a:gd name="T22" fmla="*/ 9 w 133"/>
                <a:gd name="T23" fmla="*/ 100 h 135"/>
                <a:gd name="T24" fmla="*/ 27 w 133"/>
                <a:gd name="T25" fmla="*/ 91 h 135"/>
                <a:gd name="T26" fmla="*/ 37 w 133"/>
                <a:gd name="T27" fmla="*/ 102 h 135"/>
                <a:gd name="T28" fmla="*/ 126 w 133"/>
                <a:gd name="T29" fmla="*/ 100 h 135"/>
                <a:gd name="T30" fmla="*/ 107 w 133"/>
                <a:gd name="T31" fmla="*/ 91 h 135"/>
                <a:gd name="T32" fmla="*/ 113 w 133"/>
                <a:gd name="T33" fmla="*/ 74 h 135"/>
                <a:gd name="T34" fmla="*/ 133 w 133"/>
                <a:gd name="T35" fmla="*/ 78 h 135"/>
                <a:gd name="T36" fmla="*/ 126 w 133"/>
                <a:gd name="T37" fmla="*/ 100 h 135"/>
                <a:gd name="T38" fmla="*/ 0 w 133"/>
                <a:gd name="T39" fmla="*/ 80 h 135"/>
                <a:gd name="T40" fmla="*/ 0 w 133"/>
                <a:gd name="T41" fmla="*/ 67 h 135"/>
                <a:gd name="T42" fmla="*/ 0 w 133"/>
                <a:gd name="T43" fmla="*/ 55 h 135"/>
                <a:gd name="T44" fmla="*/ 22 w 133"/>
                <a:gd name="T45" fmla="*/ 59 h 135"/>
                <a:gd name="T46" fmla="*/ 20 w 133"/>
                <a:gd name="T47" fmla="*/ 67 h 135"/>
                <a:gd name="T48" fmla="*/ 0 w 133"/>
                <a:gd name="T49" fmla="*/ 80 h 135"/>
                <a:gd name="T50" fmla="*/ 113 w 133"/>
                <a:gd name="T51" fmla="*/ 59 h 135"/>
                <a:gd name="T52" fmla="*/ 107 w 133"/>
                <a:gd name="T53" fmla="*/ 44 h 135"/>
                <a:gd name="T54" fmla="*/ 126 w 133"/>
                <a:gd name="T55" fmla="*/ 33 h 135"/>
                <a:gd name="T56" fmla="*/ 133 w 133"/>
                <a:gd name="T57" fmla="*/ 55 h 135"/>
                <a:gd name="T58" fmla="*/ 27 w 133"/>
                <a:gd name="T59" fmla="*/ 44 h 135"/>
                <a:gd name="T60" fmla="*/ 9 w 133"/>
                <a:gd name="T61" fmla="*/ 33 h 135"/>
                <a:gd name="T62" fmla="*/ 24 w 133"/>
                <a:gd name="T63" fmla="*/ 15 h 135"/>
                <a:gd name="T64" fmla="*/ 37 w 133"/>
                <a:gd name="T65" fmla="*/ 31 h 135"/>
                <a:gd name="T66" fmla="*/ 27 w 133"/>
                <a:gd name="T67" fmla="*/ 44 h 135"/>
                <a:gd name="T68" fmla="*/ 98 w 133"/>
                <a:gd name="T69" fmla="*/ 31 h 135"/>
                <a:gd name="T70" fmla="*/ 90 w 133"/>
                <a:gd name="T71" fmla="*/ 26 h 135"/>
                <a:gd name="T72" fmla="*/ 90 w 133"/>
                <a:gd name="T73" fmla="*/ 4 h 135"/>
                <a:gd name="T74" fmla="*/ 102 w 133"/>
                <a:gd name="T75" fmla="*/ 9 h 135"/>
                <a:gd name="T76" fmla="*/ 98 w 133"/>
                <a:gd name="T77" fmla="*/ 31 h 135"/>
                <a:gd name="T78" fmla="*/ 44 w 133"/>
                <a:gd name="T79" fmla="*/ 4 h 135"/>
                <a:gd name="T80" fmla="*/ 55 w 133"/>
                <a:gd name="T81" fmla="*/ 0 h 135"/>
                <a:gd name="T82" fmla="*/ 66 w 133"/>
                <a:gd name="T83" fmla="*/ 20 h 135"/>
                <a:gd name="T84" fmla="*/ 59 w 133"/>
                <a:gd name="T85" fmla="*/ 20 h 135"/>
                <a:gd name="T86" fmla="*/ 52 w 133"/>
                <a:gd name="T87" fmla="*/ 2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 h="135">
                  <a:moveTo>
                    <a:pt x="68" y="135"/>
                  </a:moveTo>
                  <a:lnTo>
                    <a:pt x="66" y="135"/>
                  </a:lnTo>
                  <a:lnTo>
                    <a:pt x="66" y="135"/>
                  </a:lnTo>
                  <a:lnTo>
                    <a:pt x="55" y="133"/>
                  </a:lnTo>
                  <a:lnTo>
                    <a:pt x="44" y="130"/>
                  </a:lnTo>
                  <a:lnTo>
                    <a:pt x="52" y="111"/>
                  </a:lnTo>
                  <a:lnTo>
                    <a:pt x="52" y="111"/>
                  </a:lnTo>
                  <a:lnTo>
                    <a:pt x="59" y="113"/>
                  </a:lnTo>
                  <a:lnTo>
                    <a:pt x="66" y="113"/>
                  </a:lnTo>
                  <a:lnTo>
                    <a:pt x="68" y="135"/>
                  </a:lnTo>
                  <a:close/>
                  <a:moveTo>
                    <a:pt x="90" y="130"/>
                  </a:moveTo>
                  <a:lnTo>
                    <a:pt x="83" y="111"/>
                  </a:lnTo>
                  <a:lnTo>
                    <a:pt x="83" y="111"/>
                  </a:lnTo>
                  <a:lnTo>
                    <a:pt x="90" y="107"/>
                  </a:lnTo>
                  <a:lnTo>
                    <a:pt x="98" y="102"/>
                  </a:lnTo>
                  <a:lnTo>
                    <a:pt x="111" y="118"/>
                  </a:lnTo>
                  <a:lnTo>
                    <a:pt x="111" y="118"/>
                  </a:lnTo>
                  <a:lnTo>
                    <a:pt x="102" y="126"/>
                  </a:lnTo>
                  <a:lnTo>
                    <a:pt x="90" y="130"/>
                  </a:lnTo>
                  <a:lnTo>
                    <a:pt x="90" y="130"/>
                  </a:lnTo>
                  <a:close/>
                  <a:moveTo>
                    <a:pt x="24" y="118"/>
                  </a:moveTo>
                  <a:lnTo>
                    <a:pt x="24" y="118"/>
                  </a:lnTo>
                  <a:lnTo>
                    <a:pt x="15" y="111"/>
                  </a:lnTo>
                  <a:lnTo>
                    <a:pt x="9" y="100"/>
                  </a:lnTo>
                  <a:lnTo>
                    <a:pt x="27" y="91"/>
                  </a:lnTo>
                  <a:lnTo>
                    <a:pt x="27" y="91"/>
                  </a:lnTo>
                  <a:lnTo>
                    <a:pt x="31" y="96"/>
                  </a:lnTo>
                  <a:lnTo>
                    <a:pt x="37" y="102"/>
                  </a:lnTo>
                  <a:lnTo>
                    <a:pt x="24" y="118"/>
                  </a:lnTo>
                  <a:close/>
                  <a:moveTo>
                    <a:pt x="126" y="100"/>
                  </a:moveTo>
                  <a:lnTo>
                    <a:pt x="107" y="91"/>
                  </a:lnTo>
                  <a:lnTo>
                    <a:pt x="107" y="91"/>
                  </a:lnTo>
                  <a:lnTo>
                    <a:pt x="111" y="83"/>
                  </a:lnTo>
                  <a:lnTo>
                    <a:pt x="113" y="74"/>
                  </a:lnTo>
                  <a:lnTo>
                    <a:pt x="133" y="78"/>
                  </a:lnTo>
                  <a:lnTo>
                    <a:pt x="133" y="78"/>
                  </a:lnTo>
                  <a:lnTo>
                    <a:pt x="131" y="91"/>
                  </a:lnTo>
                  <a:lnTo>
                    <a:pt x="126" y="100"/>
                  </a:lnTo>
                  <a:lnTo>
                    <a:pt x="126" y="100"/>
                  </a:lnTo>
                  <a:close/>
                  <a:moveTo>
                    <a:pt x="0" y="80"/>
                  </a:moveTo>
                  <a:lnTo>
                    <a:pt x="0" y="80"/>
                  </a:lnTo>
                  <a:lnTo>
                    <a:pt x="0" y="67"/>
                  </a:lnTo>
                  <a:lnTo>
                    <a:pt x="0" y="67"/>
                  </a:lnTo>
                  <a:lnTo>
                    <a:pt x="0" y="55"/>
                  </a:lnTo>
                  <a:lnTo>
                    <a:pt x="22" y="59"/>
                  </a:lnTo>
                  <a:lnTo>
                    <a:pt x="22" y="59"/>
                  </a:lnTo>
                  <a:lnTo>
                    <a:pt x="20" y="67"/>
                  </a:lnTo>
                  <a:lnTo>
                    <a:pt x="20" y="67"/>
                  </a:lnTo>
                  <a:lnTo>
                    <a:pt x="22" y="76"/>
                  </a:lnTo>
                  <a:lnTo>
                    <a:pt x="0" y="80"/>
                  </a:lnTo>
                  <a:close/>
                  <a:moveTo>
                    <a:pt x="113" y="59"/>
                  </a:moveTo>
                  <a:lnTo>
                    <a:pt x="113" y="59"/>
                  </a:lnTo>
                  <a:lnTo>
                    <a:pt x="111" y="52"/>
                  </a:lnTo>
                  <a:lnTo>
                    <a:pt x="107" y="44"/>
                  </a:lnTo>
                  <a:lnTo>
                    <a:pt x="126" y="33"/>
                  </a:lnTo>
                  <a:lnTo>
                    <a:pt x="126" y="33"/>
                  </a:lnTo>
                  <a:lnTo>
                    <a:pt x="131" y="44"/>
                  </a:lnTo>
                  <a:lnTo>
                    <a:pt x="133" y="55"/>
                  </a:lnTo>
                  <a:lnTo>
                    <a:pt x="113" y="59"/>
                  </a:lnTo>
                  <a:close/>
                  <a:moveTo>
                    <a:pt x="27" y="44"/>
                  </a:moveTo>
                  <a:lnTo>
                    <a:pt x="9" y="33"/>
                  </a:lnTo>
                  <a:lnTo>
                    <a:pt x="9" y="33"/>
                  </a:lnTo>
                  <a:lnTo>
                    <a:pt x="15" y="24"/>
                  </a:lnTo>
                  <a:lnTo>
                    <a:pt x="24" y="15"/>
                  </a:lnTo>
                  <a:lnTo>
                    <a:pt x="37" y="31"/>
                  </a:lnTo>
                  <a:lnTo>
                    <a:pt x="37" y="31"/>
                  </a:lnTo>
                  <a:lnTo>
                    <a:pt x="31" y="37"/>
                  </a:lnTo>
                  <a:lnTo>
                    <a:pt x="27" y="44"/>
                  </a:lnTo>
                  <a:lnTo>
                    <a:pt x="27" y="44"/>
                  </a:lnTo>
                  <a:close/>
                  <a:moveTo>
                    <a:pt x="98" y="31"/>
                  </a:moveTo>
                  <a:lnTo>
                    <a:pt x="98" y="31"/>
                  </a:lnTo>
                  <a:lnTo>
                    <a:pt x="90" y="26"/>
                  </a:lnTo>
                  <a:lnTo>
                    <a:pt x="83" y="24"/>
                  </a:lnTo>
                  <a:lnTo>
                    <a:pt x="90" y="4"/>
                  </a:lnTo>
                  <a:lnTo>
                    <a:pt x="90" y="4"/>
                  </a:lnTo>
                  <a:lnTo>
                    <a:pt x="102" y="9"/>
                  </a:lnTo>
                  <a:lnTo>
                    <a:pt x="111" y="15"/>
                  </a:lnTo>
                  <a:lnTo>
                    <a:pt x="98" y="31"/>
                  </a:lnTo>
                  <a:close/>
                  <a:moveTo>
                    <a:pt x="52" y="24"/>
                  </a:moveTo>
                  <a:lnTo>
                    <a:pt x="44" y="4"/>
                  </a:lnTo>
                  <a:lnTo>
                    <a:pt x="44" y="4"/>
                  </a:lnTo>
                  <a:lnTo>
                    <a:pt x="55" y="0"/>
                  </a:lnTo>
                  <a:lnTo>
                    <a:pt x="66" y="0"/>
                  </a:lnTo>
                  <a:lnTo>
                    <a:pt x="66" y="20"/>
                  </a:lnTo>
                  <a:lnTo>
                    <a:pt x="66" y="20"/>
                  </a:lnTo>
                  <a:lnTo>
                    <a:pt x="59" y="20"/>
                  </a:lnTo>
                  <a:lnTo>
                    <a:pt x="52" y="24"/>
                  </a:lnTo>
                  <a:lnTo>
                    <a:pt x="52"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 name="Freeform 8">
              <a:extLst>
                <a:ext uri="{FF2B5EF4-FFF2-40B4-BE49-F238E27FC236}">
                  <a16:creationId xmlns:a16="http://schemas.microsoft.com/office/drawing/2014/main" id="{A0C911C3-9317-46CD-B372-15688D4563FB}"/>
                </a:ext>
              </a:extLst>
            </p:cNvPr>
            <p:cNvSpPr>
              <a:spLocks noEditPoints="1"/>
            </p:cNvSpPr>
            <p:nvPr/>
          </p:nvSpPr>
          <p:spPr bwMode="auto">
            <a:xfrm>
              <a:off x="6319838" y="4303713"/>
              <a:ext cx="682625" cy="682625"/>
            </a:xfrm>
            <a:custGeom>
              <a:avLst/>
              <a:gdLst>
                <a:gd name="T0" fmla="*/ 182 w 430"/>
                <a:gd name="T1" fmla="*/ 384 h 430"/>
                <a:gd name="T2" fmla="*/ 130 w 430"/>
                <a:gd name="T3" fmla="*/ 413 h 430"/>
                <a:gd name="T4" fmla="*/ 102 w 430"/>
                <a:gd name="T5" fmla="*/ 345 h 430"/>
                <a:gd name="T6" fmla="*/ 17 w 430"/>
                <a:gd name="T7" fmla="*/ 302 h 430"/>
                <a:gd name="T8" fmla="*/ 46 w 430"/>
                <a:gd name="T9" fmla="*/ 248 h 430"/>
                <a:gd name="T10" fmla="*/ 46 w 430"/>
                <a:gd name="T11" fmla="*/ 182 h 430"/>
                <a:gd name="T12" fmla="*/ 17 w 430"/>
                <a:gd name="T13" fmla="*/ 128 h 430"/>
                <a:gd name="T14" fmla="*/ 85 w 430"/>
                <a:gd name="T15" fmla="*/ 102 h 430"/>
                <a:gd name="T16" fmla="*/ 130 w 430"/>
                <a:gd name="T17" fmla="*/ 17 h 430"/>
                <a:gd name="T18" fmla="*/ 182 w 430"/>
                <a:gd name="T19" fmla="*/ 46 h 430"/>
                <a:gd name="T20" fmla="*/ 248 w 430"/>
                <a:gd name="T21" fmla="*/ 46 h 430"/>
                <a:gd name="T22" fmla="*/ 302 w 430"/>
                <a:gd name="T23" fmla="*/ 17 h 430"/>
                <a:gd name="T24" fmla="*/ 328 w 430"/>
                <a:gd name="T25" fmla="*/ 85 h 430"/>
                <a:gd name="T26" fmla="*/ 413 w 430"/>
                <a:gd name="T27" fmla="*/ 128 h 430"/>
                <a:gd name="T28" fmla="*/ 384 w 430"/>
                <a:gd name="T29" fmla="*/ 182 h 430"/>
                <a:gd name="T30" fmla="*/ 384 w 430"/>
                <a:gd name="T31" fmla="*/ 248 h 430"/>
                <a:gd name="T32" fmla="*/ 413 w 430"/>
                <a:gd name="T33" fmla="*/ 302 h 430"/>
                <a:gd name="T34" fmla="*/ 345 w 430"/>
                <a:gd name="T35" fmla="*/ 328 h 430"/>
                <a:gd name="T36" fmla="*/ 302 w 430"/>
                <a:gd name="T37" fmla="*/ 413 h 430"/>
                <a:gd name="T38" fmla="*/ 248 w 430"/>
                <a:gd name="T39" fmla="*/ 384 h 430"/>
                <a:gd name="T40" fmla="*/ 222 w 430"/>
                <a:gd name="T41" fmla="*/ 408 h 430"/>
                <a:gd name="T42" fmla="*/ 237 w 430"/>
                <a:gd name="T43" fmla="*/ 363 h 430"/>
                <a:gd name="T44" fmla="*/ 276 w 430"/>
                <a:gd name="T45" fmla="*/ 352 h 430"/>
                <a:gd name="T46" fmla="*/ 304 w 430"/>
                <a:gd name="T47" fmla="*/ 337 h 430"/>
                <a:gd name="T48" fmla="*/ 322 w 430"/>
                <a:gd name="T49" fmla="*/ 323 h 430"/>
                <a:gd name="T50" fmla="*/ 380 w 430"/>
                <a:gd name="T51" fmla="*/ 317 h 430"/>
                <a:gd name="T52" fmla="*/ 356 w 430"/>
                <a:gd name="T53" fmla="*/ 271 h 430"/>
                <a:gd name="T54" fmla="*/ 365 w 430"/>
                <a:gd name="T55" fmla="*/ 237 h 430"/>
                <a:gd name="T56" fmla="*/ 410 w 430"/>
                <a:gd name="T57" fmla="*/ 208 h 430"/>
                <a:gd name="T58" fmla="*/ 365 w 430"/>
                <a:gd name="T59" fmla="*/ 193 h 430"/>
                <a:gd name="T60" fmla="*/ 352 w 430"/>
                <a:gd name="T61" fmla="*/ 154 h 430"/>
                <a:gd name="T62" fmla="*/ 337 w 430"/>
                <a:gd name="T63" fmla="*/ 126 h 430"/>
                <a:gd name="T64" fmla="*/ 322 w 430"/>
                <a:gd name="T65" fmla="*/ 109 h 430"/>
                <a:gd name="T66" fmla="*/ 319 w 430"/>
                <a:gd name="T67" fmla="*/ 50 h 430"/>
                <a:gd name="T68" fmla="*/ 271 w 430"/>
                <a:gd name="T69" fmla="*/ 74 h 430"/>
                <a:gd name="T70" fmla="*/ 237 w 430"/>
                <a:gd name="T71" fmla="*/ 67 h 430"/>
                <a:gd name="T72" fmla="*/ 208 w 430"/>
                <a:gd name="T73" fmla="*/ 22 h 430"/>
                <a:gd name="T74" fmla="*/ 193 w 430"/>
                <a:gd name="T75" fmla="*/ 67 h 430"/>
                <a:gd name="T76" fmla="*/ 154 w 430"/>
                <a:gd name="T77" fmla="*/ 78 h 430"/>
                <a:gd name="T78" fmla="*/ 126 w 430"/>
                <a:gd name="T79" fmla="*/ 93 h 430"/>
                <a:gd name="T80" fmla="*/ 109 w 430"/>
                <a:gd name="T81" fmla="*/ 109 h 430"/>
                <a:gd name="T82" fmla="*/ 52 w 430"/>
                <a:gd name="T83" fmla="*/ 113 h 430"/>
                <a:gd name="T84" fmla="*/ 74 w 430"/>
                <a:gd name="T85" fmla="*/ 161 h 430"/>
                <a:gd name="T86" fmla="*/ 67 w 430"/>
                <a:gd name="T87" fmla="*/ 193 h 430"/>
                <a:gd name="T88" fmla="*/ 22 w 430"/>
                <a:gd name="T89" fmla="*/ 222 h 430"/>
                <a:gd name="T90" fmla="*/ 67 w 430"/>
                <a:gd name="T91" fmla="*/ 237 h 430"/>
                <a:gd name="T92" fmla="*/ 78 w 430"/>
                <a:gd name="T93" fmla="*/ 276 h 430"/>
                <a:gd name="T94" fmla="*/ 93 w 430"/>
                <a:gd name="T95" fmla="*/ 304 h 430"/>
                <a:gd name="T96" fmla="*/ 109 w 430"/>
                <a:gd name="T97" fmla="*/ 323 h 430"/>
                <a:gd name="T98" fmla="*/ 113 w 430"/>
                <a:gd name="T99" fmla="*/ 380 h 430"/>
                <a:gd name="T100" fmla="*/ 161 w 430"/>
                <a:gd name="T101" fmla="*/ 356 h 430"/>
                <a:gd name="T102" fmla="*/ 193 w 430"/>
                <a:gd name="T103" fmla="*/ 36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0" h="430">
                  <a:moveTo>
                    <a:pt x="239" y="430"/>
                  </a:moveTo>
                  <a:lnTo>
                    <a:pt x="191" y="430"/>
                  </a:lnTo>
                  <a:lnTo>
                    <a:pt x="182" y="384"/>
                  </a:lnTo>
                  <a:lnTo>
                    <a:pt x="182" y="384"/>
                  </a:lnTo>
                  <a:lnTo>
                    <a:pt x="159" y="378"/>
                  </a:lnTo>
                  <a:lnTo>
                    <a:pt x="130" y="413"/>
                  </a:lnTo>
                  <a:lnTo>
                    <a:pt x="87" y="389"/>
                  </a:lnTo>
                  <a:lnTo>
                    <a:pt x="102" y="345"/>
                  </a:lnTo>
                  <a:lnTo>
                    <a:pt x="102" y="345"/>
                  </a:lnTo>
                  <a:lnTo>
                    <a:pt x="85" y="328"/>
                  </a:lnTo>
                  <a:lnTo>
                    <a:pt x="41" y="343"/>
                  </a:lnTo>
                  <a:lnTo>
                    <a:pt x="17" y="302"/>
                  </a:lnTo>
                  <a:lnTo>
                    <a:pt x="52" y="271"/>
                  </a:lnTo>
                  <a:lnTo>
                    <a:pt x="52" y="271"/>
                  </a:lnTo>
                  <a:lnTo>
                    <a:pt x="46" y="248"/>
                  </a:lnTo>
                  <a:lnTo>
                    <a:pt x="0" y="239"/>
                  </a:lnTo>
                  <a:lnTo>
                    <a:pt x="0" y="191"/>
                  </a:lnTo>
                  <a:lnTo>
                    <a:pt x="46" y="182"/>
                  </a:lnTo>
                  <a:lnTo>
                    <a:pt x="46" y="182"/>
                  </a:lnTo>
                  <a:lnTo>
                    <a:pt x="52" y="160"/>
                  </a:lnTo>
                  <a:lnTo>
                    <a:pt x="17" y="128"/>
                  </a:lnTo>
                  <a:lnTo>
                    <a:pt x="41" y="87"/>
                  </a:lnTo>
                  <a:lnTo>
                    <a:pt x="85" y="102"/>
                  </a:lnTo>
                  <a:lnTo>
                    <a:pt x="85" y="102"/>
                  </a:lnTo>
                  <a:lnTo>
                    <a:pt x="102" y="85"/>
                  </a:lnTo>
                  <a:lnTo>
                    <a:pt x="87" y="41"/>
                  </a:lnTo>
                  <a:lnTo>
                    <a:pt x="130" y="17"/>
                  </a:lnTo>
                  <a:lnTo>
                    <a:pt x="159" y="52"/>
                  </a:lnTo>
                  <a:lnTo>
                    <a:pt x="159" y="52"/>
                  </a:lnTo>
                  <a:lnTo>
                    <a:pt x="182" y="46"/>
                  </a:lnTo>
                  <a:lnTo>
                    <a:pt x="191" y="0"/>
                  </a:lnTo>
                  <a:lnTo>
                    <a:pt x="239" y="0"/>
                  </a:lnTo>
                  <a:lnTo>
                    <a:pt x="248" y="46"/>
                  </a:lnTo>
                  <a:lnTo>
                    <a:pt x="248" y="46"/>
                  </a:lnTo>
                  <a:lnTo>
                    <a:pt x="271" y="52"/>
                  </a:lnTo>
                  <a:lnTo>
                    <a:pt x="302" y="17"/>
                  </a:lnTo>
                  <a:lnTo>
                    <a:pt x="343" y="41"/>
                  </a:lnTo>
                  <a:lnTo>
                    <a:pt x="328" y="85"/>
                  </a:lnTo>
                  <a:lnTo>
                    <a:pt x="328" y="85"/>
                  </a:lnTo>
                  <a:lnTo>
                    <a:pt x="345" y="102"/>
                  </a:lnTo>
                  <a:lnTo>
                    <a:pt x="389" y="87"/>
                  </a:lnTo>
                  <a:lnTo>
                    <a:pt x="413" y="128"/>
                  </a:lnTo>
                  <a:lnTo>
                    <a:pt x="378" y="160"/>
                  </a:lnTo>
                  <a:lnTo>
                    <a:pt x="378" y="160"/>
                  </a:lnTo>
                  <a:lnTo>
                    <a:pt x="384" y="182"/>
                  </a:lnTo>
                  <a:lnTo>
                    <a:pt x="430" y="191"/>
                  </a:lnTo>
                  <a:lnTo>
                    <a:pt x="430" y="239"/>
                  </a:lnTo>
                  <a:lnTo>
                    <a:pt x="384" y="248"/>
                  </a:lnTo>
                  <a:lnTo>
                    <a:pt x="384" y="248"/>
                  </a:lnTo>
                  <a:lnTo>
                    <a:pt x="378" y="271"/>
                  </a:lnTo>
                  <a:lnTo>
                    <a:pt x="413" y="302"/>
                  </a:lnTo>
                  <a:lnTo>
                    <a:pt x="389" y="343"/>
                  </a:lnTo>
                  <a:lnTo>
                    <a:pt x="345" y="328"/>
                  </a:lnTo>
                  <a:lnTo>
                    <a:pt x="345" y="328"/>
                  </a:lnTo>
                  <a:lnTo>
                    <a:pt x="328" y="345"/>
                  </a:lnTo>
                  <a:lnTo>
                    <a:pt x="343" y="389"/>
                  </a:lnTo>
                  <a:lnTo>
                    <a:pt x="302" y="413"/>
                  </a:lnTo>
                  <a:lnTo>
                    <a:pt x="271" y="378"/>
                  </a:lnTo>
                  <a:lnTo>
                    <a:pt x="271" y="378"/>
                  </a:lnTo>
                  <a:lnTo>
                    <a:pt x="248" y="384"/>
                  </a:lnTo>
                  <a:lnTo>
                    <a:pt x="239" y="430"/>
                  </a:lnTo>
                  <a:close/>
                  <a:moveTo>
                    <a:pt x="208" y="408"/>
                  </a:moveTo>
                  <a:lnTo>
                    <a:pt x="222" y="408"/>
                  </a:lnTo>
                  <a:lnTo>
                    <a:pt x="232" y="365"/>
                  </a:lnTo>
                  <a:lnTo>
                    <a:pt x="237" y="363"/>
                  </a:lnTo>
                  <a:lnTo>
                    <a:pt x="237" y="363"/>
                  </a:lnTo>
                  <a:lnTo>
                    <a:pt x="254" y="361"/>
                  </a:lnTo>
                  <a:lnTo>
                    <a:pt x="271" y="356"/>
                  </a:lnTo>
                  <a:lnTo>
                    <a:pt x="276" y="352"/>
                  </a:lnTo>
                  <a:lnTo>
                    <a:pt x="306" y="386"/>
                  </a:lnTo>
                  <a:lnTo>
                    <a:pt x="319" y="380"/>
                  </a:lnTo>
                  <a:lnTo>
                    <a:pt x="304" y="337"/>
                  </a:lnTo>
                  <a:lnTo>
                    <a:pt x="310" y="332"/>
                  </a:lnTo>
                  <a:lnTo>
                    <a:pt x="310" y="332"/>
                  </a:lnTo>
                  <a:lnTo>
                    <a:pt x="322" y="323"/>
                  </a:lnTo>
                  <a:lnTo>
                    <a:pt x="334" y="310"/>
                  </a:lnTo>
                  <a:lnTo>
                    <a:pt x="337" y="304"/>
                  </a:lnTo>
                  <a:lnTo>
                    <a:pt x="380" y="317"/>
                  </a:lnTo>
                  <a:lnTo>
                    <a:pt x="385" y="306"/>
                  </a:lnTo>
                  <a:lnTo>
                    <a:pt x="352" y="276"/>
                  </a:lnTo>
                  <a:lnTo>
                    <a:pt x="356" y="271"/>
                  </a:lnTo>
                  <a:lnTo>
                    <a:pt x="356" y="271"/>
                  </a:lnTo>
                  <a:lnTo>
                    <a:pt x="361" y="254"/>
                  </a:lnTo>
                  <a:lnTo>
                    <a:pt x="365" y="237"/>
                  </a:lnTo>
                  <a:lnTo>
                    <a:pt x="365" y="230"/>
                  </a:lnTo>
                  <a:lnTo>
                    <a:pt x="410" y="222"/>
                  </a:lnTo>
                  <a:lnTo>
                    <a:pt x="410" y="208"/>
                  </a:lnTo>
                  <a:lnTo>
                    <a:pt x="365" y="200"/>
                  </a:lnTo>
                  <a:lnTo>
                    <a:pt x="365" y="193"/>
                  </a:lnTo>
                  <a:lnTo>
                    <a:pt x="365" y="193"/>
                  </a:lnTo>
                  <a:lnTo>
                    <a:pt x="361" y="176"/>
                  </a:lnTo>
                  <a:lnTo>
                    <a:pt x="356" y="161"/>
                  </a:lnTo>
                  <a:lnTo>
                    <a:pt x="352" y="154"/>
                  </a:lnTo>
                  <a:lnTo>
                    <a:pt x="385" y="124"/>
                  </a:lnTo>
                  <a:lnTo>
                    <a:pt x="380" y="113"/>
                  </a:lnTo>
                  <a:lnTo>
                    <a:pt x="337" y="126"/>
                  </a:lnTo>
                  <a:lnTo>
                    <a:pt x="334" y="121"/>
                  </a:lnTo>
                  <a:lnTo>
                    <a:pt x="334" y="121"/>
                  </a:lnTo>
                  <a:lnTo>
                    <a:pt x="322" y="109"/>
                  </a:lnTo>
                  <a:lnTo>
                    <a:pt x="310" y="98"/>
                  </a:lnTo>
                  <a:lnTo>
                    <a:pt x="304" y="93"/>
                  </a:lnTo>
                  <a:lnTo>
                    <a:pt x="319" y="50"/>
                  </a:lnTo>
                  <a:lnTo>
                    <a:pt x="306" y="45"/>
                  </a:lnTo>
                  <a:lnTo>
                    <a:pt x="276" y="78"/>
                  </a:lnTo>
                  <a:lnTo>
                    <a:pt x="271" y="74"/>
                  </a:lnTo>
                  <a:lnTo>
                    <a:pt x="271" y="74"/>
                  </a:lnTo>
                  <a:lnTo>
                    <a:pt x="254" y="71"/>
                  </a:lnTo>
                  <a:lnTo>
                    <a:pt x="237" y="67"/>
                  </a:lnTo>
                  <a:lnTo>
                    <a:pt x="232" y="65"/>
                  </a:lnTo>
                  <a:lnTo>
                    <a:pt x="222" y="22"/>
                  </a:lnTo>
                  <a:lnTo>
                    <a:pt x="208" y="22"/>
                  </a:lnTo>
                  <a:lnTo>
                    <a:pt x="200" y="65"/>
                  </a:lnTo>
                  <a:lnTo>
                    <a:pt x="193" y="67"/>
                  </a:lnTo>
                  <a:lnTo>
                    <a:pt x="193" y="67"/>
                  </a:lnTo>
                  <a:lnTo>
                    <a:pt x="176" y="71"/>
                  </a:lnTo>
                  <a:lnTo>
                    <a:pt x="161" y="74"/>
                  </a:lnTo>
                  <a:lnTo>
                    <a:pt x="154" y="78"/>
                  </a:lnTo>
                  <a:lnTo>
                    <a:pt x="124" y="45"/>
                  </a:lnTo>
                  <a:lnTo>
                    <a:pt x="113" y="50"/>
                  </a:lnTo>
                  <a:lnTo>
                    <a:pt x="126" y="93"/>
                  </a:lnTo>
                  <a:lnTo>
                    <a:pt x="121" y="98"/>
                  </a:lnTo>
                  <a:lnTo>
                    <a:pt x="121" y="98"/>
                  </a:lnTo>
                  <a:lnTo>
                    <a:pt x="109" y="109"/>
                  </a:lnTo>
                  <a:lnTo>
                    <a:pt x="98" y="121"/>
                  </a:lnTo>
                  <a:lnTo>
                    <a:pt x="93" y="126"/>
                  </a:lnTo>
                  <a:lnTo>
                    <a:pt x="52" y="113"/>
                  </a:lnTo>
                  <a:lnTo>
                    <a:pt x="45" y="124"/>
                  </a:lnTo>
                  <a:lnTo>
                    <a:pt x="78" y="154"/>
                  </a:lnTo>
                  <a:lnTo>
                    <a:pt x="74" y="161"/>
                  </a:lnTo>
                  <a:lnTo>
                    <a:pt x="74" y="161"/>
                  </a:lnTo>
                  <a:lnTo>
                    <a:pt x="71" y="176"/>
                  </a:lnTo>
                  <a:lnTo>
                    <a:pt x="67" y="193"/>
                  </a:lnTo>
                  <a:lnTo>
                    <a:pt x="65" y="200"/>
                  </a:lnTo>
                  <a:lnTo>
                    <a:pt x="22" y="208"/>
                  </a:lnTo>
                  <a:lnTo>
                    <a:pt x="22" y="222"/>
                  </a:lnTo>
                  <a:lnTo>
                    <a:pt x="65" y="230"/>
                  </a:lnTo>
                  <a:lnTo>
                    <a:pt x="67" y="237"/>
                  </a:lnTo>
                  <a:lnTo>
                    <a:pt x="67" y="237"/>
                  </a:lnTo>
                  <a:lnTo>
                    <a:pt x="71" y="254"/>
                  </a:lnTo>
                  <a:lnTo>
                    <a:pt x="74" y="271"/>
                  </a:lnTo>
                  <a:lnTo>
                    <a:pt x="78" y="276"/>
                  </a:lnTo>
                  <a:lnTo>
                    <a:pt x="45" y="306"/>
                  </a:lnTo>
                  <a:lnTo>
                    <a:pt x="52" y="317"/>
                  </a:lnTo>
                  <a:lnTo>
                    <a:pt x="93" y="304"/>
                  </a:lnTo>
                  <a:lnTo>
                    <a:pt x="98" y="310"/>
                  </a:lnTo>
                  <a:lnTo>
                    <a:pt x="98" y="310"/>
                  </a:lnTo>
                  <a:lnTo>
                    <a:pt x="109" y="323"/>
                  </a:lnTo>
                  <a:lnTo>
                    <a:pt x="121" y="332"/>
                  </a:lnTo>
                  <a:lnTo>
                    <a:pt x="126" y="337"/>
                  </a:lnTo>
                  <a:lnTo>
                    <a:pt x="113" y="380"/>
                  </a:lnTo>
                  <a:lnTo>
                    <a:pt x="124" y="386"/>
                  </a:lnTo>
                  <a:lnTo>
                    <a:pt x="154" y="352"/>
                  </a:lnTo>
                  <a:lnTo>
                    <a:pt x="161" y="356"/>
                  </a:lnTo>
                  <a:lnTo>
                    <a:pt x="161" y="356"/>
                  </a:lnTo>
                  <a:lnTo>
                    <a:pt x="176" y="361"/>
                  </a:lnTo>
                  <a:lnTo>
                    <a:pt x="193" y="363"/>
                  </a:lnTo>
                  <a:lnTo>
                    <a:pt x="200" y="365"/>
                  </a:lnTo>
                  <a:lnTo>
                    <a:pt x="208" y="4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4" name="Freeform 9">
              <a:extLst>
                <a:ext uri="{FF2B5EF4-FFF2-40B4-BE49-F238E27FC236}">
                  <a16:creationId xmlns:a16="http://schemas.microsoft.com/office/drawing/2014/main" id="{81784B99-CE0F-412F-8ECE-5B0DFE36563D}"/>
                </a:ext>
              </a:extLst>
            </p:cNvPr>
            <p:cNvSpPr>
              <a:spLocks/>
            </p:cNvSpPr>
            <p:nvPr/>
          </p:nvSpPr>
          <p:spPr bwMode="auto">
            <a:xfrm>
              <a:off x="6481763" y="4462463"/>
              <a:ext cx="361950" cy="365125"/>
            </a:xfrm>
            <a:custGeom>
              <a:avLst/>
              <a:gdLst>
                <a:gd name="T0" fmla="*/ 113 w 228"/>
                <a:gd name="T1" fmla="*/ 230 h 230"/>
                <a:gd name="T2" fmla="*/ 113 w 228"/>
                <a:gd name="T3" fmla="*/ 230 h 230"/>
                <a:gd name="T4" fmla="*/ 102 w 228"/>
                <a:gd name="T5" fmla="*/ 228 h 230"/>
                <a:gd name="T6" fmla="*/ 91 w 228"/>
                <a:gd name="T7" fmla="*/ 226 h 230"/>
                <a:gd name="T8" fmla="*/ 80 w 228"/>
                <a:gd name="T9" fmla="*/ 224 h 230"/>
                <a:gd name="T10" fmla="*/ 69 w 228"/>
                <a:gd name="T11" fmla="*/ 221 h 230"/>
                <a:gd name="T12" fmla="*/ 50 w 228"/>
                <a:gd name="T13" fmla="*/ 210 h 230"/>
                <a:gd name="T14" fmla="*/ 33 w 228"/>
                <a:gd name="T15" fmla="*/ 197 h 230"/>
                <a:gd name="T16" fmla="*/ 19 w 228"/>
                <a:gd name="T17" fmla="*/ 180 h 230"/>
                <a:gd name="T18" fmla="*/ 7 w 228"/>
                <a:gd name="T19" fmla="*/ 160 h 230"/>
                <a:gd name="T20" fmla="*/ 4 w 228"/>
                <a:gd name="T21" fmla="*/ 148 h 230"/>
                <a:gd name="T22" fmla="*/ 2 w 228"/>
                <a:gd name="T23" fmla="*/ 137 h 230"/>
                <a:gd name="T24" fmla="*/ 0 w 228"/>
                <a:gd name="T25" fmla="*/ 126 h 230"/>
                <a:gd name="T26" fmla="*/ 0 w 228"/>
                <a:gd name="T27" fmla="*/ 115 h 230"/>
                <a:gd name="T28" fmla="*/ 0 w 228"/>
                <a:gd name="T29" fmla="*/ 115 h 230"/>
                <a:gd name="T30" fmla="*/ 0 w 228"/>
                <a:gd name="T31" fmla="*/ 104 h 230"/>
                <a:gd name="T32" fmla="*/ 2 w 228"/>
                <a:gd name="T33" fmla="*/ 93 h 230"/>
                <a:gd name="T34" fmla="*/ 4 w 228"/>
                <a:gd name="T35" fmla="*/ 82 h 230"/>
                <a:gd name="T36" fmla="*/ 7 w 228"/>
                <a:gd name="T37" fmla="*/ 71 h 230"/>
                <a:gd name="T38" fmla="*/ 19 w 228"/>
                <a:gd name="T39" fmla="*/ 52 h 230"/>
                <a:gd name="T40" fmla="*/ 33 w 228"/>
                <a:gd name="T41" fmla="*/ 34 h 230"/>
                <a:gd name="T42" fmla="*/ 50 w 228"/>
                <a:gd name="T43" fmla="*/ 21 h 230"/>
                <a:gd name="T44" fmla="*/ 69 w 228"/>
                <a:gd name="T45" fmla="*/ 9 h 230"/>
                <a:gd name="T46" fmla="*/ 80 w 228"/>
                <a:gd name="T47" fmla="*/ 6 h 230"/>
                <a:gd name="T48" fmla="*/ 91 w 228"/>
                <a:gd name="T49" fmla="*/ 4 h 230"/>
                <a:gd name="T50" fmla="*/ 102 w 228"/>
                <a:gd name="T51" fmla="*/ 2 h 230"/>
                <a:gd name="T52" fmla="*/ 113 w 228"/>
                <a:gd name="T53" fmla="*/ 0 h 230"/>
                <a:gd name="T54" fmla="*/ 113 w 228"/>
                <a:gd name="T55" fmla="*/ 0 h 230"/>
                <a:gd name="T56" fmla="*/ 124 w 228"/>
                <a:gd name="T57" fmla="*/ 2 h 230"/>
                <a:gd name="T58" fmla="*/ 137 w 228"/>
                <a:gd name="T59" fmla="*/ 4 h 230"/>
                <a:gd name="T60" fmla="*/ 148 w 228"/>
                <a:gd name="T61" fmla="*/ 6 h 230"/>
                <a:gd name="T62" fmla="*/ 158 w 228"/>
                <a:gd name="T63" fmla="*/ 9 h 230"/>
                <a:gd name="T64" fmla="*/ 178 w 228"/>
                <a:gd name="T65" fmla="*/ 21 h 230"/>
                <a:gd name="T66" fmla="*/ 195 w 228"/>
                <a:gd name="T67" fmla="*/ 34 h 230"/>
                <a:gd name="T68" fmla="*/ 208 w 228"/>
                <a:gd name="T69" fmla="*/ 52 h 230"/>
                <a:gd name="T70" fmla="*/ 219 w 228"/>
                <a:gd name="T71" fmla="*/ 71 h 230"/>
                <a:gd name="T72" fmla="*/ 222 w 228"/>
                <a:gd name="T73" fmla="*/ 82 h 230"/>
                <a:gd name="T74" fmla="*/ 226 w 228"/>
                <a:gd name="T75" fmla="*/ 93 h 230"/>
                <a:gd name="T76" fmla="*/ 226 w 228"/>
                <a:gd name="T77" fmla="*/ 104 h 230"/>
                <a:gd name="T78" fmla="*/ 228 w 228"/>
                <a:gd name="T79" fmla="*/ 115 h 230"/>
                <a:gd name="T80" fmla="*/ 228 w 228"/>
                <a:gd name="T81" fmla="*/ 115 h 230"/>
                <a:gd name="T82" fmla="*/ 226 w 228"/>
                <a:gd name="T83" fmla="*/ 126 h 230"/>
                <a:gd name="T84" fmla="*/ 226 w 228"/>
                <a:gd name="T85" fmla="*/ 137 h 230"/>
                <a:gd name="T86" fmla="*/ 222 w 228"/>
                <a:gd name="T87" fmla="*/ 148 h 230"/>
                <a:gd name="T88" fmla="*/ 219 w 228"/>
                <a:gd name="T89" fmla="*/ 160 h 230"/>
                <a:gd name="T90" fmla="*/ 208 w 228"/>
                <a:gd name="T91" fmla="*/ 180 h 230"/>
                <a:gd name="T92" fmla="*/ 195 w 228"/>
                <a:gd name="T93" fmla="*/ 197 h 230"/>
                <a:gd name="T94" fmla="*/ 178 w 228"/>
                <a:gd name="T95" fmla="*/ 210 h 230"/>
                <a:gd name="T96" fmla="*/ 158 w 228"/>
                <a:gd name="T97" fmla="*/ 221 h 230"/>
                <a:gd name="T98" fmla="*/ 148 w 228"/>
                <a:gd name="T99" fmla="*/ 224 h 230"/>
                <a:gd name="T100" fmla="*/ 137 w 228"/>
                <a:gd name="T101" fmla="*/ 226 h 230"/>
                <a:gd name="T102" fmla="*/ 124 w 228"/>
                <a:gd name="T103" fmla="*/ 228 h 230"/>
                <a:gd name="T104" fmla="*/ 113 w 228"/>
                <a:gd name="T105" fmla="*/ 230 h 230"/>
                <a:gd name="T106" fmla="*/ 113 w 228"/>
                <a:gd name="T107"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8" h="230">
                  <a:moveTo>
                    <a:pt x="113" y="230"/>
                  </a:moveTo>
                  <a:lnTo>
                    <a:pt x="113" y="230"/>
                  </a:lnTo>
                  <a:lnTo>
                    <a:pt x="102" y="228"/>
                  </a:lnTo>
                  <a:lnTo>
                    <a:pt x="91" y="226"/>
                  </a:lnTo>
                  <a:lnTo>
                    <a:pt x="80" y="224"/>
                  </a:lnTo>
                  <a:lnTo>
                    <a:pt x="69" y="221"/>
                  </a:lnTo>
                  <a:lnTo>
                    <a:pt x="50" y="210"/>
                  </a:lnTo>
                  <a:lnTo>
                    <a:pt x="33" y="197"/>
                  </a:lnTo>
                  <a:lnTo>
                    <a:pt x="19" y="180"/>
                  </a:lnTo>
                  <a:lnTo>
                    <a:pt x="7" y="160"/>
                  </a:lnTo>
                  <a:lnTo>
                    <a:pt x="4" y="148"/>
                  </a:lnTo>
                  <a:lnTo>
                    <a:pt x="2" y="137"/>
                  </a:lnTo>
                  <a:lnTo>
                    <a:pt x="0" y="126"/>
                  </a:lnTo>
                  <a:lnTo>
                    <a:pt x="0" y="115"/>
                  </a:lnTo>
                  <a:lnTo>
                    <a:pt x="0" y="115"/>
                  </a:lnTo>
                  <a:lnTo>
                    <a:pt x="0" y="104"/>
                  </a:lnTo>
                  <a:lnTo>
                    <a:pt x="2" y="93"/>
                  </a:lnTo>
                  <a:lnTo>
                    <a:pt x="4" y="82"/>
                  </a:lnTo>
                  <a:lnTo>
                    <a:pt x="7" y="71"/>
                  </a:lnTo>
                  <a:lnTo>
                    <a:pt x="19" y="52"/>
                  </a:lnTo>
                  <a:lnTo>
                    <a:pt x="33" y="34"/>
                  </a:lnTo>
                  <a:lnTo>
                    <a:pt x="50" y="21"/>
                  </a:lnTo>
                  <a:lnTo>
                    <a:pt x="69" y="9"/>
                  </a:lnTo>
                  <a:lnTo>
                    <a:pt x="80" y="6"/>
                  </a:lnTo>
                  <a:lnTo>
                    <a:pt x="91" y="4"/>
                  </a:lnTo>
                  <a:lnTo>
                    <a:pt x="102" y="2"/>
                  </a:lnTo>
                  <a:lnTo>
                    <a:pt x="113" y="0"/>
                  </a:lnTo>
                  <a:lnTo>
                    <a:pt x="113" y="0"/>
                  </a:lnTo>
                  <a:lnTo>
                    <a:pt x="124" y="2"/>
                  </a:lnTo>
                  <a:lnTo>
                    <a:pt x="137" y="4"/>
                  </a:lnTo>
                  <a:lnTo>
                    <a:pt x="148" y="6"/>
                  </a:lnTo>
                  <a:lnTo>
                    <a:pt x="158" y="9"/>
                  </a:lnTo>
                  <a:lnTo>
                    <a:pt x="178" y="21"/>
                  </a:lnTo>
                  <a:lnTo>
                    <a:pt x="195" y="34"/>
                  </a:lnTo>
                  <a:lnTo>
                    <a:pt x="208" y="52"/>
                  </a:lnTo>
                  <a:lnTo>
                    <a:pt x="219" y="71"/>
                  </a:lnTo>
                  <a:lnTo>
                    <a:pt x="222" y="82"/>
                  </a:lnTo>
                  <a:lnTo>
                    <a:pt x="226" y="93"/>
                  </a:lnTo>
                  <a:lnTo>
                    <a:pt x="226" y="104"/>
                  </a:lnTo>
                  <a:lnTo>
                    <a:pt x="228" y="115"/>
                  </a:lnTo>
                  <a:lnTo>
                    <a:pt x="228" y="115"/>
                  </a:lnTo>
                  <a:lnTo>
                    <a:pt x="226" y="126"/>
                  </a:lnTo>
                  <a:lnTo>
                    <a:pt x="226" y="137"/>
                  </a:lnTo>
                  <a:lnTo>
                    <a:pt x="222" y="148"/>
                  </a:lnTo>
                  <a:lnTo>
                    <a:pt x="219" y="160"/>
                  </a:lnTo>
                  <a:lnTo>
                    <a:pt x="208" y="180"/>
                  </a:lnTo>
                  <a:lnTo>
                    <a:pt x="195" y="197"/>
                  </a:lnTo>
                  <a:lnTo>
                    <a:pt x="178" y="210"/>
                  </a:lnTo>
                  <a:lnTo>
                    <a:pt x="158" y="221"/>
                  </a:lnTo>
                  <a:lnTo>
                    <a:pt x="148" y="224"/>
                  </a:lnTo>
                  <a:lnTo>
                    <a:pt x="137" y="226"/>
                  </a:lnTo>
                  <a:lnTo>
                    <a:pt x="124" y="228"/>
                  </a:lnTo>
                  <a:lnTo>
                    <a:pt x="113" y="230"/>
                  </a:lnTo>
                  <a:lnTo>
                    <a:pt x="113" y="230"/>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 name="Freeform 10">
              <a:extLst>
                <a:ext uri="{FF2B5EF4-FFF2-40B4-BE49-F238E27FC236}">
                  <a16:creationId xmlns:a16="http://schemas.microsoft.com/office/drawing/2014/main" id="{F35ED0A5-6282-4760-A283-00DB4993AE0D}"/>
                </a:ext>
              </a:extLst>
            </p:cNvPr>
            <p:cNvSpPr>
              <a:spLocks noEditPoints="1"/>
            </p:cNvSpPr>
            <p:nvPr/>
          </p:nvSpPr>
          <p:spPr bwMode="auto">
            <a:xfrm>
              <a:off x="6554788" y="4538663"/>
              <a:ext cx="212725" cy="215900"/>
            </a:xfrm>
            <a:custGeom>
              <a:avLst/>
              <a:gdLst>
                <a:gd name="T0" fmla="*/ 67 w 134"/>
                <a:gd name="T1" fmla="*/ 136 h 136"/>
                <a:gd name="T2" fmla="*/ 56 w 134"/>
                <a:gd name="T3" fmla="*/ 134 h 136"/>
                <a:gd name="T4" fmla="*/ 52 w 134"/>
                <a:gd name="T5" fmla="*/ 112 h 136"/>
                <a:gd name="T6" fmla="*/ 60 w 134"/>
                <a:gd name="T7" fmla="*/ 113 h 136"/>
                <a:gd name="T8" fmla="*/ 67 w 134"/>
                <a:gd name="T9" fmla="*/ 136 h 136"/>
                <a:gd name="T10" fmla="*/ 84 w 134"/>
                <a:gd name="T11" fmla="*/ 112 h 136"/>
                <a:gd name="T12" fmla="*/ 91 w 134"/>
                <a:gd name="T13" fmla="*/ 108 h 136"/>
                <a:gd name="T14" fmla="*/ 112 w 134"/>
                <a:gd name="T15" fmla="*/ 119 h 136"/>
                <a:gd name="T16" fmla="*/ 102 w 134"/>
                <a:gd name="T17" fmla="*/ 126 h 136"/>
                <a:gd name="T18" fmla="*/ 91 w 134"/>
                <a:gd name="T19" fmla="*/ 130 h 136"/>
                <a:gd name="T20" fmla="*/ 24 w 134"/>
                <a:gd name="T21" fmla="*/ 119 h 136"/>
                <a:gd name="T22" fmla="*/ 10 w 134"/>
                <a:gd name="T23" fmla="*/ 100 h 136"/>
                <a:gd name="T24" fmla="*/ 26 w 134"/>
                <a:gd name="T25" fmla="*/ 91 h 136"/>
                <a:gd name="T26" fmla="*/ 37 w 134"/>
                <a:gd name="T27" fmla="*/ 102 h 136"/>
                <a:gd name="T28" fmla="*/ 126 w 134"/>
                <a:gd name="T29" fmla="*/ 100 h 136"/>
                <a:gd name="T30" fmla="*/ 108 w 134"/>
                <a:gd name="T31" fmla="*/ 91 h 136"/>
                <a:gd name="T32" fmla="*/ 113 w 134"/>
                <a:gd name="T33" fmla="*/ 74 h 136"/>
                <a:gd name="T34" fmla="*/ 134 w 134"/>
                <a:gd name="T35" fmla="*/ 78 h 136"/>
                <a:gd name="T36" fmla="*/ 126 w 134"/>
                <a:gd name="T37" fmla="*/ 100 h 136"/>
                <a:gd name="T38" fmla="*/ 0 w 134"/>
                <a:gd name="T39" fmla="*/ 78 h 136"/>
                <a:gd name="T40" fmla="*/ 0 w 134"/>
                <a:gd name="T41" fmla="*/ 67 h 136"/>
                <a:gd name="T42" fmla="*/ 0 w 134"/>
                <a:gd name="T43" fmla="*/ 56 h 136"/>
                <a:gd name="T44" fmla="*/ 21 w 134"/>
                <a:gd name="T45" fmla="*/ 60 h 136"/>
                <a:gd name="T46" fmla="*/ 21 w 134"/>
                <a:gd name="T47" fmla="*/ 67 h 136"/>
                <a:gd name="T48" fmla="*/ 0 w 134"/>
                <a:gd name="T49" fmla="*/ 78 h 136"/>
                <a:gd name="T50" fmla="*/ 113 w 134"/>
                <a:gd name="T51" fmla="*/ 60 h 136"/>
                <a:gd name="T52" fmla="*/ 108 w 134"/>
                <a:gd name="T53" fmla="*/ 43 h 136"/>
                <a:gd name="T54" fmla="*/ 126 w 134"/>
                <a:gd name="T55" fmla="*/ 34 h 136"/>
                <a:gd name="T56" fmla="*/ 134 w 134"/>
                <a:gd name="T57" fmla="*/ 56 h 136"/>
                <a:gd name="T58" fmla="*/ 26 w 134"/>
                <a:gd name="T59" fmla="*/ 45 h 136"/>
                <a:gd name="T60" fmla="*/ 10 w 134"/>
                <a:gd name="T61" fmla="*/ 34 h 136"/>
                <a:gd name="T62" fmla="*/ 24 w 134"/>
                <a:gd name="T63" fmla="*/ 15 h 136"/>
                <a:gd name="T64" fmla="*/ 37 w 134"/>
                <a:gd name="T65" fmla="*/ 32 h 136"/>
                <a:gd name="T66" fmla="*/ 26 w 134"/>
                <a:gd name="T67" fmla="*/ 45 h 136"/>
                <a:gd name="T68" fmla="*/ 97 w 134"/>
                <a:gd name="T69" fmla="*/ 32 h 136"/>
                <a:gd name="T70" fmla="*/ 91 w 134"/>
                <a:gd name="T71" fmla="*/ 26 h 136"/>
                <a:gd name="T72" fmla="*/ 91 w 134"/>
                <a:gd name="T73" fmla="*/ 4 h 136"/>
                <a:gd name="T74" fmla="*/ 100 w 134"/>
                <a:gd name="T75" fmla="*/ 8 h 136"/>
                <a:gd name="T76" fmla="*/ 97 w 134"/>
                <a:gd name="T77" fmla="*/ 32 h 136"/>
                <a:gd name="T78" fmla="*/ 45 w 134"/>
                <a:gd name="T79" fmla="*/ 4 h 136"/>
                <a:gd name="T80" fmla="*/ 56 w 134"/>
                <a:gd name="T81" fmla="*/ 0 h 136"/>
                <a:gd name="T82" fmla="*/ 67 w 134"/>
                <a:gd name="T83" fmla="*/ 21 h 136"/>
                <a:gd name="T84" fmla="*/ 60 w 134"/>
                <a:gd name="T85" fmla="*/ 21 h 136"/>
                <a:gd name="T86" fmla="*/ 52 w 134"/>
                <a:gd name="T87" fmla="*/ 2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136">
                  <a:moveTo>
                    <a:pt x="67" y="136"/>
                  </a:moveTo>
                  <a:lnTo>
                    <a:pt x="67" y="136"/>
                  </a:lnTo>
                  <a:lnTo>
                    <a:pt x="67" y="136"/>
                  </a:lnTo>
                  <a:lnTo>
                    <a:pt x="56" y="134"/>
                  </a:lnTo>
                  <a:lnTo>
                    <a:pt x="45" y="130"/>
                  </a:lnTo>
                  <a:lnTo>
                    <a:pt x="52" y="112"/>
                  </a:lnTo>
                  <a:lnTo>
                    <a:pt x="52" y="112"/>
                  </a:lnTo>
                  <a:lnTo>
                    <a:pt x="60" y="113"/>
                  </a:lnTo>
                  <a:lnTo>
                    <a:pt x="67" y="113"/>
                  </a:lnTo>
                  <a:lnTo>
                    <a:pt x="67" y="136"/>
                  </a:lnTo>
                  <a:close/>
                  <a:moveTo>
                    <a:pt x="91" y="130"/>
                  </a:moveTo>
                  <a:lnTo>
                    <a:pt x="84" y="112"/>
                  </a:lnTo>
                  <a:lnTo>
                    <a:pt x="84" y="112"/>
                  </a:lnTo>
                  <a:lnTo>
                    <a:pt x="91" y="108"/>
                  </a:lnTo>
                  <a:lnTo>
                    <a:pt x="97" y="102"/>
                  </a:lnTo>
                  <a:lnTo>
                    <a:pt x="112" y="119"/>
                  </a:lnTo>
                  <a:lnTo>
                    <a:pt x="112" y="119"/>
                  </a:lnTo>
                  <a:lnTo>
                    <a:pt x="102" y="126"/>
                  </a:lnTo>
                  <a:lnTo>
                    <a:pt x="91" y="130"/>
                  </a:lnTo>
                  <a:lnTo>
                    <a:pt x="91" y="130"/>
                  </a:lnTo>
                  <a:close/>
                  <a:moveTo>
                    <a:pt x="24" y="119"/>
                  </a:moveTo>
                  <a:lnTo>
                    <a:pt x="24" y="119"/>
                  </a:lnTo>
                  <a:lnTo>
                    <a:pt x="15" y="112"/>
                  </a:lnTo>
                  <a:lnTo>
                    <a:pt x="10" y="100"/>
                  </a:lnTo>
                  <a:lnTo>
                    <a:pt x="26" y="91"/>
                  </a:lnTo>
                  <a:lnTo>
                    <a:pt x="26" y="91"/>
                  </a:lnTo>
                  <a:lnTo>
                    <a:pt x="32" y="97"/>
                  </a:lnTo>
                  <a:lnTo>
                    <a:pt x="37" y="102"/>
                  </a:lnTo>
                  <a:lnTo>
                    <a:pt x="24" y="119"/>
                  </a:lnTo>
                  <a:close/>
                  <a:moveTo>
                    <a:pt x="126" y="100"/>
                  </a:moveTo>
                  <a:lnTo>
                    <a:pt x="108" y="91"/>
                  </a:lnTo>
                  <a:lnTo>
                    <a:pt x="108" y="91"/>
                  </a:lnTo>
                  <a:lnTo>
                    <a:pt x="112" y="84"/>
                  </a:lnTo>
                  <a:lnTo>
                    <a:pt x="113" y="74"/>
                  </a:lnTo>
                  <a:lnTo>
                    <a:pt x="134" y="78"/>
                  </a:lnTo>
                  <a:lnTo>
                    <a:pt x="134" y="78"/>
                  </a:lnTo>
                  <a:lnTo>
                    <a:pt x="132" y="89"/>
                  </a:lnTo>
                  <a:lnTo>
                    <a:pt x="126" y="100"/>
                  </a:lnTo>
                  <a:lnTo>
                    <a:pt x="126" y="100"/>
                  </a:lnTo>
                  <a:close/>
                  <a:moveTo>
                    <a:pt x="0" y="78"/>
                  </a:moveTo>
                  <a:lnTo>
                    <a:pt x="0" y="78"/>
                  </a:lnTo>
                  <a:lnTo>
                    <a:pt x="0" y="67"/>
                  </a:lnTo>
                  <a:lnTo>
                    <a:pt x="0" y="67"/>
                  </a:lnTo>
                  <a:lnTo>
                    <a:pt x="0" y="56"/>
                  </a:lnTo>
                  <a:lnTo>
                    <a:pt x="21" y="60"/>
                  </a:lnTo>
                  <a:lnTo>
                    <a:pt x="21" y="60"/>
                  </a:lnTo>
                  <a:lnTo>
                    <a:pt x="21" y="67"/>
                  </a:lnTo>
                  <a:lnTo>
                    <a:pt x="21" y="67"/>
                  </a:lnTo>
                  <a:lnTo>
                    <a:pt x="21" y="74"/>
                  </a:lnTo>
                  <a:lnTo>
                    <a:pt x="0" y="78"/>
                  </a:lnTo>
                  <a:close/>
                  <a:moveTo>
                    <a:pt x="113" y="60"/>
                  </a:moveTo>
                  <a:lnTo>
                    <a:pt x="113" y="60"/>
                  </a:lnTo>
                  <a:lnTo>
                    <a:pt x="112" y="50"/>
                  </a:lnTo>
                  <a:lnTo>
                    <a:pt x="108" y="43"/>
                  </a:lnTo>
                  <a:lnTo>
                    <a:pt x="126" y="34"/>
                  </a:lnTo>
                  <a:lnTo>
                    <a:pt x="126" y="34"/>
                  </a:lnTo>
                  <a:lnTo>
                    <a:pt x="130" y="43"/>
                  </a:lnTo>
                  <a:lnTo>
                    <a:pt x="134" y="56"/>
                  </a:lnTo>
                  <a:lnTo>
                    <a:pt x="113" y="60"/>
                  </a:lnTo>
                  <a:close/>
                  <a:moveTo>
                    <a:pt x="26" y="45"/>
                  </a:moveTo>
                  <a:lnTo>
                    <a:pt x="10" y="34"/>
                  </a:lnTo>
                  <a:lnTo>
                    <a:pt x="10" y="34"/>
                  </a:lnTo>
                  <a:lnTo>
                    <a:pt x="15" y="24"/>
                  </a:lnTo>
                  <a:lnTo>
                    <a:pt x="24" y="15"/>
                  </a:lnTo>
                  <a:lnTo>
                    <a:pt x="37" y="32"/>
                  </a:lnTo>
                  <a:lnTo>
                    <a:pt x="37" y="32"/>
                  </a:lnTo>
                  <a:lnTo>
                    <a:pt x="32" y="37"/>
                  </a:lnTo>
                  <a:lnTo>
                    <a:pt x="26" y="45"/>
                  </a:lnTo>
                  <a:lnTo>
                    <a:pt x="26" y="45"/>
                  </a:lnTo>
                  <a:close/>
                  <a:moveTo>
                    <a:pt x="97" y="32"/>
                  </a:moveTo>
                  <a:lnTo>
                    <a:pt x="97" y="32"/>
                  </a:lnTo>
                  <a:lnTo>
                    <a:pt x="91" y="26"/>
                  </a:lnTo>
                  <a:lnTo>
                    <a:pt x="84" y="23"/>
                  </a:lnTo>
                  <a:lnTo>
                    <a:pt x="91" y="4"/>
                  </a:lnTo>
                  <a:lnTo>
                    <a:pt x="91" y="4"/>
                  </a:lnTo>
                  <a:lnTo>
                    <a:pt x="100" y="8"/>
                  </a:lnTo>
                  <a:lnTo>
                    <a:pt x="112" y="15"/>
                  </a:lnTo>
                  <a:lnTo>
                    <a:pt x="97" y="32"/>
                  </a:lnTo>
                  <a:close/>
                  <a:moveTo>
                    <a:pt x="52" y="23"/>
                  </a:moveTo>
                  <a:lnTo>
                    <a:pt x="45" y="4"/>
                  </a:lnTo>
                  <a:lnTo>
                    <a:pt x="45" y="4"/>
                  </a:lnTo>
                  <a:lnTo>
                    <a:pt x="56" y="0"/>
                  </a:lnTo>
                  <a:lnTo>
                    <a:pt x="67" y="0"/>
                  </a:lnTo>
                  <a:lnTo>
                    <a:pt x="67" y="21"/>
                  </a:lnTo>
                  <a:lnTo>
                    <a:pt x="67" y="21"/>
                  </a:lnTo>
                  <a:lnTo>
                    <a:pt x="60" y="21"/>
                  </a:lnTo>
                  <a:lnTo>
                    <a:pt x="52" y="23"/>
                  </a:lnTo>
                  <a:lnTo>
                    <a:pt x="5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 name="Freeform 11">
              <a:extLst>
                <a:ext uri="{FF2B5EF4-FFF2-40B4-BE49-F238E27FC236}">
                  <a16:creationId xmlns:a16="http://schemas.microsoft.com/office/drawing/2014/main" id="{A5F14A41-FB20-4CA7-97F2-75C2579817CC}"/>
                </a:ext>
              </a:extLst>
            </p:cNvPr>
            <p:cNvSpPr>
              <a:spLocks/>
            </p:cNvSpPr>
            <p:nvPr/>
          </p:nvSpPr>
          <p:spPr bwMode="auto">
            <a:xfrm>
              <a:off x="6691313" y="2239963"/>
              <a:ext cx="293688" cy="260350"/>
            </a:xfrm>
            <a:custGeom>
              <a:avLst/>
              <a:gdLst>
                <a:gd name="T0" fmla="*/ 170 w 185"/>
                <a:gd name="T1" fmla="*/ 14 h 164"/>
                <a:gd name="T2" fmla="*/ 170 w 185"/>
                <a:gd name="T3" fmla="*/ 14 h 164"/>
                <a:gd name="T4" fmla="*/ 161 w 185"/>
                <a:gd name="T5" fmla="*/ 9 h 164"/>
                <a:gd name="T6" fmla="*/ 151 w 185"/>
                <a:gd name="T7" fmla="*/ 3 h 164"/>
                <a:gd name="T8" fmla="*/ 142 w 185"/>
                <a:gd name="T9" fmla="*/ 1 h 164"/>
                <a:gd name="T10" fmla="*/ 133 w 185"/>
                <a:gd name="T11" fmla="*/ 0 h 164"/>
                <a:gd name="T12" fmla="*/ 133 w 185"/>
                <a:gd name="T13" fmla="*/ 0 h 164"/>
                <a:gd name="T14" fmla="*/ 120 w 185"/>
                <a:gd name="T15" fmla="*/ 1 h 164"/>
                <a:gd name="T16" fmla="*/ 111 w 185"/>
                <a:gd name="T17" fmla="*/ 5 h 164"/>
                <a:gd name="T18" fmla="*/ 100 w 185"/>
                <a:gd name="T19" fmla="*/ 11 h 164"/>
                <a:gd name="T20" fmla="*/ 92 w 185"/>
                <a:gd name="T21" fmla="*/ 20 h 164"/>
                <a:gd name="T22" fmla="*/ 92 w 185"/>
                <a:gd name="T23" fmla="*/ 20 h 164"/>
                <a:gd name="T24" fmla="*/ 83 w 185"/>
                <a:gd name="T25" fmla="*/ 11 h 164"/>
                <a:gd name="T26" fmla="*/ 74 w 185"/>
                <a:gd name="T27" fmla="*/ 5 h 164"/>
                <a:gd name="T28" fmla="*/ 63 w 185"/>
                <a:gd name="T29" fmla="*/ 1 h 164"/>
                <a:gd name="T30" fmla="*/ 51 w 185"/>
                <a:gd name="T31" fmla="*/ 0 h 164"/>
                <a:gd name="T32" fmla="*/ 51 w 185"/>
                <a:gd name="T33" fmla="*/ 0 h 164"/>
                <a:gd name="T34" fmla="*/ 40 w 185"/>
                <a:gd name="T35" fmla="*/ 1 h 164"/>
                <a:gd name="T36" fmla="*/ 31 w 185"/>
                <a:gd name="T37" fmla="*/ 3 h 164"/>
                <a:gd name="T38" fmla="*/ 22 w 185"/>
                <a:gd name="T39" fmla="*/ 9 h 164"/>
                <a:gd name="T40" fmla="*/ 14 w 185"/>
                <a:gd name="T41" fmla="*/ 14 h 164"/>
                <a:gd name="T42" fmla="*/ 14 w 185"/>
                <a:gd name="T43" fmla="*/ 14 h 164"/>
                <a:gd name="T44" fmla="*/ 9 w 185"/>
                <a:gd name="T45" fmla="*/ 24 h 164"/>
                <a:gd name="T46" fmla="*/ 3 w 185"/>
                <a:gd name="T47" fmla="*/ 33 h 164"/>
                <a:gd name="T48" fmla="*/ 1 w 185"/>
                <a:gd name="T49" fmla="*/ 42 h 164"/>
                <a:gd name="T50" fmla="*/ 0 w 185"/>
                <a:gd name="T51" fmla="*/ 51 h 164"/>
                <a:gd name="T52" fmla="*/ 1 w 185"/>
                <a:gd name="T53" fmla="*/ 61 h 164"/>
                <a:gd name="T54" fmla="*/ 3 w 185"/>
                <a:gd name="T55" fmla="*/ 72 h 164"/>
                <a:gd name="T56" fmla="*/ 9 w 185"/>
                <a:gd name="T57" fmla="*/ 79 h 164"/>
                <a:gd name="T58" fmla="*/ 14 w 185"/>
                <a:gd name="T59" fmla="*/ 89 h 164"/>
                <a:gd name="T60" fmla="*/ 90 w 185"/>
                <a:gd name="T61" fmla="*/ 163 h 164"/>
                <a:gd name="T62" fmla="*/ 90 w 185"/>
                <a:gd name="T63" fmla="*/ 163 h 164"/>
                <a:gd name="T64" fmla="*/ 92 w 185"/>
                <a:gd name="T65" fmla="*/ 164 h 164"/>
                <a:gd name="T66" fmla="*/ 92 w 185"/>
                <a:gd name="T67" fmla="*/ 164 h 164"/>
                <a:gd name="T68" fmla="*/ 94 w 185"/>
                <a:gd name="T69" fmla="*/ 163 h 164"/>
                <a:gd name="T70" fmla="*/ 170 w 185"/>
                <a:gd name="T71" fmla="*/ 89 h 164"/>
                <a:gd name="T72" fmla="*/ 170 w 185"/>
                <a:gd name="T73" fmla="*/ 89 h 164"/>
                <a:gd name="T74" fmla="*/ 176 w 185"/>
                <a:gd name="T75" fmla="*/ 79 h 164"/>
                <a:gd name="T76" fmla="*/ 181 w 185"/>
                <a:gd name="T77" fmla="*/ 72 h 164"/>
                <a:gd name="T78" fmla="*/ 183 w 185"/>
                <a:gd name="T79" fmla="*/ 61 h 164"/>
                <a:gd name="T80" fmla="*/ 185 w 185"/>
                <a:gd name="T81" fmla="*/ 51 h 164"/>
                <a:gd name="T82" fmla="*/ 183 w 185"/>
                <a:gd name="T83" fmla="*/ 42 h 164"/>
                <a:gd name="T84" fmla="*/ 181 w 185"/>
                <a:gd name="T85" fmla="*/ 33 h 164"/>
                <a:gd name="T86" fmla="*/ 176 w 185"/>
                <a:gd name="T87" fmla="*/ 24 h 164"/>
                <a:gd name="T88" fmla="*/ 170 w 185"/>
                <a:gd name="T89" fmla="*/ 14 h 164"/>
                <a:gd name="T90" fmla="*/ 170 w 185"/>
                <a:gd name="T91" fmla="*/ 1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 h="164">
                  <a:moveTo>
                    <a:pt x="170" y="14"/>
                  </a:moveTo>
                  <a:lnTo>
                    <a:pt x="170" y="14"/>
                  </a:lnTo>
                  <a:lnTo>
                    <a:pt x="161" y="9"/>
                  </a:lnTo>
                  <a:lnTo>
                    <a:pt x="151" y="3"/>
                  </a:lnTo>
                  <a:lnTo>
                    <a:pt x="142" y="1"/>
                  </a:lnTo>
                  <a:lnTo>
                    <a:pt x="133" y="0"/>
                  </a:lnTo>
                  <a:lnTo>
                    <a:pt x="133" y="0"/>
                  </a:lnTo>
                  <a:lnTo>
                    <a:pt x="120" y="1"/>
                  </a:lnTo>
                  <a:lnTo>
                    <a:pt x="111" y="5"/>
                  </a:lnTo>
                  <a:lnTo>
                    <a:pt x="100" y="11"/>
                  </a:lnTo>
                  <a:lnTo>
                    <a:pt x="92" y="20"/>
                  </a:lnTo>
                  <a:lnTo>
                    <a:pt x="92" y="20"/>
                  </a:lnTo>
                  <a:lnTo>
                    <a:pt x="83" y="11"/>
                  </a:lnTo>
                  <a:lnTo>
                    <a:pt x="74" y="5"/>
                  </a:lnTo>
                  <a:lnTo>
                    <a:pt x="63" y="1"/>
                  </a:lnTo>
                  <a:lnTo>
                    <a:pt x="51" y="0"/>
                  </a:lnTo>
                  <a:lnTo>
                    <a:pt x="51" y="0"/>
                  </a:lnTo>
                  <a:lnTo>
                    <a:pt x="40" y="1"/>
                  </a:lnTo>
                  <a:lnTo>
                    <a:pt x="31" y="3"/>
                  </a:lnTo>
                  <a:lnTo>
                    <a:pt x="22" y="9"/>
                  </a:lnTo>
                  <a:lnTo>
                    <a:pt x="14" y="14"/>
                  </a:lnTo>
                  <a:lnTo>
                    <a:pt x="14" y="14"/>
                  </a:lnTo>
                  <a:lnTo>
                    <a:pt x="9" y="24"/>
                  </a:lnTo>
                  <a:lnTo>
                    <a:pt x="3" y="33"/>
                  </a:lnTo>
                  <a:lnTo>
                    <a:pt x="1" y="42"/>
                  </a:lnTo>
                  <a:lnTo>
                    <a:pt x="0" y="51"/>
                  </a:lnTo>
                  <a:lnTo>
                    <a:pt x="1" y="61"/>
                  </a:lnTo>
                  <a:lnTo>
                    <a:pt x="3" y="72"/>
                  </a:lnTo>
                  <a:lnTo>
                    <a:pt x="9" y="79"/>
                  </a:lnTo>
                  <a:lnTo>
                    <a:pt x="14" y="89"/>
                  </a:lnTo>
                  <a:lnTo>
                    <a:pt x="90" y="163"/>
                  </a:lnTo>
                  <a:lnTo>
                    <a:pt x="90" y="163"/>
                  </a:lnTo>
                  <a:lnTo>
                    <a:pt x="92" y="164"/>
                  </a:lnTo>
                  <a:lnTo>
                    <a:pt x="92" y="164"/>
                  </a:lnTo>
                  <a:lnTo>
                    <a:pt x="94" y="163"/>
                  </a:lnTo>
                  <a:lnTo>
                    <a:pt x="170" y="89"/>
                  </a:lnTo>
                  <a:lnTo>
                    <a:pt x="170" y="89"/>
                  </a:lnTo>
                  <a:lnTo>
                    <a:pt x="176" y="79"/>
                  </a:lnTo>
                  <a:lnTo>
                    <a:pt x="181" y="72"/>
                  </a:lnTo>
                  <a:lnTo>
                    <a:pt x="183" y="61"/>
                  </a:lnTo>
                  <a:lnTo>
                    <a:pt x="185" y="51"/>
                  </a:lnTo>
                  <a:lnTo>
                    <a:pt x="183" y="42"/>
                  </a:lnTo>
                  <a:lnTo>
                    <a:pt x="181" y="33"/>
                  </a:lnTo>
                  <a:lnTo>
                    <a:pt x="176" y="24"/>
                  </a:lnTo>
                  <a:lnTo>
                    <a:pt x="170" y="14"/>
                  </a:lnTo>
                  <a:lnTo>
                    <a:pt x="170" y="14"/>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 name="Freeform 12">
              <a:extLst>
                <a:ext uri="{FF2B5EF4-FFF2-40B4-BE49-F238E27FC236}">
                  <a16:creationId xmlns:a16="http://schemas.microsoft.com/office/drawing/2014/main" id="{3C4A6674-DE25-4118-8DB4-37024824C33A}"/>
                </a:ext>
              </a:extLst>
            </p:cNvPr>
            <p:cNvSpPr>
              <a:spLocks/>
            </p:cNvSpPr>
            <p:nvPr/>
          </p:nvSpPr>
          <p:spPr bwMode="auto">
            <a:xfrm>
              <a:off x="6985001" y="2157413"/>
              <a:ext cx="111125" cy="100013"/>
            </a:xfrm>
            <a:custGeom>
              <a:avLst/>
              <a:gdLst>
                <a:gd name="T0" fmla="*/ 65 w 70"/>
                <a:gd name="T1" fmla="*/ 5 h 63"/>
                <a:gd name="T2" fmla="*/ 65 w 70"/>
                <a:gd name="T3" fmla="*/ 5 h 63"/>
                <a:gd name="T4" fmla="*/ 59 w 70"/>
                <a:gd name="T5" fmla="*/ 2 h 63"/>
                <a:gd name="T6" fmla="*/ 52 w 70"/>
                <a:gd name="T7" fmla="*/ 0 h 63"/>
                <a:gd name="T8" fmla="*/ 52 w 70"/>
                <a:gd name="T9" fmla="*/ 0 h 63"/>
                <a:gd name="T10" fmla="*/ 42 w 70"/>
                <a:gd name="T11" fmla="*/ 2 h 63"/>
                <a:gd name="T12" fmla="*/ 35 w 70"/>
                <a:gd name="T13" fmla="*/ 7 h 63"/>
                <a:gd name="T14" fmla="*/ 35 w 70"/>
                <a:gd name="T15" fmla="*/ 7 h 63"/>
                <a:gd name="T16" fmla="*/ 28 w 70"/>
                <a:gd name="T17" fmla="*/ 2 h 63"/>
                <a:gd name="T18" fmla="*/ 18 w 70"/>
                <a:gd name="T19" fmla="*/ 0 h 63"/>
                <a:gd name="T20" fmla="*/ 18 w 70"/>
                <a:gd name="T21" fmla="*/ 0 h 63"/>
                <a:gd name="T22" fmla="*/ 11 w 70"/>
                <a:gd name="T23" fmla="*/ 2 h 63"/>
                <a:gd name="T24" fmla="*/ 5 w 70"/>
                <a:gd name="T25" fmla="*/ 5 h 63"/>
                <a:gd name="T26" fmla="*/ 5 w 70"/>
                <a:gd name="T27" fmla="*/ 5 h 63"/>
                <a:gd name="T28" fmla="*/ 0 w 70"/>
                <a:gd name="T29" fmla="*/ 13 h 63"/>
                <a:gd name="T30" fmla="*/ 0 w 70"/>
                <a:gd name="T31" fmla="*/ 20 h 63"/>
                <a:gd name="T32" fmla="*/ 0 w 70"/>
                <a:gd name="T33" fmla="*/ 28 h 63"/>
                <a:gd name="T34" fmla="*/ 5 w 70"/>
                <a:gd name="T35" fmla="*/ 35 h 63"/>
                <a:gd name="T36" fmla="*/ 35 w 70"/>
                <a:gd name="T37" fmla="*/ 63 h 63"/>
                <a:gd name="T38" fmla="*/ 35 w 70"/>
                <a:gd name="T39" fmla="*/ 63 h 63"/>
                <a:gd name="T40" fmla="*/ 35 w 70"/>
                <a:gd name="T41" fmla="*/ 63 h 63"/>
                <a:gd name="T42" fmla="*/ 35 w 70"/>
                <a:gd name="T43" fmla="*/ 63 h 63"/>
                <a:gd name="T44" fmla="*/ 35 w 70"/>
                <a:gd name="T45" fmla="*/ 63 h 63"/>
                <a:gd name="T46" fmla="*/ 65 w 70"/>
                <a:gd name="T47" fmla="*/ 35 h 63"/>
                <a:gd name="T48" fmla="*/ 65 w 70"/>
                <a:gd name="T49" fmla="*/ 35 h 63"/>
                <a:gd name="T50" fmla="*/ 70 w 70"/>
                <a:gd name="T51" fmla="*/ 28 h 63"/>
                <a:gd name="T52" fmla="*/ 70 w 70"/>
                <a:gd name="T53" fmla="*/ 20 h 63"/>
                <a:gd name="T54" fmla="*/ 70 w 70"/>
                <a:gd name="T55" fmla="*/ 13 h 63"/>
                <a:gd name="T56" fmla="*/ 65 w 70"/>
                <a:gd name="T57" fmla="*/ 5 h 63"/>
                <a:gd name="T58" fmla="*/ 65 w 70"/>
                <a:gd name="T59"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 h="63">
                  <a:moveTo>
                    <a:pt x="65" y="5"/>
                  </a:moveTo>
                  <a:lnTo>
                    <a:pt x="65" y="5"/>
                  </a:lnTo>
                  <a:lnTo>
                    <a:pt x="59" y="2"/>
                  </a:lnTo>
                  <a:lnTo>
                    <a:pt x="52" y="0"/>
                  </a:lnTo>
                  <a:lnTo>
                    <a:pt x="52" y="0"/>
                  </a:lnTo>
                  <a:lnTo>
                    <a:pt x="42" y="2"/>
                  </a:lnTo>
                  <a:lnTo>
                    <a:pt x="35" y="7"/>
                  </a:lnTo>
                  <a:lnTo>
                    <a:pt x="35" y="7"/>
                  </a:lnTo>
                  <a:lnTo>
                    <a:pt x="28" y="2"/>
                  </a:lnTo>
                  <a:lnTo>
                    <a:pt x="18" y="0"/>
                  </a:lnTo>
                  <a:lnTo>
                    <a:pt x="18" y="0"/>
                  </a:lnTo>
                  <a:lnTo>
                    <a:pt x="11" y="2"/>
                  </a:lnTo>
                  <a:lnTo>
                    <a:pt x="5" y="5"/>
                  </a:lnTo>
                  <a:lnTo>
                    <a:pt x="5" y="5"/>
                  </a:lnTo>
                  <a:lnTo>
                    <a:pt x="0" y="13"/>
                  </a:lnTo>
                  <a:lnTo>
                    <a:pt x="0" y="20"/>
                  </a:lnTo>
                  <a:lnTo>
                    <a:pt x="0" y="28"/>
                  </a:lnTo>
                  <a:lnTo>
                    <a:pt x="5" y="35"/>
                  </a:lnTo>
                  <a:lnTo>
                    <a:pt x="35" y="63"/>
                  </a:lnTo>
                  <a:lnTo>
                    <a:pt x="35" y="63"/>
                  </a:lnTo>
                  <a:lnTo>
                    <a:pt x="35" y="63"/>
                  </a:lnTo>
                  <a:lnTo>
                    <a:pt x="35" y="63"/>
                  </a:lnTo>
                  <a:lnTo>
                    <a:pt x="35" y="63"/>
                  </a:lnTo>
                  <a:lnTo>
                    <a:pt x="65" y="35"/>
                  </a:lnTo>
                  <a:lnTo>
                    <a:pt x="65" y="35"/>
                  </a:lnTo>
                  <a:lnTo>
                    <a:pt x="70" y="28"/>
                  </a:lnTo>
                  <a:lnTo>
                    <a:pt x="70" y="20"/>
                  </a:lnTo>
                  <a:lnTo>
                    <a:pt x="70" y="13"/>
                  </a:lnTo>
                  <a:lnTo>
                    <a:pt x="65" y="5"/>
                  </a:lnTo>
                  <a:lnTo>
                    <a:pt x="65" y="5"/>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 name="Freeform 13">
              <a:extLst>
                <a:ext uri="{FF2B5EF4-FFF2-40B4-BE49-F238E27FC236}">
                  <a16:creationId xmlns:a16="http://schemas.microsoft.com/office/drawing/2014/main" id="{C07068E9-6384-4DC7-A833-D4E1273F5730}"/>
                </a:ext>
              </a:extLst>
            </p:cNvPr>
            <p:cNvSpPr>
              <a:spLocks/>
            </p:cNvSpPr>
            <p:nvPr/>
          </p:nvSpPr>
          <p:spPr bwMode="auto">
            <a:xfrm>
              <a:off x="6778626" y="2106613"/>
              <a:ext cx="114300" cy="100013"/>
            </a:xfrm>
            <a:custGeom>
              <a:avLst/>
              <a:gdLst>
                <a:gd name="T0" fmla="*/ 67 w 72"/>
                <a:gd name="T1" fmla="*/ 6 h 63"/>
                <a:gd name="T2" fmla="*/ 67 w 72"/>
                <a:gd name="T3" fmla="*/ 6 h 63"/>
                <a:gd name="T4" fmla="*/ 61 w 72"/>
                <a:gd name="T5" fmla="*/ 2 h 63"/>
                <a:gd name="T6" fmla="*/ 52 w 72"/>
                <a:gd name="T7" fmla="*/ 0 h 63"/>
                <a:gd name="T8" fmla="*/ 52 w 72"/>
                <a:gd name="T9" fmla="*/ 0 h 63"/>
                <a:gd name="T10" fmla="*/ 45 w 72"/>
                <a:gd name="T11" fmla="*/ 2 h 63"/>
                <a:gd name="T12" fmla="*/ 37 w 72"/>
                <a:gd name="T13" fmla="*/ 8 h 63"/>
                <a:gd name="T14" fmla="*/ 37 w 72"/>
                <a:gd name="T15" fmla="*/ 8 h 63"/>
                <a:gd name="T16" fmla="*/ 30 w 72"/>
                <a:gd name="T17" fmla="*/ 2 h 63"/>
                <a:gd name="T18" fmla="*/ 21 w 72"/>
                <a:gd name="T19" fmla="*/ 0 h 63"/>
                <a:gd name="T20" fmla="*/ 21 w 72"/>
                <a:gd name="T21" fmla="*/ 0 h 63"/>
                <a:gd name="T22" fmla="*/ 13 w 72"/>
                <a:gd name="T23" fmla="*/ 2 h 63"/>
                <a:gd name="T24" fmla="*/ 8 w 72"/>
                <a:gd name="T25" fmla="*/ 6 h 63"/>
                <a:gd name="T26" fmla="*/ 8 w 72"/>
                <a:gd name="T27" fmla="*/ 6 h 63"/>
                <a:gd name="T28" fmla="*/ 2 w 72"/>
                <a:gd name="T29" fmla="*/ 11 h 63"/>
                <a:gd name="T30" fmla="*/ 0 w 72"/>
                <a:gd name="T31" fmla="*/ 21 h 63"/>
                <a:gd name="T32" fmla="*/ 2 w 72"/>
                <a:gd name="T33" fmla="*/ 28 h 63"/>
                <a:gd name="T34" fmla="*/ 8 w 72"/>
                <a:gd name="T35" fmla="*/ 34 h 63"/>
                <a:gd name="T36" fmla="*/ 35 w 72"/>
                <a:gd name="T37" fmla="*/ 63 h 63"/>
                <a:gd name="T38" fmla="*/ 35 w 72"/>
                <a:gd name="T39" fmla="*/ 63 h 63"/>
                <a:gd name="T40" fmla="*/ 37 w 72"/>
                <a:gd name="T41" fmla="*/ 63 h 63"/>
                <a:gd name="T42" fmla="*/ 37 w 72"/>
                <a:gd name="T43" fmla="*/ 63 h 63"/>
                <a:gd name="T44" fmla="*/ 37 w 72"/>
                <a:gd name="T45" fmla="*/ 63 h 63"/>
                <a:gd name="T46" fmla="*/ 67 w 72"/>
                <a:gd name="T47" fmla="*/ 34 h 63"/>
                <a:gd name="T48" fmla="*/ 67 w 72"/>
                <a:gd name="T49" fmla="*/ 34 h 63"/>
                <a:gd name="T50" fmla="*/ 71 w 72"/>
                <a:gd name="T51" fmla="*/ 28 h 63"/>
                <a:gd name="T52" fmla="*/ 72 w 72"/>
                <a:gd name="T53" fmla="*/ 21 h 63"/>
                <a:gd name="T54" fmla="*/ 71 w 72"/>
                <a:gd name="T55" fmla="*/ 11 h 63"/>
                <a:gd name="T56" fmla="*/ 67 w 72"/>
                <a:gd name="T57" fmla="*/ 6 h 63"/>
                <a:gd name="T58" fmla="*/ 67 w 72"/>
                <a:gd name="T59"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63">
                  <a:moveTo>
                    <a:pt x="67" y="6"/>
                  </a:moveTo>
                  <a:lnTo>
                    <a:pt x="67" y="6"/>
                  </a:lnTo>
                  <a:lnTo>
                    <a:pt x="61" y="2"/>
                  </a:lnTo>
                  <a:lnTo>
                    <a:pt x="52" y="0"/>
                  </a:lnTo>
                  <a:lnTo>
                    <a:pt x="52" y="0"/>
                  </a:lnTo>
                  <a:lnTo>
                    <a:pt x="45" y="2"/>
                  </a:lnTo>
                  <a:lnTo>
                    <a:pt x="37" y="8"/>
                  </a:lnTo>
                  <a:lnTo>
                    <a:pt x="37" y="8"/>
                  </a:lnTo>
                  <a:lnTo>
                    <a:pt x="30" y="2"/>
                  </a:lnTo>
                  <a:lnTo>
                    <a:pt x="21" y="0"/>
                  </a:lnTo>
                  <a:lnTo>
                    <a:pt x="21" y="0"/>
                  </a:lnTo>
                  <a:lnTo>
                    <a:pt x="13" y="2"/>
                  </a:lnTo>
                  <a:lnTo>
                    <a:pt x="8" y="6"/>
                  </a:lnTo>
                  <a:lnTo>
                    <a:pt x="8" y="6"/>
                  </a:lnTo>
                  <a:lnTo>
                    <a:pt x="2" y="11"/>
                  </a:lnTo>
                  <a:lnTo>
                    <a:pt x="0" y="21"/>
                  </a:lnTo>
                  <a:lnTo>
                    <a:pt x="2" y="28"/>
                  </a:lnTo>
                  <a:lnTo>
                    <a:pt x="8" y="34"/>
                  </a:lnTo>
                  <a:lnTo>
                    <a:pt x="35" y="63"/>
                  </a:lnTo>
                  <a:lnTo>
                    <a:pt x="35" y="63"/>
                  </a:lnTo>
                  <a:lnTo>
                    <a:pt x="37" y="63"/>
                  </a:lnTo>
                  <a:lnTo>
                    <a:pt x="37" y="63"/>
                  </a:lnTo>
                  <a:lnTo>
                    <a:pt x="37" y="63"/>
                  </a:lnTo>
                  <a:lnTo>
                    <a:pt x="67" y="34"/>
                  </a:lnTo>
                  <a:lnTo>
                    <a:pt x="67" y="34"/>
                  </a:lnTo>
                  <a:lnTo>
                    <a:pt x="71" y="28"/>
                  </a:lnTo>
                  <a:lnTo>
                    <a:pt x="72" y="21"/>
                  </a:lnTo>
                  <a:lnTo>
                    <a:pt x="71" y="11"/>
                  </a:lnTo>
                  <a:lnTo>
                    <a:pt x="67" y="6"/>
                  </a:lnTo>
                  <a:lnTo>
                    <a:pt x="67" y="6"/>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9" name="Freeform 14">
              <a:extLst>
                <a:ext uri="{FF2B5EF4-FFF2-40B4-BE49-F238E27FC236}">
                  <a16:creationId xmlns:a16="http://schemas.microsoft.com/office/drawing/2014/main" id="{C53704E9-BBDE-466F-AD86-9201E5B0EBF7}"/>
                </a:ext>
              </a:extLst>
            </p:cNvPr>
            <p:cNvSpPr>
              <a:spLocks noEditPoints="1"/>
            </p:cNvSpPr>
            <p:nvPr/>
          </p:nvSpPr>
          <p:spPr bwMode="auto">
            <a:xfrm>
              <a:off x="9910763" y="2482851"/>
              <a:ext cx="400050" cy="403225"/>
            </a:xfrm>
            <a:custGeom>
              <a:avLst/>
              <a:gdLst>
                <a:gd name="T0" fmla="*/ 84 w 252"/>
                <a:gd name="T1" fmla="*/ 247 h 254"/>
                <a:gd name="T2" fmla="*/ 78 w 252"/>
                <a:gd name="T3" fmla="*/ 215 h 254"/>
                <a:gd name="T4" fmla="*/ 34 w 252"/>
                <a:gd name="T5" fmla="*/ 213 h 254"/>
                <a:gd name="T6" fmla="*/ 30 w 252"/>
                <a:gd name="T7" fmla="*/ 156 h 254"/>
                <a:gd name="T8" fmla="*/ 26 w 252"/>
                <a:gd name="T9" fmla="*/ 139 h 254"/>
                <a:gd name="T10" fmla="*/ 8 w 252"/>
                <a:gd name="T11" fmla="*/ 84 h 254"/>
                <a:gd name="T12" fmla="*/ 37 w 252"/>
                <a:gd name="T13" fmla="*/ 78 h 254"/>
                <a:gd name="T14" fmla="*/ 39 w 252"/>
                <a:gd name="T15" fmla="*/ 36 h 254"/>
                <a:gd name="T16" fmla="*/ 99 w 252"/>
                <a:gd name="T17" fmla="*/ 30 h 254"/>
                <a:gd name="T18" fmla="*/ 115 w 252"/>
                <a:gd name="T19" fmla="*/ 26 h 254"/>
                <a:gd name="T20" fmla="*/ 171 w 252"/>
                <a:gd name="T21" fmla="*/ 8 h 254"/>
                <a:gd name="T22" fmla="*/ 176 w 252"/>
                <a:gd name="T23" fmla="*/ 39 h 254"/>
                <a:gd name="T24" fmla="*/ 219 w 252"/>
                <a:gd name="T25" fmla="*/ 41 h 254"/>
                <a:gd name="T26" fmla="*/ 225 w 252"/>
                <a:gd name="T27" fmla="*/ 99 h 254"/>
                <a:gd name="T28" fmla="*/ 226 w 252"/>
                <a:gd name="T29" fmla="*/ 115 h 254"/>
                <a:gd name="T30" fmla="*/ 245 w 252"/>
                <a:gd name="T31" fmla="*/ 171 h 254"/>
                <a:gd name="T32" fmla="*/ 215 w 252"/>
                <a:gd name="T33" fmla="*/ 176 h 254"/>
                <a:gd name="T34" fmla="*/ 214 w 252"/>
                <a:gd name="T35" fmla="*/ 219 h 254"/>
                <a:gd name="T36" fmla="*/ 154 w 252"/>
                <a:gd name="T37" fmla="*/ 225 h 254"/>
                <a:gd name="T38" fmla="*/ 139 w 252"/>
                <a:gd name="T39" fmla="*/ 228 h 254"/>
                <a:gd name="T40" fmla="*/ 102 w 252"/>
                <a:gd name="T41" fmla="*/ 228 h 254"/>
                <a:gd name="T42" fmla="*/ 126 w 252"/>
                <a:gd name="T43" fmla="*/ 208 h 254"/>
                <a:gd name="T44" fmla="*/ 132 w 252"/>
                <a:gd name="T45" fmla="*/ 206 h 254"/>
                <a:gd name="T46" fmla="*/ 152 w 252"/>
                <a:gd name="T47" fmla="*/ 202 h 254"/>
                <a:gd name="T48" fmla="*/ 180 w 252"/>
                <a:gd name="T49" fmla="*/ 215 h 254"/>
                <a:gd name="T50" fmla="*/ 182 w 252"/>
                <a:gd name="T51" fmla="*/ 184 h 254"/>
                <a:gd name="T52" fmla="*/ 186 w 252"/>
                <a:gd name="T53" fmla="*/ 180 h 254"/>
                <a:gd name="T54" fmla="*/ 199 w 252"/>
                <a:gd name="T55" fmla="*/ 162 h 254"/>
                <a:gd name="T56" fmla="*/ 226 w 252"/>
                <a:gd name="T57" fmla="*/ 152 h 254"/>
                <a:gd name="T58" fmla="*/ 206 w 252"/>
                <a:gd name="T59" fmla="*/ 128 h 254"/>
                <a:gd name="T60" fmla="*/ 206 w 252"/>
                <a:gd name="T61" fmla="*/ 123 h 254"/>
                <a:gd name="T62" fmla="*/ 202 w 252"/>
                <a:gd name="T63" fmla="*/ 100 h 254"/>
                <a:gd name="T64" fmla="*/ 215 w 252"/>
                <a:gd name="T65" fmla="*/ 74 h 254"/>
                <a:gd name="T66" fmla="*/ 184 w 252"/>
                <a:gd name="T67" fmla="*/ 71 h 254"/>
                <a:gd name="T68" fmla="*/ 178 w 252"/>
                <a:gd name="T69" fmla="*/ 67 h 254"/>
                <a:gd name="T70" fmla="*/ 162 w 252"/>
                <a:gd name="T71" fmla="*/ 56 h 254"/>
                <a:gd name="T72" fmla="*/ 152 w 252"/>
                <a:gd name="T73" fmla="*/ 26 h 254"/>
                <a:gd name="T74" fmla="*/ 126 w 252"/>
                <a:gd name="T75" fmla="*/ 47 h 254"/>
                <a:gd name="T76" fmla="*/ 121 w 252"/>
                <a:gd name="T77" fmla="*/ 49 h 254"/>
                <a:gd name="T78" fmla="*/ 100 w 252"/>
                <a:gd name="T79" fmla="*/ 52 h 254"/>
                <a:gd name="T80" fmla="*/ 73 w 252"/>
                <a:gd name="T81" fmla="*/ 39 h 254"/>
                <a:gd name="T82" fmla="*/ 71 w 252"/>
                <a:gd name="T83" fmla="*/ 71 h 254"/>
                <a:gd name="T84" fmla="*/ 67 w 252"/>
                <a:gd name="T85" fmla="*/ 74 h 254"/>
                <a:gd name="T86" fmla="*/ 54 w 252"/>
                <a:gd name="T87" fmla="*/ 93 h 254"/>
                <a:gd name="T88" fmla="*/ 26 w 252"/>
                <a:gd name="T89" fmla="*/ 102 h 254"/>
                <a:gd name="T90" fmla="*/ 47 w 252"/>
                <a:gd name="T91" fmla="*/ 126 h 254"/>
                <a:gd name="T92" fmla="*/ 47 w 252"/>
                <a:gd name="T93" fmla="*/ 132 h 254"/>
                <a:gd name="T94" fmla="*/ 52 w 252"/>
                <a:gd name="T95" fmla="*/ 154 h 254"/>
                <a:gd name="T96" fmla="*/ 37 w 252"/>
                <a:gd name="T97" fmla="*/ 180 h 254"/>
                <a:gd name="T98" fmla="*/ 69 w 252"/>
                <a:gd name="T99" fmla="*/ 184 h 254"/>
                <a:gd name="T100" fmla="*/ 75 w 252"/>
                <a:gd name="T101" fmla="*/ 187 h 254"/>
                <a:gd name="T102" fmla="*/ 91 w 252"/>
                <a:gd name="T103" fmla="*/ 199 h 254"/>
                <a:gd name="T104" fmla="*/ 102 w 252"/>
                <a:gd name="T105" fmla="*/ 22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2" h="254">
                  <a:moveTo>
                    <a:pt x="123" y="254"/>
                  </a:moveTo>
                  <a:lnTo>
                    <a:pt x="84" y="247"/>
                  </a:lnTo>
                  <a:lnTo>
                    <a:pt x="78" y="215"/>
                  </a:lnTo>
                  <a:lnTo>
                    <a:pt x="78" y="215"/>
                  </a:lnTo>
                  <a:lnTo>
                    <a:pt x="63" y="206"/>
                  </a:lnTo>
                  <a:lnTo>
                    <a:pt x="34" y="213"/>
                  </a:lnTo>
                  <a:lnTo>
                    <a:pt x="12" y="180"/>
                  </a:lnTo>
                  <a:lnTo>
                    <a:pt x="30" y="156"/>
                  </a:lnTo>
                  <a:lnTo>
                    <a:pt x="30" y="156"/>
                  </a:lnTo>
                  <a:lnTo>
                    <a:pt x="26" y="139"/>
                  </a:lnTo>
                  <a:lnTo>
                    <a:pt x="0" y="123"/>
                  </a:lnTo>
                  <a:lnTo>
                    <a:pt x="8" y="84"/>
                  </a:lnTo>
                  <a:lnTo>
                    <a:pt x="37" y="78"/>
                  </a:lnTo>
                  <a:lnTo>
                    <a:pt x="37" y="78"/>
                  </a:lnTo>
                  <a:lnTo>
                    <a:pt x="47" y="65"/>
                  </a:lnTo>
                  <a:lnTo>
                    <a:pt x="39" y="36"/>
                  </a:lnTo>
                  <a:lnTo>
                    <a:pt x="73" y="11"/>
                  </a:lnTo>
                  <a:lnTo>
                    <a:pt x="99" y="30"/>
                  </a:lnTo>
                  <a:lnTo>
                    <a:pt x="99" y="30"/>
                  </a:lnTo>
                  <a:lnTo>
                    <a:pt x="115" y="26"/>
                  </a:lnTo>
                  <a:lnTo>
                    <a:pt x="130" y="0"/>
                  </a:lnTo>
                  <a:lnTo>
                    <a:pt x="171" y="8"/>
                  </a:lnTo>
                  <a:lnTo>
                    <a:pt x="176" y="39"/>
                  </a:lnTo>
                  <a:lnTo>
                    <a:pt x="176" y="39"/>
                  </a:lnTo>
                  <a:lnTo>
                    <a:pt x="189" y="47"/>
                  </a:lnTo>
                  <a:lnTo>
                    <a:pt x="219" y="41"/>
                  </a:lnTo>
                  <a:lnTo>
                    <a:pt x="241" y="74"/>
                  </a:lnTo>
                  <a:lnTo>
                    <a:pt x="225" y="99"/>
                  </a:lnTo>
                  <a:lnTo>
                    <a:pt x="225" y="99"/>
                  </a:lnTo>
                  <a:lnTo>
                    <a:pt x="226" y="115"/>
                  </a:lnTo>
                  <a:lnTo>
                    <a:pt x="252" y="132"/>
                  </a:lnTo>
                  <a:lnTo>
                    <a:pt x="245" y="171"/>
                  </a:lnTo>
                  <a:lnTo>
                    <a:pt x="215" y="176"/>
                  </a:lnTo>
                  <a:lnTo>
                    <a:pt x="215" y="176"/>
                  </a:lnTo>
                  <a:lnTo>
                    <a:pt x="206" y="189"/>
                  </a:lnTo>
                  <a:lnTo>
                    <a:pt x="214" y="219"/>
                  </a:lnTo>
                  <a:lnTo>
                    <a:pt x="180" y="241"/>
                  </a:lnTo>
                  <a:lnTo>
                    <a:pt x="154" y="225"/>
                  </a:lnTo>
                  <a:lnTo>
                    <a:pt x="154" y="225"/>
                  </a:lnTo>
                  <a:lnTo>
                    <a:pt x="139" y="228"/>
                  </a:lnTo>
                  <a:lnTo>
                    <a:pt x="123" y="254"/>
                  </a:lnTo>
                  <a:close/>
                  <a:moveTo>
                    <a:pt x="102" y="228"/>
                  </a:moveTo>
                  <a:lnTo>
                    <a:pt x="112" y="230"/>
                  </a:lnTo>
                  <a:lnTo>
                    <a:pt x="126" y="208"/>
                  </a:lnTo>
                  <a:lnTo>
                    <a:pt x="132" y="206"/>
                  </a:lnTo>
                  <a:lnTo>
                    <a:pt x="132" y="206"/>
                  </a:lnTo>
                  <a:lnTo>
                    <a:pt x="143" y="206"/>
                  </a:lnTo>
                  <a:lnTo>
                    <a:pt x="152" y="202"/>
                  </a:lnTo>
                  <a:lnTo>
                    <a:pt x="158" y="200"/>
                  </a:lnTo>
                  <a:lnTo>
                    <a:pt x="180" y="215"/>
                  </a:lnTo>
                  <a:lnTo>
                    <a:pt x="189" y="210"/>
                  </a:lnTo>
                  <a:lnTo>
                    <a:pt x="182" y="184"/>
                  </a:lnTo>
                  <a:lnTo>
                    <a:pt x="186" y="180"/>
                  </a:lnTo>
                  <a:lnTo>
                    <a:pt x="186" y="180"/>
                  </a:lnTo>
                  <a:lnTo>
                    <a:pt x="193" y="171"/>
                  </a:lnTo>
                  <a:lnTo>
                    <a:pt x="199" y="162"/>
                  </a:lnTo>
                  <a:lnTo>
                    <a:pt x="201" y="156"/>
                  </a:lnTo>
                  <a:lnTo>
                    <a:pt x="226" y="152"/>
                  </a:lnTo>
                  <a:lnTo>
                    <a:pt x="228" y="141"/>
                  </a:lnTo>
                  <a:lnTo>
                    <a:pt x="206" y="128"/>
                  </a:lnTo>
                  <a:lnTo>
                    <a:pt x="206" y="123"/>
                  </a:lnTo>
                  <a:lnTo>
                    <a:pt x="206" y="123"/>
                  </a:lnTo>
                  <a:lnTo>
                    <a:pt x="204" y="112"/>
                  </a:lnTo>
                  <a:lnTo>
                    <a:pt x="202" y="100"/>
                  </a:lnTo>
                  <a:lnTo>
                    <a:pt x="201" y="95"/>
                  </a:lnTo>
                  <a:lnTo>
                    <a:pt x="215" y="74"/>
                  </a:lnTo>
                  <a:lnTo>
                    <a:pt x="210" y="65"/>
                  </a:lnTo>
                  <a:lnTo>
                    <a:pt x="184" y="71"/>
                  </a:lnTo>
                  <a:lnTo>
                    <a:pt x="178" y="67"/>
                  </a:lnTo>
                  <a:lnTo>
                    <a:pt x="178" y="67"/>
                  </a:lnTo>
                  <a:lnTo>
                    <a:pt x="171" y="61"/>
                  </a:lnTo>
                  <a:lnTo>
                    <a:pt x="162" y="56"/>
                  </a:lnTo>
                  <a:lnTo>
                    <a:pt x="156" y="52"/>
                  </a:lnTo>
                  <a:lnTo>
                    <a:pt x="152" y="26"/>
                  </a:lnTo>
                  <a:lnTo>
                    <a:pt x="141" y="24"/>
                  </a:lnTo>
                  <a:lnTo>
                    <a:pt x="126" y="47"/>
                  </a:lnTo>
                  <a:lnTo>
                    <a:pt x="121" y="49"/>
                  </a:lnTo>
                  <a:lnTo>
                    <a:pt x="121" y="49"/>
                  </a:lnTo>
                  <a:lnTo>
                    <a:pt x="112" y="49"/>
                  </a:lnTo>
                  <a:lnTo>
                    <a:pt x="100" y="52"/>
                  </a:lnTo>
                  <a:lnTo>
                    <a:pt x="95" y="54"/>
                  </a:lnTo>
                  <a:lnTo>
                    <a:pt x="73" y="39"/>
                  </a:lnTo>
                  <a:lnTo>
                    <a:pt x="65" y="45"/>
                  </a:lnTo>
                  <a:lnTo>
                    <a:pt x="71" y="71"/>
                  </a:lnTo>
                  <a:lnTo>
                    <a:pt x="67" y="74"/>
                  </a:lnTo>
                  <a:lnTo>
                    <a:pt x="67" y="74"/>
                  </a:lnTo>
                  <a:lnTo>
                    <a:pt x="60" y="84"/>
                  </a:lnTo>
                  <a:lnTo>
                    <a:pt x="54" y="93"/>
                  </a:lnTo>
                  <a:lnTo>
                    <a:pt x="52" y="99"/>
                  </a:lnTo>
                  <a:lnTo>
                    <a:pt x="26" y="102"/>
                  </a:lnTo>
                  <a:lnTo>
                    <a:pt x="25" y="113"/>
                  </a:lnTo>
                  <a:lnTo>
                    <a:pt x="47" y="126"/>
                  </a:lnTo>
                  <a:lnTo>
                    <a:pt x="47" y="132"/>
                  </a:lnTo>
                  <a:lnTo>
                    <a:pt x="47" y="132"/>
                  </a:lnTo>
                  <a:lnTo>
                    <a:pt x="49" y="143"/>
                  </a:lnTo>
                  <a:lnTo>
                    <a:pt x="52" y="154"/>
                  </a:lnTo>
                  <a:lnTo>
                    <a:pt x="54" y="158"/>
                  </a:lnTo>
                  <a:lnTo>
                    <a:pt x="37" y="180"/>
                  </a:lnTo>
                  <a:lnTo>
                    <a:pt x="43" y="189"/>
                  </a:lnTo>
                  <a:lnTo>
                    <a:pt x="69" y="184"/>
                  </a:lnTo>
                  <a:lnTo>
                    <a:pt x="75" y="187"/>
                  </a:lnTo>
                  <a:lnTo>
                    <a:pt x="75" y="187"/>
                  </a:lnTo>
                  <a:lnTo>
                    <a:pt x="82" y="193"/>
                  </a:lnTo>
                  <a:lnTo>
                    <a:pt x="91" y="199"/>
                  </a:lnTo>
                  <a:lnTo>
                    <a:pt x="97" y="200"/>
                  </a:lnTo>
                  <a:lnTo>
                    <a:pt x="102" y="2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0" name="Freeform 15">
              <a:extLst>
                <a:ext uri="{FF2B5EF4-FFF2-40B4-BE49-F238E27FC236}">
                  <a16:creationId xmlns:a16="http://schemas.microsoft.com/office/drawing/2014/main" id="{C4878B11-D397-4DE1-B69F-0E0634BDAA5F}"/>
                </a:ext>
              </a:extLst>
            </p:cNvPr>
            <p:cNvSpPr>
              <a:spLocks/>
            </p:cNvSpPr>
            <p:nvPr/>
          </p:nvSpPr>
          <p:spPr bwMode="auto">
            <a:xfrm>
              <a:off x="10031413" y="2606676"/>
              <a:ext cx="158750" cy="155575"/>
            </a:xfrm>
            <a:custGeom>
              <a:avLst/>
              <a:gdLst>
                <a:gd name="T0" fmla="*/ 41 w 100"/>
                <a:gd name="T1" fmla="*/ 98 h 98"/>
                <a:gd name="T2" fmla="*/ 41 w 100"/>
                <a:gd name="T3" fmla="*/ 98 h 98"/>
                <a:gd name="T4" fmla="*/ 32 w 100"/>
                <a:gd name="T5" fmla="*/ 95 h 98"/>
                <a:gd name="T6" fmla="*/ 23 w 100"/>
                <a:gd name="T7" fmla="*/ 91 h 98"/>
                <a:gd name="T8" fmla="*/ 15 w 100"/>
                <a:gd name="T9" fmla="*/ 84 h 98"/>
                <a:gd name="T10" fmla="*/ 10 w 100"/>
                <a:gd name="T11" fmla="*/ 76 h 98"/>
                <a:gd name="T12" fmla="*/ 6 w 100"/>
                <a:gd name="T13" fmla="*/ 69 h 98"/>
                <a:gd name="T14" fmla="*/ 2 w 100"/>
                <a:gd name="T15" fmla="*/ 59 h 98"/>
                <a:gd name="T16" fmla="*/ 0 w 100"/>
                <a:gd name="T17" fmla="*/ 50 h 98"/>
                <a:gd name="T18" fmla="*/ 2 w 100"/>
                <a:gd name="T19" fmla="*/ 39 h 98"/>
                <a:gd name="T20" fmla="*/ 2 w 100"/>
                <a:gd name="T21" fmla="*/ 39 h 98"/>
                <a:gd name="T22" fmla="*/ 6 w 100"/>
                <a:gd name="T23" fmla="*/ 30 h 98"/>
                <a:gd name="T24" fmla="*/ 10 w 100"/>
                <a:gd name="T25" fmla="*/ 22 h 98"/>
                <a:gd name="T26" fmla="*/ 15 w 100"/>
                <a:gd name="T27" fmla="*/ 15 h 98"/>
                <a:gd name="T28" fmla="*/ 23 w 100"/>
                <a:gd name="T29" fmla="*/ 8 h 98"/>
                <a:gd name="T30" fmla="*/ 32 w 100"/>
                <a:gd name="T31" fmla="*/ 4 h 98"/>
                <a:gd name="T32" fmla="*/ 41 w 100"/>
                <a:gd name="T33" fmla="*/ 0 h 98"/>
                <a:gd name="T34" fmla="*/ 50 w 100"/>
                <a:gd name="T35" fmla="*/ 0 h 98"/>
                <a:gd name="T36" fmla="*/ 60 w 100"/>
                <a:gd name="T37" fmla="*/ 0 h 98"/>
                <a:gd name="T38" fmla="*/ 60 w 100"/>
                <a:gd name="T39" fmla="*/ 0 h 98"/>
                <a:gd name="T40" fmla="*/ 69 w 100"/>
                <a:gd name="T41" fmla="*/ 4 h 98"/>
                <a:gd name="T42" fmla="*/ 78 w 100"/>
                <a:gd name="T43" fmla="*/ 8 h 98"/>
                <a:gd name="T44" fmla="*/ 86 w 100"/>
                <a:gd name="T45" fmla="*/ 15 h 98"/>
                <a:gd name="T46" fmla="*/ 91 w 100"/>
                <a:gd name="T47" fmla="*/ 22 h 98"/>
                <a:gd name="T48" fmla="*/ 97 w 100"/>
                <a:gd name="T49" fmla="*/ 30 h 98"/>
                <a:gd name="T50" fmla="*/ 99 w 100"/>
                <a:gd name="T51" fmla="*/ 39 h 98"/>
                <a:gd name="T52" fmla="*/ 100 w 100"/>
                <a:gd name="T53" fmla="*/ 48 h 98"/>
                <a:gd name="T54" fmla="*/ 99 w 100"/>
                <a:gd name="T55" fmla="*/ 59 h 98"/>
                <a:gd name="T56" fmla="*/ 99 w 100"/>
                <a:gd name="T57" fmla="*/ 59 h 98"/>
                <a:gd name="T58" fmla="*/ 97 w 100"/>
                <a:gd name="T59" fmla="*/ 69 h 98"/>
                <a:gd name="T60" fmla="*/ 91 w 100"/>
                <a:gd name="T61" fmla="*/ 76 h 98"/>
                <a:gd name="T62" fmla="*/ 86 w 100"/>
                <a:gd name="T63" fmla="*/ 84 h 98"/>
                <a:gd name="T64" fmla="*/ 78 w 100"/>
                <a:gd name="T65" fmla="*/ 91 h 98"/>
                <a:gd name="T66" fmla="*/ 69 w 100"/>
                <a:gd name="T67" fmla="*/ 95 h 98"/>
                <a:gd name="T68" fmla="*/ 62 w 100"/>
                <a:gd name="T69" fmla="*/ 98 h 98"/>
                <a:gd name="T70" fmla="*/ 50 w 100"/>
                <a:gd name="T71" fmla="*/ 98 h 98"/>
                <a:gd name="T72" fmla="*/ 41 w 100"/>
                <a:gd name="T73" fmla="*/ 98 h 98"/>
                <a:gd name="T74" fmla="*/ 41 w 100"/>
                <a:gd name="T7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98">
                  <a:moveTo>
                    <a:pt x="41" y="98"/>
                  </a:moveTo>
                  <a:lnTo>
                    <a:pt x="41" y="98"/>
                  </a:lnTo>
                  <a:lnTo>
                    <a:pt x="32" y="95"/>
                  </a:lnTo>
                  <a:lnTo>
                    <a:pt x="23" y="91"/>
                  </a:lnTo>
                  <a:lnTo>
                    <a:pt x="15" y="84"/>
                  </a:lnTo>
                  <a:lnTo>
                    <a:pt x="10" y="76"/>
                  </a:lnTo>
                  <a:lnTo>
                    <a:pt x="6" y="69"/>
                  </a:lnTo>
                  <a:lnTo>
                    <a:pt x="2" y="59"/>
                  </a:lnTo>
                  <a:lnTo>
                    <a:pt x="0" y="50"/>
                  </a:lnTo>
                  <a:lnTo>
                    <a:pt x="2" y="39"/>
                  </a:lnTo>
                  <a:lnTo>
                    <a:pt x="2" y="39"/>
                  </a:lnTo>
                  <a:lnTo>
                    <a:pt x="6" y="30"/>
                  </a:lnTo>
                  <a:lnTo>
                    <a:pt x="10" y="22"/>
                  </a:lnTo>
                  <a:lnTo>
                    <a:pt x="15" y="15"/>
                  </a:lnTo>
                  <a:lnTo>
                    <a:pt x="23" y="8"/>
                  </a:lnTo>
                  <a:lnTo>
                    <a:pt x="32" y="4"/>
                  </a:lnTo>
                  <a:lnTo>
                    <a:pt x="41" y="0"/>
                  </a:lnTo>
                  <a:lnTo>
                    <a:pt x="50" y="0"/>
                  </a:lnTo>
                  <a:lnTo>
                    <a:pt x="60" y="0"/>
                  </a:lnTo>
                  <a:lnTo>
                    <a:pt x="60" y="0"/>
                  </a:lnTo>
                  <a:lnTo>
                    <a:pt x="69" y="4"/>
                  </a:lnTo>
                  <a:lnTo>
                    <a:pt x="78" y="8"/>
                  </a:lnTo>
                  <a:lnTo>
                    <a:pt x="86" y="15"/>
                  </a:lnTo>
                  <a:lnTo>
                    <a:pt x="91" y="22"/>
                  </a:lnTo>
                  <a:lnTo>
                    <a:pt x="97" y="30"/>
                  </a:lnTo>
                  <a:lnTo>
                    <a:pt x="99" y="39"/>
                  </a:lnTo>
                  <a:lnTo>
                    <a:pt x="100" y="48"/>
                  </a:lnTo>
                  <a:lnTo>
                    <a:pt x="99" y="59"/>
                  </a:lnTo>
                  <a:lnTo>
                    <a:pt x="99" y="59"/>
                  </a:lnTo>
                  <a:lnTo>
                    <a:pt x="97" y="69"/>
                  </a:lnTo>
                  <a:lnTo>
                    <a:pt x="91" y="76"/>
                  </a:lnTo>
                  <a:lnTo>
                    <a:pt x="86" y="84"/>
                  </a:lnTo>
                  <a:lnTo>
                    <a:pt x="78" y="91"/>
                  </a:lnTo>
                  <a:lnTo>
                    <a:pt x="69" y="95"/>
                  </a:lnTo>
                  <a:lnTo>
                    <a:pt x="62" y="98"/>
                  </a:lnTo>
                  <a:lnTo>
                    <a:pt x="50" y="98"/>
                  </a:lnTo>
                  <a:lnTo>
                    <a:pt x="41" y="98"/>
                  </a:lnTo>
                  <a:lnTo>
                    <a:pt x="41" y="98"/>
                  </a:lnTo>
                  <a:close/>
                </a:path>
              </a:pathLst>
            </a:cu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1" name="Freeform 16">
              <a:extLst>
                <a:ext uri="{FF2B5EF4-FFF2-40B4-BE49-F238E27FC236}">
                  <a16:creationId xmlns:a16="http://schemas.microsoft.com/office/drawing/2014/main" id="{287054B8-690A-4D90-B2E8-CCF96258AE90}"/>
                </a:ext>
              </a:extLst>
            </p:cNvPr>
            <p:cNvSpPr>
              <a:spLocks noEditPoints="1"/>
            </p:cNvSpPr>
            <p:nvPr/>
          </p:nvSpPr>
          <p:spPr bwMode="auto">
            <a:xfrm>
              <a:off x="6537326" y="3336926"/>
              <a:ext cx="400050" cy="401638"/>
            </a:xfrm>
            <a:custGeom>
              <a:avLst/>
              <a:gdLst>
                <a:gd name="T0" fmla="*/ 82 w 252"/>
                <a:gd name="T1" fmla="*/ 246 h 253"/>
                <a:gd name="T2" fmla="*/ 78 w 252"/>
                <a:gd name="T3" fmla="*/ 215 h 253"/>
                <a:gd name="T4" fmla="*/ 34 w 252"/>
                <a:gd name="T5" fmla="*/ 213 h 253"/>
                <a:gd name="T6" fmla="*/ 30 w 252"/>
                <a:gd name="T7" fmla="*/ 155 h 253"/>
                <a:gd name="T8" fmla="*/ 26 w 252"/>
                <a:gd name="T9" fmla="*/ 139 h 253"/>
                <a:gd name="T10" fmla="*/ 8 w 252"/>
                <a:gd name="T11" fmla="*/ 83 h 253"/>
                <a:gd name="T12" fmla="*/ 37 w 252"/>
                <a:gd name="T13" fmla="*/ 77 h 253"/>
                <a:gd name="T14" fmla="*/ 39 w 252"/>
                <a:gd name="T15" fmla="*/ 35 h 253"/>
                <a:gd name="T16" fmla="*/ 98 w 252"/>
                <a:gd name="T17" fmla="*/ 29 h 253"/>
                <a:gd name="T18" fmla="*/ 115 w 252"/>
                <a:gd name="T19" fmla="*/ 26 h 253"/>
                <a:gd name="T20" fmla="*/ 171 w 252"/>
                <a:gd name="T21" fmla="*/ 7 h 253"/>
                <a:gd name="T22" fmla="*/ 174 w 252"/>
                <a:gd name="T23" fmla="*/ 39 h 253"/>
                <a:gd name="T24" fmla="*/ 219 w 252"/>
                <a:gd name="T25" fmla="*/ 40 h 253"/>
                <a:gd name="T26" fmla="*/ 224 w 252"/>
                <a:gd name="T27" fmla="*/ 98 h 253"/>
                <a:gd name="T28" fmla="*/ 226 w 252"/>
                <a:gd name="T29" fmla="*/ 115 h 253"/>
                <a:gd name="T30" fmla="*/ 245 w 252"/>
                <a:gd name="T31" fmla="*/ 170 h 253"/>
                <a:gd name="T32" fmla="*/ 215 w 252"/>
                <a:gd name="T33" fmla="*/ 176 h 253"/>
                <a:gd name="T34" fmla="*/ 213 w 252"/>
                <a:gd name="T35" fmla="*/ 218 h 253"/>
                <a:gd name="T36" fmla="*/ 154 w 252"/>
                <a:gd name="T37" fmla="*/ 224 h 253"/>
                <a:gd name="T38" fmla="*/ 139 w 252"/>
                <a:gd name="T39" fmla="*/ 228 h 253"/>
                <a:gd name="T40" fmla="*/ 102 w 252"/>
                <a:gd name="T41" fmla="*/ 228 h 253"/>
                <a:gd name="T42" fmla="*/ 126 w 252"/>
                <a:gd name="T43" fmla="*/ 207 h 253"/>
                <a:gd name="T44" fmla="*/ 132 w 252"/>
                <a:gd name="T45" fmla="*/ 205 h 253"/>
                <a:gd name="T46" fmla="*/ 152 w 252"/>
                <a:gd name="T47" fmla="*/ 202 h 253"/>
                <a:gd name="T48" fmla="*/ 180 w 252"/>
                <a:gd name="T49" fmla="*/ 215 h 253"/>
                <a:gd name="T50" fmla="*/ 182 w 252"/>
                <a:gd name="T51" fmla="*/ 183 h 253"/>
                <a:gd name="T52" fmla="*/ 185 w 252"/>
                <a:gd name="T53" fmla="*/ 179 h 253"/>
                <a:gd name="T54" fmla="*/ 198 w 252"/>
                <a:gd name="T55" fmla="*/ 161 h 253"/>
                <a:gd name="T56" fmla="*/ 226 w 252"/>
                <a:gd name="T57" fmla="*/ 152 h 253"/>
                <a:gd name="T58" fmla="*/ 206 w 252"/>
                <a:gd name="T59" fmla="*/ 127 h 253"/>
                <a:gd name="T60" fmla="*/ 206 w 252"/>
                <a:gd name="T61" fmla="*/ 122 h 253"/>
                <a:gd name="T62" fmla="*/ 202 w 252"/>
                <a:gd name="T63" fmla="*/ 100 h 253"/>
                <a:gd name="T64" fmla="*/ 215 w 252"/>
                <a:gd name="T65" fmla="*/ 74 h 253"/>
                <a:gd name="T66" fmla="*/ 184 w 252"/>
                <a:gd name="T67" fmla="*/ 70 h 253"/>
                <a:gd name="T68" fmla="*/ 178 w 252"/>
                <a:gd name="T69" fmla="*/ 66 h 253"/>
                <a:gd name="T70" fmla="*/ 161 w 252"/>
                <a:gd name="T71" fmla="*/ 55 h 253"/>
                <a:gd name="T72" fmla="*/ 152 w 252"/>
                <a:gd name="T73" fmla="*/ 26 h 253"/>
                <a:gd name="T74" fmla="*/ 126 w 252"/>
                <a:gd name="T75" fmla="*/ 48 h 253"/>
                <a:gd name="T76" fmla="*/ 121 w 252"/>
                <a:gd name="T77" fmla="*/ 48 h 253"/>
                <a:gd name="T78" fmla="*/ 100 w 252"/>
                <a:gd name="T79" fmla="*/ 52 h 253"/>
                <a:gd name="T80" fmla="*/ 72 w 252"/>
                <a:gd name="T81" fmla="*/ 39 h 253"/>
                <a:gd name="T82" fmla="*/ 71 w 252"/>
                <a:gd name="T83" fmla="*/ 70 h 253"/>
                <a:gd name="T84" fmla="*/ 67 w 252"/>
                <a:gd name="T85" fmla="*/ 74 h 253"/>
                <a:gd name="T86" fmla="*/ 54 w 252"/>
                <a:gd name="T87" fmla="*/ 92 h 253"/>
                <a:gd name="T88" fmla="*/ 26 w 252"/>
                <a:gd name="T89" fmla="*/ 102 h 253"/>
                <a:gd name="T90" fmla="*/ 47 w 252"/>
                <a:gd name="T91" fmla="*/ 126 h 253"/>
                <a:gd name="T92" fmla="*/ 47 w 252"/>
                <a:gd name="T93" fmla="*/ 131 h 253"/>
                <a:gd name="T94" fmla="*/ 52 w 252"/>
                <a:gd name="T95" fmla="*/ 153 h 253"/>
                <a:gd name="T96" fmla="*/ 37 w 252"/>
                <a:gd name="T97" fmla="*/ 179 h 253"/>
                <a:gd name="T98" fmla="*/ 69 w 252"/>
                <a:gd name="T99" fmla="*/ 183 h 253"/>
                <a:gd name="T100" fmla="*/ 74 w 252"/>
                <a:gd name="T101" fmla="*/ 187 h 253"/>
                <a:gd name="T102" fmla="*/ 91 w 252"/>
                <a:gd name="T103" fmla="*/ 198 h 253"/>
                <a:gd name="T104" fmla="*/ 102 w 252"/>
                <a:gd name="T105" fmla="*/ 2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2" h="253">
                  <a:moveTo>
                    <a:pt x="123" y="253"/>
                  </a:moveTo>
                  <a:lnTo>
                    <a:pt x="82" y="246"/>
                  </a:lnTo>
                  <a:lnTo>
                    <a:pt x="78" y="215"/>
                  </a:lnTo>
                  <a:lnTo>
                    <a:pt x="78" y="215"/>
                  </a:lnTo>
                  <a:lnTo>
                    <a:pt x="63" y="207"/>
                  </a:lnTo>
                  <a:lnTo>
                    <a:pt x="34" y="213"/>
                  </a:lnTo>
                  <a:lnTo>
                    <a:pt x="11" y="179"/>
                  </a:lnTo>
                  <a:lnTo>
                    <a:pt x="30" y="155"/>
                  </a:lnTo>
                  <a:lnTo>
                    <a:pt x="30" y="155"/>
                  </a:lnTo>
                  <a:lnTo>
                    <a:pt x="26" y="139"/>
                  </a:lnTo>
                  <a:lnTo>
                    <a:pt x="0" y="122"/>
                  </a:lnTo>
                  <a:lnTo>
                    <a:pt x="8" y="83"/>
                  </a:lnTo>
                  <a:lnTo>
                    <a:pt x="37" y="77"/>
                  </a:lnTo>
                  <a:lnTo>
                    <a:pt x="37" y="77"/>
                  </a:lnTo>
                  <a:lnTo>
                    <a:pt x="47" y="64"/>
                  </a:lnTo>
                  <a:lnTo>
                    <a:pt x="39" y="35"/>
                  </a:lnTo>
                  <a:lnTo>
                    <a:pt x="72" y="13"/>
                  </a:lnTo>
                  <a:lnTo>
                    <a:pt x="98" y="29"/>
                  </a:lnTo>
                  <a:lnTo>
                    <a:pt x="98" y="29"/>
                  </a:lnTo>
                  <a:lnTo>
                    <a:pt x="115" y="26"/>
                  </a:lnTo>
                  <a:lnTo>
                    <a:pt x="130" y="0"/>
                  </a:lnTo>
                  <a:lnTo>
                    <a:pt x="171" y="7"/>
                  </a:lnTo>
                  <a:lnTo>
                    <a:pt x="174" y="39"/>
                  </a:lnTo>
                  <a:lnTo>
                    <a:pt x="174" y="39"/>
                  </a:lnTo>
                  <a:lnTo>
                    <a:pt x="189" y="48"/>
                  </a:lnTo>
                  <a:lnTo>
                    <a:pt x="219" y="40"/>
                  </a:lnTo>
                  <a:lnTo>
                    <a:pt x="241" y="74"/>
                  </a:lnTo>
                  <a:lnTo>
                    <a:pt x="224" y="98"/>
                  </a:lnTo>
                  <a:lnTo>
                    <a:pt x="224" y="98"/>
                  </a:lnTo>
                  <a:lnTo>
                    <a:pt x="226" y="115"/>
                  </a:lnTo>
                  <a:lnTo>
                    <a:pt x="252" y="131"/>
                  </a:lnTo>
                  <a:lnTo>
                    <a:pt x="245" y="170"/>
                  </a:lnTo>
                  <a:lnTo>
                    <a:pt x="215" y="176"/>
                  </a:lnTo>
                  <a:lnTo>
                    <a:pt x="215" y="176"/>
                  </a:lnTo>
                  <a:lnTo>
                    <a:pt x="206" y="189"/>
                  </a:lnTo>
                  <a:lnTo>
                    <a:pt x="213" y="218"/>
                  </a:lnTo>
                  <a:lnTo>
                    <a:pt x="180" y="242"/>
                  </a:lnTo>
                  <a:lnTo>
                    <a:pt x="154" y="224"/>
                  </a:lnTo>
                  <a:lnTo>
                    <a:pt x="154" y="224"/>
                  </a:lnTo>
                  <a:lnTo>
                    <a:pt x="139" y="228"/>
                  </a:lnTo>
                  <a:lnTo>
                    <a:pt x="123" y="253"/>
                  </a:lnTo>
                  <a:close/>
                  <a:moveTo>
                    <a:pt x="102" y="228"/>
                  </a:moveTo>
                  <a:lnTo>
                    <a:pt x="111" y="229"/>
                  </a:lnTo>
                  <a:lnTo>
                    <a:pt x="126" y="207"/>
                  </a:lnTo>
                  <a:lnTo>
                    <a:pt x="132" y="205"/>
                  </a:lnTo>
                  <a:lnTo>
                    <a:pt x="132" y="205"/>
                  </a:lnTo>
                  <a:lnTo>
                    <a:pt x="143" y="205"/>
                  </a:lnTo>
                  <a:lnTo>
                    <a:pt x="152" y="202"/>
                  </a:lnTo>
                  <a:lnTo>
                    <a:pt x="158" y="200"/>
                  </a:lnTo>
                  <a:lnTo>
                    <a:pt x="180" y="215"/>
                  </a:lnTo>
                  <a:lnTo>
                    <a:pt x="189" y="209"/>
                  </a:lnTo>
                  <a:lnTo>
                    <a:pt x="182" y="183"/>
                  </a:lnTo>
                  <a:lnTo>
                    <a:pt x="185" y="179"/>
                  </a:lnTo>
                  <a:lnTo>
                    <a:pt x="185" y="179"/>
                  </a:lnTo>
                  <a:lnTo>
                    <a:pt x="193" y="170"/>
                  </a:lnTo>
                  <a:lnTo>
                    <a:pt x="198" y="161"/>
                  </a:lnTo>
                  <a:lnTo>
                    <a:pt x="200" y="155"/>
                  </a:lnTo>
                  <a:lnTo>
                    <a:pt x="226" y="152"/>
                  </a:lnTo>
                  <a:lnTo>
                    <a:pt x="228" y="140"/>
                  </a:lnTo>
                  <a:lnTo>
                    <a:pt x="206" y="127"/>
                  </a:lnTo>
                  <a:lnTo>
                    <a:pt x="206" y="122"/>
                  </a:lnTo>
                  <a:lnTo>
                    <a:pt x="206" y="122"/>
                  </a:lnTo>
                  <a:lnTo>
                    <a:pt x="204" y="111"/>
                  </a:lnTo>
                  <a:lnTo>
                    <a:pt x="202" y="100"/>
                  </a:lnTo>
                  <a:lnTo>
                    <a:pt x="200" y="96"/>
                  </a:lnTo>
                  <a:lnTo>
                    <a:pt x="215" y="74"/>
                  </a:lnTo>
                  <a:lnTo>
                    <a:pt x="210" y="64"/>
                  </a:lnTo>
                  <a:lnTo>
                    <a:pt x="184" y="70"/>
                  </a:lnTo>
                  <a:lnTo>
                    <a:pt x="178" y="66"/>
                  </a:lnTo>
                  <a:lnTo>
                    <a:pt x="178" y="66"/>
                  </a:lnTo>
                  <a:lnTo>
                    <a:pt x="171" y="61"/>
                  </a:lnTo>
                  <a:lnTo>
                    <a:pt x="161" y="55"/>
                  </a:lnTo>
                  <a:lnTo>
                    <a:pt x="156" y="53"/>
                  </a:lnTo>
                  <a:lnTo>
                    <a:pt x="152" y="26"/>
                  </a:lnTo>
                  <a:lnTo>
                    <a:pt x="141" y="24"/>
                  </a:lnTo>
                  <a:lnTo>
                    <a:pt x="126" y="48"/>
                  </a:lnTo>
                  <a:lnTo>
                    <a:pt x="121" y="48"/>
                  </a:lnTo>
                  <a:lnTo>
                    <a:pt x="121" y="48"/>
                  </a:lnTo>
                  <a:lnTo>
                    <a:pt x="111" y="48"/>
                  </a:lnTo>
                  <a:lnTo>
                    <a:pt x="100" y="52"/>
                  </a:lnTo>
                  <a:lnTo>
                    <a:pt x="95" y="53"/>
                  </a:lnTo>
                  <a:lnTo>
                    <a:pt x="72" y="39"/>
                  </a:lnTo>
                  <a:lnTo>
                    <a:pt x="65" y="44"/>
                  </a:lnTo>
                  <a:lnTo>
                    <a:pt x="71" y="70"/>
                  </a:lnTo>
                  <a:lnTo>
                    <a:pt x="67" y="74"/>
                  </a:lnTo>
                  <a:lnTo>
                    <a:pt x="67" y="74"/>
                  </a:lnTo>
                  <a:lnTo>
                    <a:pt x="60" y="83"/>
                  </a:lnTo>
                  <a:lnTo>
                    <a:pt x="54" y="92"/>
                  </a:lnTo>
                  <a:lnTo>
                    <a:pt x="52" y="98"/>
                  </a:lnTo>
                  <a:lnTo>
                    <a:pt x="26" y="102"/>
                  </a:lnTo>
                  <a:lnTo>
                    <a:pt x="24" y="113"/>
                  </a:lnTo>
                  <a:lnTo>
                    <a:pt x="47" y="126"/>
                  </a:lnTo>
                  <a:lnTo>
                    <a:pt x="47" y="131"/>
                  </a:lnTo>
                  <a:lnTo>
                    <a:pt x="47" y="131"/>
                  </a:lnTo>
                  <a:lnTo>
                    <a:pt x="48" y="142"/>
                  </a:lnTo>
                  <a:lnTo>
                    <a:pt x="52" y="153"/>
                  </a:lnTo>
                  <a:lnTo>
                    <a:pt x="54" y="159"/>
                  </a:lnTo>
                  <a:lnTo>
                    <a:pt x="37" y="179"/>
                  </a:lnTo>
                  <a:lnTo>
                    <a:pt x="43" y="189"/>
                  </a:lnTo>
                  <a:lnTo>
                    <a:pt x="69" y="183"/>
                  </a:lnTo>
                  <a:lnTo>
                    <a:pt x="74" y="187"/>
                  </a:lnTo>
                  <a:lnTo>
                    <a:pt x="74" y="187"/>
                  </a:lnTo>
                  <a:lnTo>
                    <a:pt x="82" y="192"/>
                  </a:lnTo>
                  <a:lnTo>
                    <a:pt x="91" y="198"/>
                  </a:lnTo>
                  <a:lnTo>
                    <a:pt x="97" y="202"/>
                  </a:lnTo>
                  <a:lnTo>
                    <a:pt x="102" y="2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2" name="Freeform 17">
              <a:extLst>
                <a:ext uri="{FF2B5EF4-FFF2-40B4-BE49-F238E27FC236}">
                  <a16:creationId xmlns:a16="http://schemas.microsoft.com/office/drawing/2014/main" id="{8F00C4A4-E924-4F3F-A9DF-E65B92C6B67D}"/>
                </a:ext>
              </a:extLst>
            </p:cNvPr>
            <p:cNvSpPr>
              <a:spLocks/>
            </p:cNvSpPr>
            <p:nvPr/>
          </p:nvSpPr>
          <p:spPr bwMode="auto">
            <a:xfrm>
              <a:off x="6657976" y="3459163"/>
              <a:ext cx="158750" cy="157163"/>
            </a:xfrm>
            <a:custGeom>
              <a:avLst/>
              <a:gdLst>
                <a:gd name="T0" fmla="*/ 41 w 100"/>
                <a:gd name="T1" fmla="*/ 99 h 99"/>
                <a:gd name="T2" fmla="*/ 41 w 100"/>
                <a:gd name="T3" fmla="*/ 99 h 99"/>
                <a:gd name="T4" fmla="*/ 32 w 100"/>
                <a:gd name="T5" fmla="*/ 95 h 99"/>
                <a:gd name="T6" fmla="*/ 22 w 100"/>
                <a:gd name="T7" fmla="*/ 91 h 99"/>
                <a:gd name="T8" fmla="*/ 15 w 100"/>
                <a:gd name="T9" fmla="*/ 84 h 99"/>
                <a:gd name="T10" fmla="*/ 9 w 100"/>
                <a:gd name="T11" fmla="*/ 76 h 99"/>
                <a:gd name="T12" fmla="*/ 6 w 100"/>
                <a:gd name="T13" fmla="*/ 69 h 99"/>
                <a:gd name="T14" fmla="*/ 2 w 100"/>
                <a:gd name="T15" fmla="*/ 60 h 99"/>
                <a:gd name="T16" fmla="*/ 0 w 100"/>
                <a:gd name="T17" fmla="*/ 50 h 99"/>
                <a:gd name="T18" fmla="*/ 2 w 100"/>
                <a:gd name="T19" fmla="*/ 39 h 99"/>
                <a:gd name="T20" fmla="*/ 2 w 100"/>
                <a:gd name="T21" fmla="*/ 39 h 99"/>
                <a:gd name="T22" fmla="*/ 4 w 100"/>
                <a:gd name="T23" fmla="*/ 30 h 99"/>
                <a:gd name="T24" fmla="*/ 9 w 100"/>
                <a:gd name="T25" fmla="*/ 23 h 99"/>
                <a:gd name="T26" fmla="*/ 15 w 100"/>
                <a:gd name="T27" fmla="*/ 15 h 99"/>
                <a:gd name="T28" fmla="*/ 22 w 100"/>
                <a:gd name="T29" fmla="*/ 8 h 99"/>
                <a:gd name="T30" fmla="*/ 32 w 100"/>
                <a:gd name="T31" fmla="*/ 4 h 99"/>
                <a:gd name="T32" fmla="*/ 41 w 100"/>
                <a:gd name="T33" fmla="*/ 0 h 99"/>
                <a:gd name="T34" fmla="*/ 50 w 100"/>
                <a:gd name="T35" fmla="*/ 0 h 99"/>
                <a:gd name="T36" fmla="*/ 59 w 100"/>
                <a:gd name="T37" fmla="*/ 0 h 99"/>
                <a:gd name="T38" fmla="*/ 59 w 100"/>
                <a:gd name="T39" fmla="*/ 0 h 99"/>
                <a:gd name="T40" fmla="*/ 69 w 100"/>
                <a:gd name="T41" fmla="*/ 4 h 99"/>
                <a:gd name="T42" fmla="*/ 78 w 100"/>
                <a:gd name="T43" fmla="*/ 8 h 99"/>
                <a:gd name="T44" fmla="*/ 85 w 100"/>
                <a:gd name="T45" fmla="*/ 15 h 99"/>
                <a:gd name="T46" fmla="*/ 91 w 100"/>
                <a:gd name="T47" fmla="*/ 23 h 99"/>
                <a:gd name="T48" fmla="*/ 97 w 100"/>
                <a:gd name="T49" fmla="*/ 30 h 99"/>
                <a:gd name="T50" fmla="*/ 98 w 100"/>
                <a:gd name="T51" fmla="*/ 39 h 99"/>
                <a:gd name="T52" fmla="*/ 100 w 100"/>
                <a:gd name="T53" fmla="*/ 49 h 99"/>
                <a:gd name="T54" fmla="*/ 98 w 100"/>
                <a:gd name="T55" fmla="*/ 60 h 99"/>
                <a:gd name="T56" fmla="*/ 98 w 100"/>
                <a:gd name="T57" fmla="*/ 60 h 99"/>
                <a:gd name="T58" fmla="*/ 97 w 100"/>
                <a:gd name="T59" fmla="*/ 69 h 99"/>
                <a:gd name="T60" fmla="*/ 91 w 100"/>
                <a:gd name="T61" fmla="*/ 76 h 99"/>
                <a:gd name="T62" fmla="*/ 85 w 100"/>
                <a:gd name="T63" fmla="*/ 84 h 99"/>
                <a:gd name="T64" fmla="*/ 78 w 100"/>
                <a:gd name="T65" fmla="*/ 91 h 99"/>
                <a:gd name="T66" fmla="*/ 69 w 100"/>
                <a:gd name="T67" fmla="*/ 95 h 99"/>
                <a:gd name="T68" fmla="*/ 61 w 100"/>
                <a:gd name="T69" fmla="*/ 99 h 99"/>
                <a:gd name="T70" fmla="*/ 50 w 100"/>
                <a:gd name="T71" fmla="*/ 99 h 99"/>
                <a:gd name="T72" fmla="*/ 41 w 100"/>
                <a:gd name="T73" fmla="*/ 99 h 99"/>
                <a:gd name="T74" fmla="*/ 41 w 100"/>
                <a:gd name="T7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99">
                  <a:moveTo>
                    <a:pt x="41" y="99"/>
                  </a:moveTo>
                  <a:lnTo>
                    <a:pt x="41" y="99"/>
                  </a:lnTo>
                  <a:lnTo>
                    <a:pt x="32" y="95"/>
                  </a:lnTo>
                  <a:lnTo>
                    <a:pt x="22" y="91"/>
                  </a:lnTo>
                  <a:lnTo>
                    <a:pt x="15" y="84"/>
                  </a:lnTo>
                  <a:lnTo>
                    <a:pt x="9" y="76"/>
                  </a:lnTo>
                  <a:lnTo>
                    <a:pt x="6" y="69"/>
                  </a:lnTo>
                  <a:lnTo>
                    <a:pt x="2" y="60"/>
                  </a:lnTo>
                  <a:lnTo>
                    <a:pt x="0" y="50"/>
                  </a:lnTo>
                  <a:lnTo>
                    <a:pt x="2" y="39"/>
                  </a:lnTo>
                  <a:lnTo>
                    <a:pt x="2" y="39"/>
                  </a:lnTo>
                  <a:lnTo>
                    <a:pt x="4" y="30"/>
                  </a:lnTo>
                  <a:lnTo>
                    <a:pt x="9" y="23"/>
                  </a:lnTo>
                  <a:lnTo>
                    <a:pt x="15" y="15"/>
                  </a:lnTo>
                  <a:lnTo>
                    <a:pt x="22" y="8"/>
                  </a:lnTo>
                  <a:lnTo>
                    <a:pt x="32" y="4"/>
                  </a:lnTo>
                  <a:lnTo>
                    <a:pt x="41" y="0"/>
                  </a:lnTo>
                  <a:lnTo>
                    <a:pt x="50" y="0"/>
                  </a:lnTo>
                  <a:lnTo>
                    <a:pt x="59" y="0"/>
                  </a:lnTo>
                  <a:lnTo>
                    <a:pt x="59" y="0"/>
                  </a:lnTo>
                  <a:lnTo>
                    <a:pt x="69" y="4"/>
                  </a:lnTo>
                  <a:lnTo>
                    <a:pt x="78" y="8"/>
                  </a:lnTo>
                  <a:lnTo>
                    <a:pt x="85" y="15"/>
                  </a:lnTo>
                  <a:lnTo>
                    <a:pt x="91" y="23"/>
                  </a:lnTo>
                  <a:lnTo>
                    <a:pt x="97" y="30"/>
                  </a:lnTo>
                  <a:lnTo>
                    <a:pt x="98" y="39"/>
                  </a:lnTo>
                  <a:lnTo>
                    <a:pt x="100" y="49"/>
                  </a:lnTo>
                  <a:lnTo>
                    <a:pt x="98" y="60"/>
                  </a:lnTo>
                  <a:lnTo>
                    <a:pt x="98" y="60"/>
                  </a:lnTo>
                  <a:lnTo>
                    <a:pt x="97" y="69"/>
                  </a:lnTo>
                  <a:lnTo>
                    <a:pt x="91" y="76"/>
                  </a:lnTo>
                  <a:lnTo>
                    <a:pt x="85" y="84"/>
                  </a:lnTo>
                  <a:lnTo>
                    <a:pt x="78" y="91"/>
                  </a:lnTo>
                  <a:lnTo>
                    <a:pt x="69" y="95"/>
                  </a:lnTo>
                  <a:lnTo>
                    <a:pt x="61" y="99"/>
                  </a:lnTo>
                  <a:lnTo>
                    <a:pt x="50" y="99"/>
                  </a:lnTo>
                  <a:lnTo>
                    <a:pt x="41" y="99"/>
                  </a:lnTo>
                  <a:lnTo>
                    <a:pt x="41" y="99"/>
                  </a:lnTo>
                  <a:close/>
                </a:path>
              </a:pathLst>
            </a:custGeom>
            <a:solidFill>
              <a:srgbClr val="FDD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3" name="Freeform 18">
              <a:extLst>
                <a:ext uri="{FF2B5EF4-FFF2-40B4-BE49-F238E27FC236}">
                  <a16:creationId xmlns:a16="http://schemas.microsoft.com/office/drawing/2014/main" id="{A1B9166C-227E-4EFE-ABEC-886D72398508}"/>
                </a:ext>
              </a:extLst>
            </p:cNvPr>
            <p:cNvSpPr>
              <a:spLocks noEditPoints="1"/>
            </p:cNvSpPr>
            <p:nvPr/>
          </p:nvSpPr>
          <p:spPr bwMode="auto">
            <a:xfrm>
              <a:off x="8150226" y="833438"/>
              <a:ext cx="252413" cy="252413"/>
            </a:xfrm>
            <a:custGeom>
              <a:avLst/>
              <a:gdLst>
                <a:gd name="T0" fmla="*/ 79 w 159"/>
                <a:gd name="T1" fmla="*/ 128 h 159"/>
                <a:gd name="T2" fmla="*/ 92 w 159"/>
                <a:gd name="T3" fmla="*/ 126 h 159"/>
                <a:gd name="T4" fmla="*/ 120 w 159"/>
                <a:gd name="T5" fmla="*/ 148 h 159"/>
                <a:gd name="T6" fmla="*/ 111 w 159"/>
                <a:gd name="T7" fmla="*/ 152 h 159"/>
                <a:gd name="T8" fmla="*/ 90 w 159"/>
                <a:gd name="T9" fmla="*/ 157 h 159"/>
                <a:gd name="T10" fmla="*/ 79 w 159"/>
                <a:gd name="T11" fmla="*/ 159 h 159"/>
                <a:gd name="T12" fmla="*/ 40 w 159"/>
                <a:gd name="T13" fmla="*/ 148 h 159"/>
                <a:gd name="T14" fmla="*/ 24 w 159"/>
                <a:gd name="T15" fmla="*/ 135 h 159"/>
                <a:gd name="T16" fmla="*/ 11 w 159"/>
                <a:gd name="T17" fmla="*/ 119 h 159"/>
                <a:gd name="T18" fmla="*/ 38 w 159"/>
                <a:gd name="T19" fmla="*/ 104 h 159"/>
                <a:gd name="T20" fmla="*/ 55 w 159"/>
                <a:gd name="T21" fmla="*/ 120 h 159"/>
                <a:gd name="T22" fmla="*/ 148 w 159"/>
                <a:gd name="T23" fmla="*/ 119 h 159"/>
                <a:gd name="T24" fmla="*/ 120 w 159"/>
                <a:gd name="T25" fmla="*/ 104 h 159"/>
                <a:gd name="T26" fmla="*/ 127 w 159"/>
                <a:gd name="T27" fmla="*/ 80 h 159"/>
                <a:gd name="T28" fmla="*/ 159 w 159"/>
                <a:gd name="T29" fmla="*/ 80 h 159"/>
                <a:gd name="T30" fmla="*/ 157 w 159"/>
                <a:gd name="T31" fmla="*/ 91 h 159"/>
                <a:gd name="T32" fmla="*/ 153 w 159"/>
                <a:gd name="T33" fmla="*/ 109 h 159"/>
                <a:gd name="T34" fmla="*/ 148 w 159"/>
                <a:gd name="T35" fmla="*/ 119 h 159"/>
                <a:gd name="T36" fmla="*/ 0 w 159"/>
                <a:gd name="T37" fmla="*/ 80 h 159"/>
                <a:gd name="T38" fmla="*/ 1 w 159"/>
                <a:gd name="T39" fmla="*/ 69 h 159"/>
                <a:gd name="T40" fmla="*/ 7 w 159"/>
                <a:gd name="T41" fmla="*/ 50 h 159"/>
                <a:gd name="T42" fmla="*/ 38 w 159"/>
                <a:gd name="T43" fmla="*/ 56 h 159"/>
                <a:gd name="T44" fmla="*/ 33 w 159"/>
                <a:gd name="T45" fmla="*/ 67 h 159"/>
                <a:gd name="T46" fmla="*/ 33 w 159"/>
                <a:gd name="T47" fmla="*/ 80 h 159"/>
                <a:gd name="T48" fmla="*/ 120 w 159"/>
                <a:gd name="T49" fmla="*/ 56 h 159"/>
                <a:gd name="T50" fmla="*/ 103 w 159"/>
                <a:gd name="T51" fmla="*/ 39 h 159"/>
                <a:gd name="T52" fmla="*/ 118 w 159"/>
                <a:gd name="T53" fmla="*/ 11 h 159"/>
                <a:gd name="T54" fmla="*/ 135 w 159"/>
                <a:gd name="T55" fmla="*/ 22 h 159"/>
                <a:gd name="T56" fmla="*/ 148 w 159"/>
                <a:gd name="T57" fmla="*/ 39 h 159"/>
                <a:gd name="T58" fmla="*/ 55 w 159"/>
                <a:gd name="T59" fmla="*/ 39 h 159"/>
                <a:gd name="T60" fmla="*/ 40 w 159"/>
                <a:gd name="T61" fmla="*/ 11 h 159"/>
                <a:gd name="T62" fmla="*/ 59 w 159"/>
                <a:gd name="T63" fmla="*/ 4 h 159"/>
                <a:gd name="T64" fmla="*/ 79 w 159"/>
                <a:gd name="T65" fmla="*/ 0 h 159"/>
                <a:gd name="T66" fmla="*/ 79 w 159"/>
                <a:gd name="T67" fmla="*/ 31 h 159"/>
                <a:gd name="T68" fmla="*/ 55 w 159"/>
                <a:gd name="T69" fmla="*/ 3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159">
                  <a:moveTo>
                    <a:pt x="79" y="159"/>
                  </a:moveTo>
                  <a:lnTo>
                    <a:pt x="79" y="128"/>
                  </a:lnTo>
                  <a:lnTo>
                    <a:pt x="79" y="128"/>
                  </a:lnTo>
                  <a:lnTo>
                    <a:pt x="92" y="126"/>
                  </a:lnTo>
                  <a:lnTo>
                    <a:pt x="103" y="120"/>
                  </a:lnTo>
                  <a:lnTo>
                    <a:pt x="120" y="148"/>
                  </a:lnTo>
                  <a:lnTo>
                    <a:pt x="120" y="148"/>
                  </a:lnTo>
                  <a:lnTo>
                    <a:pt x="111" y="152"/>
                  </a:lnTo>
                  <a:lnTo>
                    <a:pt x="100" y="156"/>
                  </a:lnTo>
                  <a:lnTo>
                    <a:pt x="90" y="157"/>
                  </a:lnTo>
                  <a:lnTo>
                    <a:pt x="79" y="159"/>
                  </a:lnTo>
                  <a:lnTo>
                    <a:pt x="79" y="159"/>
                  </a:lnTo>
                  <a:close/>
                  <a:moveTo>
                    <a:pt x="40" y="148"/>
                  </a:moveTo>
                  <a:lnTo>
                    <a:pt x="40" y="148"/>
                  </a:lnTo>
                  <a:lnTo>
                    <a:pt x="31" y="143"/>
                  </a:lnTo>
                  <a:lnTo>
                    <a:pt x="24" y="135"/>
                  </a:lnTo>
                  <a:lnTo>
                    <a:pt x="16" y="128"/>
                  </a:lnTo>
                  <a:lnTo>
                    <a:pt x="11" y="119"/>
                  </a:lnTo>
                  <a:lnTo>
                    <a:pt x="38" y="104"/>
                  </a:lnTo>
                  <a:lnTo>
                    <a:pt x="38" y="104"/>
                  </a:lnTo>
                  <a:lnTo>
                    <a:pt x="46" y="113"/>
                  </a:lnTo>
                  <a:lnTo>
                    <a:pt x="55" y="120"/>
                  </a:lnTo>
                  <a:lnTo>
                    <a:pt x="40" y="148"/>
                  </a:lnTo>
                  <a:close/>
                  <a:moveTo>
                    <a:pt x="148" y="119"/>
                  </a:moveTo>
                  <a:lnTo>
                    <a:pt x="120" y="104"/>
                  </a:lnTo>
                  <a:lnTo>
                    <a:pt x="120" y="104"/>
                  </a:lnTo>
                  <a:lnTo>
                    <a:pt x="126" y="93"/>
                  </a:lnTo>
                  <a:lnTo>
                    <a:pt x="127" y="80"/>
                  </a:lnTo>
                  <a:lnTo>
                    <a:pt x="159" y="80"/>
                  </a:lnTo>
                  <a:lnTo>
                    <a:pt x="159" y="80"/>
                  </a:lnTo>
                  <a:lnTo>
                    <a:pt x="159" y="80"/>
                  </a:lnTo>
                  <a:lnTo>
                    <a:pt x="157" y="91"/>
                  </a:lnTo>
                  <a:lnTo>
                    <a:pt x="155" y="100"/>
                  </a:lnTo>
                  <a:lnTo>
                    <a:pt x="153" y="109"/>
                  </a:lnTo>
                  <a:lnTo>
                    <a:pt x="148" y="119"/>
                  </a:lnTo>
                  <a:lnTo>
                    <a:pt x="148" y="119"/>
                  </a:lnTo>
                  <a:close/>
                  <a:moveTo>
                    <a:pt x="33" y="80"/>
                  </a:moveTo>
                  <a:lnTo>
                    <a:pt x="0" y="80"/>
                  </a:lnTo>
                  <a:lnTo>
                    <a:pt x="0" y="80"/>
                  </a:lnTo>
                  <a:lnTo>
                    <a:pt x="1" y="69"/>
                  </a:lnTo>
                  <a:lnTo>
                    <a:pt x="3" y="59"/>
                  </a:lnTo>
                  <a:lnTo>
                    <a:pt x="7" y="50"/>
                  </a:lnTo>
                  <a:lnTo>
                    <a:pt x="11" y="41"/>
                  </a:lnTo>
                  <a:lnTo>
                    <a:pt x="38" y="56"/>
                  </a:lnTo>
                  <a:lnTo>
                    <a:pt x="38" y="56"/>
                  </a:lnTo>
                  <a:lnTo>
                    <a:pt x="33" y="67"/>
                  </a:lnTo>
                  <a:lnTo>
                    <a:pt x="33" y="80"/>
                  </a:lnTo>
                  <a:lnTo>
                    <a:pt x="33" y="80"/>
                  </a:lnTo>
                  <a:close/>
                  <a:moveTo>
                    <a:pt x="120" y="56"/>
                  </a:moveTo>
                  <a:lnTo>
                    <a:pt x="120" y="56"/>
                  </a:lnTo>
                  <a:lnTo>
                    <a:pt x="113" y="46"/>
                  </a:lnTo>
                  <a:lnTo>
                    <a:pt x="103" y="39"/>
                  </a:lnTo>
                  <a:lnTo>
                    <a:pt x="118" y="11"/>
                  </a:lnTo>
                  <a:lnTo>
                    <a:pt x="118" y="11"/>
                  </a:lnTo>
                  <a:lnTo>
                    <a:pt x="127" y="17"/>
                  </a:lnTo>
                  <a:lnTo>
                    <a:pt x="135" y="22"/>
                  </a:lnTo>
                  <a:lnTo>
                    <a:pt x="142" y="31"/>
                  </a:lnTo>
                  <a:lnTo>
                    <a:pt x="148" y="39"/>
                  </a:lnTo>
                  <a:lnTo>
                    <a:pt x="120" y="56"/>
                  </a:lnTo>
                  <a:close/>
                  <a:moveTo>
                    <a:pt x="55" y="39"/>
                  </a:moveTo>
                  <a:lnTo>
                    <a:pt x="40" y="11"/>
                  </a:lnTo>
                  <a:lnTo>
                    <a:pt x="40" y="11"/>
                  </a:lnTo>
                  <a:lnTo>
                    <a:pt x="48" y="7"/>
                  </a:lnTo>
                  <a:lnTo>
                    <a:pt x="59" y="4"/>
                  </a:lnTo>
                  <a:lnTo>
                    <a:pt x="68" y="2"/>
                  </a:lnTo>
                  <a:lnTo>
                    <a:pt x="79" y="0"/>
                  </a:lnTo>
                  <a:lnTo>
                    <a:pt x="79" y="31"/>
                  </a:lnTo>
                  <a:lnTo>
                    <a:pt x="79" y="31"/>
                  </a:lnTo>
                  <a:lnTo>
                    <a:pt x="66" y="33"/>
                  </a:lnTo>
                  <a:lnTo>
                    <a:pt x="55" y="39"/>
                  </a:lnTo>
                  <a:lnTo>
                    <a:pt x="55"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4" name="Freeform 19">
              <a:extLst>
                <a:ext uri="{FF2B5EF4-FFF2-40B4-BE49-F238E27FC236}">
                  <a16:creationId xmlns:a16="http://schemas.microsoft.com/office/drawing/2014/main" id="{A07D8E24-3110-46B6-B53F-2B5E015BBD24}"/>
                </a:ext>
              </a:extLst>
            </p:cNvPr>
            <p:cNvSpPr>
              <a:spLocks noEditPoints="1"/>
            </p:cNvSpPr>
            <p:nvPr/>
          </p:nvSpPr>
          <p:spPr bwMode="auto">
            <a:xfrm>
              <a:off x="6278563" y="1609726"/>
              <a:ext cx="655638" cy="741363"/>
            </a:xfrm>
            <a:custGeom>
              <a:avLst/>
              <a:gdLst>
                <a:gd name="T0" fmla="*/ 17 w 413"/>
                <a:gd name="T1" fmla="*/ 452 h 467"/>
                <a:gd name="T2" fmla="*/ 2 w 413"/>
                <a:gd name="T3" fmla="*/ 435 h 467"/>
                <a:gd name="T4" fmla="*/ 19 w 413"/>
                <a:gd name="T5" fmla="*/ 437 h 467"/>
                <a:gd name="T6" fmla="*/ 11 w 413"/>
                <a:gd name="T7" fmla="*/ 389 h 467"/>
                <a:gd name="T8" fmla="*/ 32 w 413"/>
                <a:gd name="T9" fmla="*/ 378 h 467"/>
                <a:gd name="T10" fmla="*/ 37 w 413"/>
                <a:gd name="T11" fmla="*/ 365 h 467"/>
                <a:gd name="T12" fmla="*/ 28 w 413"/>
                <a:gd name="T13" fmla="*/ 343 h 467"/>
                <a:gd name="T14" fmla="*/ 43 w 413"/>
                <a:gd name="T15" fmla="*/ 350 h 467"/>
                <a:gd name="T16" fmla="*/ 65 w 413"/>
                <a:gd name="T17" fmla="*/ 311 h 467"/>
                <a:gd name="T18" fmla="*/ 61 w 413"/>
                <a:gd name="T19" fmla="*/ 289 h 467"/>
                <a:gd name="T20" fmla="*/ 74 w 413"/>
                <a:gd name="T21" fmla="*/ 298 h 467"/>
                <a:gd name="T22" fmla="*/ 93 w 413"/>
                <a:gd name="T23" fmla="*/ 254 h 467"/>
                <a:gd name="T24" fmla="*/ 337 w 413"/>
                <a:gd name="T25" fmla="*/ 272 h 467"/>
                <a:gd name="T26" fmla="*/ 345 w 413"/>
                <a:gd name="T27" fmla="*/ 256 h 467"/>
                <a:gd name="T28" fmla="*/ 313 w 413"/>
                <a:gd name="T29" fmla="*/ 267 h 467"/>
                <a:gd name="T30" fmla="*/ 319 w 413"/>
                <a:gd name="T31" fmla="*/ 252 h 467"/>
                <a:gd name="T32" fmla="*/ 360 w 413"/>
                <a:gd name="T33" fmla="*/ 247 h 467"/>
                <a:gd name="T34" fmla="*/ 365 w 413"/>
                <a:gd name="T35" fmla="*/ 263 h 467"/>
                <a:gd name="T36" fmla="*/ 113 w 413"/>
                <a:gd name="T37" fmla="*/ 235 h 467"/>
                <a:gd name="T38" fmla="*/ 122 w 413"/>
                <a:gd name="T39" fmla="*/ 248 h 467"/>
                <a:gd name="T40" fmla="*/ 284 w 413"/>
                <a:gd name="T41" fmla="*/ 252 h 467"/>
                <a:gd name="T42" fmla="*/ 284 w 413"/>
                <a:gd name="T43" fmla="*/ 252 h 467"/>
                <a:gd name="T44" fmla="*/ 150 w 413"/>
                <a:gd name="T45" fmla="*/ 228 h 467"/>
                <a:gd name="T46" fmla="*/ 361 w 413"/>
                <a:gd name="T47" fmla="*/ 230 h 467"/>
                <a:gd name="T48" fmla="*/ 374 w 413"/>
                <a:gd name="T49" fmla="*/ 219 h 467"/>
                <a:gd name="T50" fmla="*/ 254 w 413"/>
                <a:gd name="T51" fmla="*/ 211 h 467"/>
                <a:gd name="T52" fmla="*/ 165 w 413"/>
                <a:gd name="T53" fmla="*/ 222 h 467"/>
                <a:gd name="T54" fmla="*/ 178 w 413"/>
                <a:gd name="T55" fmla="*/ 215 h 467"/>
                <a:gd name="T56" fmla="*/ 339 w 413"/>
                <a:gd name="T57" fmla="*/ 204 h 467"/>
                <a:gd name="T58" fmla="*/ 358 w 413"/>
                <a:gd name="T59" fmla="*/ 196 h 467"/>
                <a:gd name="T60" fmla="*/ 200 w 413"/>
                <a:gd name="T61" fmla="*/ 189 h 467"/>
                <a:gd name="T62" fmla="*/ 221 w 413"/>
                <a:gd name="T63" fmla="*/ 200 h 467"/>
                <a:gd name="T64" fmla="*/ 235 w 413"/>
                <a:gd name="T65" fmla="*/ 196 h 467"/>
                <a:gd name="T66" fmla="*/ 310 w 413"/>
                <a:gd name="T67" fmla="*/ 196 h 467"/>
                <a:gd name="T68" fmla="*/ 250 w 413"/>
                <a:gd name="T69" fmla="*/ 195 h 467"/>
                <a:gd name="T70" fmla="*/ 263 w 413"/>
                <a:gd name="T71" fmla="*/ 178 h 467"/>
                <a:gd name="T72" fmla="*/ 265 w 413"/>
                <a:gd name="T73" fmla="*/ 193 h 467"/>
                <a:gd name="T74" fmla="*/ 295 w 413"/>
                <a:gd name="T75" fmla="*/ 195 h 467"/>
                <a:gd name="T76" fmla="*/ 295 w 413"/>
                <a:gd name="T77" fmla="*/ 195 h 467"/>
                <a:gd name="T78" fmla="*/ 265 w 413"/>
                <a:gd name="T79" fmla="*/ 148 h 467"/>
                <a:gd name="T80" fmla="*/ 254 w 413"/>
                <a:gd name="T81" fmla="*/ 130 h 467"/>
                <a:gd name="T82" fmla="*/ 269 w 413"/>
                <a:gd name="T83" fmla="*/ 135 h 467"/>
                <a:gd name="T84" fmla="*/ 276 w 413"/>
                <a:gd name="T85" fmla="*/ 87 h 467"/>
                <a:gd name="T86" fmla="*/ 298 w 413"/>
                <a:gd name="T87" fmla="*/ 85 h 467"/>
                <a:gd name="T88" fmla="*/ 310 w 413"/>
                <a:gd name="T89" fmla="*/ 74 h 467"/>
                <a:gd name="T90" fmla="*/ 310 w 413"/>
                <a:gd name="T91" fmla="*/ 52 h 467"/>
                <a:gd name="T92" fmla="*/ 321 w 413"/>
                <a:gd name="T93" fmla="*/ 65 h 467"/>
                <a:gd name="T94" fmla="*/ 358 w 413"/>
                <a:gd name="T95" fmla="*/ 39 h 467"/>
                <a:gd name="T96" fmla="*/ 363 w 413"/>
                <a:gd name="T97" fmla="*/ 19 h 467"/>
                <a:gd name="T98" fmla="*/ 371 w 413"/>
                <a:gd name="T99" fmla="*/ 33 h 467"/>
                <a:gd name="T100" fmla="*/ 408 w 413"/>
                <a:gd name="T101"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3" h="467">
                  <a:moveTo>
                    <a:pt x="17" y="467"/>
                  </a:moveTo>
                  <a:lnTo>
                    <a:pt x="0" y="467"/>
                  </a:lnTo>
                  <a:lnTo>
                    <a:pt x="0" y="467"/>
                  </a:lnTo>
                  <a:lnTo>
                    <a:pt x="2" y="450"/>
                  </a:lnTo>
                  <a:lnTo>
                    <a:pt x="17" y="452"/>
                  </a:lnTo>
                  <a:lnTo>
                    <a:pt x="17" y="452"/>
                  </a:lnTo>
                  <a:lnTo>
                    <a:pt x="17" y="467"/>
                  </a:lnTo>
                  <a:lnTo>
                    <a:pt x="17" y="467"/>
                  </a:lnTo>
                  <a:close/>
                  <a:moveTo>
                    <a:pt x="19" y="437"/>
                  </a:moveTo>
                  <a:lnTo>
                    <a:pt x="2" y="435"/>
                  </a:lnTo>
                  <a:lnTo>
                    <a:pt x="2" y="435"/>
                  </a:lnTo>
                  <a:lnTo>
                    <a:pt x="6" y="419"/>
                  </a:lnTo>
                  <a:lnTo>
                    <a:pt x="21" y="423"/>
                  </a:lnTo>
                  <a:lnTo>
                    <a:pt x="21" y="423"/>
                  </a:lnTo>
                  <a:lnTo>
                    <a:pt x="19" y="437"/>
                  </a:lnTo>
                  <a:lnTo>
                    <a:pt x="19" y="437"/>
                  </a:lnTo>
                  <a:close/>
                  <a:moveTo>
                    <a:pt x="24" y="408"/>
                  </a:moveTo>
                  <a:lnTo>
                    <a:pt x="8" y="404"/>
                  </a:lnTo>
                  <a:lnTo>
                    <a:pt x="8" y="404"/>
                  </a:lnTo>
                  <a:lnTo>
                    <a:pt x="11" y="389"/>
                  </a:lnTo>
                  <a:lnTo>
                    <a:pt x="28" y="393"/>
                  </a:lnTo>
                  <a:lnTo>
                    <a:pt x="28" y="393"/>
                  </a:lnTo>
                  <a:lnTo>
                    <a:pt x="24" y="408"/>
                  </a:lnTo>
                  <a:lnTo>
                    <a:pt x="24" y="408"/>
                  </a:lnTo>
                  <a:close/>
                  <a:moveTo>
                    <a:pt x="32" y="378"/>
                  </a:moveTo>
                  <a:lnTo>
                    <a:pt x="17" y="373"/>
                  </a:lnTo>
                  <a:lnTo>
                    <a:pt x="17" y="373"/>
                  </a:lnTo>
                  <a:lnTo>
                    <a:pt x="22" y="358"/>
                  </a:lnTo>
                  <a:lnTo>
                    <a:pt x="37" y="365"/>
                  </a:lnTo>
                  <a:lnTo>
                    <a:pt x="37" y="365"/>
                  </a:lnTo>
                  <a:lnTo>
                    <a:pt x="32" y="378"/>
                  </a:lnTo>
                  <a:lnTo>
                    <a:pt x="32" y="378"/>
                  </a:lnTo>
                  <a:close/>
                  <a:moveTo>
                    <a:pt x="43" y="350"/>
                  </a:moveTo>
                  <a:lnTo>
                    <a:pt x="28" y="343"/>
                  </a:lnTo>
                  <a:lnTo>
                    <a:pt x="28" y="343"/>
                  </a:lnTo>
                  <a:lnTo>
                    <a:pt x="35" y="330"/>
                  </a:lnTo>
                  <a:lnTo>
                    <a:pt x="50" y="337"/>
                  </a:lnTo>
                  <a:lnTo>
                    <a:pt x="50" y="337"/>
                  </a:lnTo>
                  <a:lnTo>
                    <a:pt x="43" y="350"/>
                  </a:lnTo>
                  <a:lnTo>
                    <a:pt x="43" y="350"/>
                  </a:lnTo>
                  <a:close/>
                  <a:moveTo>
                    <a:pt x="58" y="324"/>
                  </a:moveTo>
                  <a:lnTo>
                    <a:pt x="43" y="315"/>
                  </a:lnTo>
                  <a:lnTo>
                    <a:pt x="43" y="315"/>
                  </a:lnTo>
                  <a:lnTo>
                    <a:pt x="52" y="302"/>
                  </a:lnTo>
                  <a:lnTo>
                    <a:pt x="65" y="311"/>
                  </a:lnTo>
                  <a:lnTo>
                    <a:pt x="65" y="311"/>
                  </a:lnTo>
                  <a:lnTo>
                    <a:pt x="58" y="324"/>
                  </a:lnTo>
                  <a:lnTo>
                    <a:pt x="58" y="324"/>
                  </a:lnTo>
                  <a:close/>
                  <a:moveTo>
                    <a:pt x="74" y="298"/>
                  </a:moveTo>
                  <a:lnTo>
                    <a:pt x="61" y="289"/>
                  </a:lnTo>
                  <a:lnTo>
                    <a:pt x="61" y="289"/>
                  </a:lnTo>
                  <a:lnTo>
                    <a:pt x="71" y="276"/>
                  </a:lnTo>
                  <a:lnTo>
                    <a:pt x="84" y="287"/>
                  </a:lnTo>
                  <a:lnTo>
                    <a:pt x="84" y="287"/>
                  </a:lnTo>
                  <a:lnTo>
                    <a:pt x="74" y="298"/>
                  </a:lnTo>
                  <a:lnTo>
                    <a:pt x="74" y="298"/>
                  </a:lnTo>
                  <a:close/>
                  <a:moveTo>
                    <a:pt x="93" y="276"/>
                  </a:moveTo>
                  <a:lnTo>
                    <a:pt x="82" y="265"/>
                  </a:lnTo>
                  <a:lnTo>
                    <a:pt x="82" y="265"/>
                  </a:lnTo>
                  <a:lnTo>
                    <a:pt x="93" y="254"/>
                  </a:lnTo>
                  <a:lnTo>
                    <a:pt x="104" y="265"/>
                  </a:lnTo>
                  <a:lnTo>
                    <a:pt x="104" y="265"/>
                  </a:lnTo>
                  <a:lnTo>
                    <a:pt x="93" y="276"/>
                  </a:lnTo>
                  <a:lnTo>
                    <a:pt x="93" y="276"/>
                  </a:lnTo>
                  <a:close/>
                  <a:moveTo>
                    <a:pt x="337" y="272"/>
                  </a:moveTo>
                  <a:lnTo>
                    <a:pt x="337" y="272"/>
                  </a:lnTo>
                  <a:lnTo>
                    <a:pt x="330" y="271"/>
                  </a:lnTo>
                  <a:lnTo>
                    <a:pt x="332" y="256"/>
                  </a:lnTo>
                  <a:lnTo>
                    <a:pt x="332" y="256"/>
                  </a:lnTo>
                  <a:lnTo>
                    <a:pt x="345" y="256"/>
                  </a:lnTo>
                  <a:lnTo>
                    <a:pt x="348" y="271"/>
                  </a:lnTo>
                  <a:lnTo>
                    <a:pt x="348" y="271"/>
                  </a:lnTo>
                  <a:lnTo>
                    <a:pt x="337" y="272"/>
                  </a:lnTo>
                  <a:lnTo>
                    <a:pt x="337" y="272"/>
                  </a:lnTo>
                  <a:close/>
                  <a:moveTo>
                    <a:pt x="313" y="267"/>
                  </a:moveTo>
                  <a:lnTo>
                    <a:pt x="313" y="267"/>
                  </a:lnTo>
                  <a:lnTo>
                    <a:pt x="298" y="261"/>
                  </a:lnTo>
                  <a:lnTo>
                    <a:pt x="306" y="247"/>
                  </a:lnTo>
                  <a:lnTo>
                    <a:pt x="306" y="247"/>
                  </a:lnTo>
                  <a:lnTo>
                    <a:pt x="319" y="252"/>
                  </a:lnTo>
                  <a:lnTo>
                    <a:pt x="313" y="267"/>
                  </a:lnTo>
                  <a:close/>
                  <a:moveTo>
                    <a:pt x="365" y="263"/>
                  </a:moveTo>
                  <a:lnTo>
                    <a:pt x="356" y="250"/>
                  </a:lnTo>
                  <a:lnTo>
                    <a:pt x="356" y="250"/>
                  </a:lnTo>
                  <a:lnTo>
                    <a:pt x="360" y="247"/>
                  </a:lnTo>
                  <a:lnTo>
                    <a:pt x="361" y="241"/>
                  </a:lnTo>
                  <a:lnTo>
                    <a:pt x="376" y="247"/>
                  </a:lnTo>
                  <a:lnTo>
                    <a:pt x="376" y="247"/>
                  </a:lnTo>
                  <a:lnTo>
                    <a:pt x="373" y="256"/>
                  </a:lnTo>
                  <a:lnTo>
                    <a:pt x="365" y="263"/>
                  </a:lnTo>
                  <a:lnTo>
                    <a:pt x="365" y="263"/>
                  </a:lnTo>
                  <a:close/>
                  <a:moveTo>
                    <a:pt x="115" y="254"/>
                  </a:moveTo>
                  <a:lnTo>
                    <a:pt x="104" y="243"/>
                  </a:lnTo>
                  <a:lnTo>
                    <a:pt x="104" y="243"/>
                  </a:lnTo>
                  <a:lnTo>
                    <a:pt x="113" y="235"/>
                  </a:lnTo>
                  <a:lnTo>
                    <a:pt x="113" y="235"/>
                  </a:lnTo>
                  <a:lnTo>
                    <a:pt x="117" y="234"/>
                  </a:lnTo>
                  <a:lnTo>
                    <a:pt x="126" y="245"/>
                  </a:lnTo>
                  <a:lnTo>
                    <a:pt x="126" y="245"/>
                  </a:lnTo>
                  <a:lnTo>
                    <a:pt x="122" y="248"/>
                  </a:lnTo>
                  <a:lnTo>
                    <a:pt x="122" y="248"/>
                  </a:lnTo>
                  <a:lnTo>
                    <a:pt x="115" y="254"/>
                  </a:lnTo>
                  <a:lnTo>
                    <a:pt x="115" y="254"/>
                  </a:lnTo>
                  <a:close/>
                  <a:moveTo>
                    <a:pt x="284" y="252"/>
                  </a:moveTo>
                  <a:lnTo>
                    <a:pt x="284" y="252"/>
                  </a:lnTo>
                  <a:lnTo>
                    <a:pt x="271" y="241"/>
                  </a:lnTo>
                  <a:lnTo>
                    <a:pt x="284" y="230"/>
                  </a:lnTo>
                  <a:lnTo>
                    <a:pt x="284" y="230"/>
                  </a:lnTo>
                  <a:lnTo>
                    <a:pt x="293" y="239"/>
                  </a:lnTo>
                  <a:lnTo>
                    <a:pt x="284" y="252"/>
                  </a:lnTo>
                  <a:close/>
                  <a:moveTo>
                    <a:pt x="139" y="237"/>
                  </a:moveTo>
                  <a:lnTo>
                    <a:pt x="130" y="224"/>
                  </a:lnTo>
                  <a:lnTo>
                    <a:pt x="130" y="224"/>
                  </a:lnTo>
                  <a:lnTo>
                    <a:pt x="143" y="215"/>
                  </a:lnTo>
                  <a:lnTo>
                    <a:pt x="150" y="228"/>
                  </a:lnTo>
                  <a:lnTo>
                    <a:pt x="150" y="228"/>
                  </a:lnTo>
                  <a:lnTo>
                    <a:pt x="139" y="237"/>
                  </a:lnTo>
                  <a:lnTo>
                    <a:pt x="139" y="237"/>
                  </a:lnTo>
                  <a:close/>
                  <a:moveTo>
                    <a:pt x="361" y="230"/>
                  </a:moveTo>
                  <a:lnTo>
                    <a:pt x="361" y="230"/>
                  </a:lnTo>
                  <a:lnTo>
                    <a:pt x="360" y="224"/>
                  </a:lnTo>
                  <a:lnTo>
                    <a:pt x="358" y="219"/>
                  </a:lnTo>
                  <a:lnTo>
                    <a:pt x="371" y="209"/>
                  </a:lnTo>
                  <a:lnTo>
                    <a:pt x="371" y="209"/>
                  </a:lnTo>
                  <a:lnTo>
                    <a:pt x="374" y="219"/>
                  </a:lnTo>
                  <a:lnTo>
                    <a:pt x="378" y="228"/>
                  </a:lnTo>
                  <a:lnTo>
                    <a:pt x="361" y="230"/>
                  </a:lnTo>
                  <a:close/>
                  <a:moveTo>
                    <a:pt x="261" y="226"/>
                  </a:moveTo>
                  <a:lnTo>
                    <a:pt x="261" y="226"/>
                  </a:lnTo>
                  <a:lnTo>
                    <a:pt x="254" y="211"/>
                  </a:lnTo>
                  <a:lnTo>
                    <a:pt x="269" y="206"/>
                  </a:lnTo>
                  <a:lnTo>
                    <a:pt x="269" y="206"/>
                  </a:lnTo>
                  <a:lnTo>
                    <a:pt x="276" y="219"/>
                  </a:lnTo>
                  <a:lnTo>
                    <a:pt x="261" y="226"/>
                  </a:lnTo>
                  <a:close/>
                  <a:moveTo>
                    <a:pt x="165" y="222"/>
                  </a:moveTo>
                  <a:lnTo>
                    <a:pt x="158" y="208"/>
                  </a:lnTo>
                  <a:lnTo>
                    <a:pt x="158" y="208"/>
                  </a:lnTo>
                  <a:lnTo>
                    <a:pt x="171" y="200"/>
                  </a:lnTo>
                  <a:lnTo>
                    <a:pt x="178" y="215"/>
                  </a:lnTo>
                  <a:lnTo>
                    <a:pt x="178" y="215"/>
                  </a:lnTo>
                  <a:lnTo>
                    <a:pt x="165" y="222"/>
                  </a:lnTo>
                  <a:lnTo>
                    <a:pt x="165" y="222"/>
                  </a:lnTo>
                  <a:close/>
                  <a:moveTo>
                    <a:pt x="348" y="209"/>
                  </a:moveTo>
                  <a:lnTo>
                    <a:pt x="348" y="209"/>
                  </a:lnTo>
                  <a:lnTo>
                    <a:pt x="339" y="204"/>
                  </a:lnTo>
                  <a:lnTo>
                    <a:pt x="337" y="204"/>
                  </a:lnTo>
                  <a:lnTo>
                    <a:pt x="343" y="189"/>
                  </a:lnTo>
                  <a:lnTo>
                    <a:pt x="345" y="189"/>
                  </a:lnTo>
                  <a:lnTo>
                    <a:pt x="345" y="189"/>
                  </a:lnTo>
                  <a:lnTo>
                    <a:pt x="358" y="196"/>
                  </a:lnTo>
                  <a:lnTo>
                    <a:pt x="348" y="209"/>
                  </a:lnTo>
                  <a:close/>
                  <a:moveTo>
                    <a:pt x="191" y="209"/>
                  </a:moveTo>
                  <a:lnTo>
                    <a:pt x="185" y="195"/>
                  </a:lnTo>
                  <a:lnTo>
                    <a:pt x="185" y="195"/>
                  </a:lnTo>
                  <a:lnTo>
                    <a:pt x="200" y="189"/>
                  </a:lnTo>
                  <a:lnTo>
                    <a:pt x="206" y="204"/>
                  </a:lnTo>
                  <a:lnTo>
                    <a:pt x="206" y="204"/>
                  </a:lnTo>
                  <a:lnTo>
                    <a:pt x="191" y="209"/>
                  </a:lnTo>
                  <a:lnTo>
                    <a:pt x="191" y="209"/>
                  </a:lnTo>
                  <a:close/>
                  <a:moveTo>
                    <a:pt x="221" y="200"/>
                  </a:moveTo>
                  <a:lnTo>
                    <a:pt x="217" y="185"/>
                  </a:lnTo>
                  <a:lnTo>
                    <a:pt x="217" y="185"/>
                  </a:lnTo>
                  <a:lnTo>
                    <a:pt x="232" y="182"/>
                  </a:lnTo>
                  <a:lnTo>
                    <a:pt x="235" y="196"/>
                  </a:lnTo>
                  <a:lnTo>
                    <a:pt x="235" y="196"/>
                  </a:lnTo>
                  <a:lnTo>
                    <a:pt x="221" y="200"/>
                  </a:lnTo>
                  <a:lnTo>
                    <a:pt x="221" y="200"/>
                  </a:lnTo>
                  <a:close/>
                  <a:moveTo>
                    <a:pt x="323" y="198"/>
                  </a:moveTo>
                  <a:lnTo>
                    <a:pt x="323" y="198"/>
                  </a:lnTo>
                  <a:lnTo>
                    <a:pt x="310" y="196"/>
                  </a:lnTo>
                  <a:lnTo>
                    <a:pt x="311" y="180"/>
                  </a:lnTo>
                  <a:lnTo>
                    <a:pt x="311" y="180"/>
                  </a:lnTo>
                  <a:lnTo>
                    <a:pt x="328" y="184"/>
                  </a:lnTo>
                  <a:lnTo>
                    <a:pt x="323" y="198"/>
                  </a:lnTo>
                  <a:close/>
                  <a:moveTo>
                    <a:pt x="250" y="195"/>
                  </a:moveTo>
                  <a:lnTo>
                    <a:pt x="250" y="195"/>
                  </a:lnTo>
                  <a:lnTo>
                    <a:pt x="247" y="178"/>
                  </a:lnTo>
                  <a:lnTo>
                    <a:pt x="252" y="178"/>
                  </a:lnTo>
                  <a:lnTo>
                    <a:pt x="252" y="178"/>
                  </a:lnTo>
                  <a:lnTo>
                    <a:pt x="263" y="178"/>
                  </a:lnTo>
                  <a:lnTo>
                    <a:pt x="263" y="184"/>
                  </a:lnTo>
                  <a:lnTo>
                    <a:pt x="263" y="184"/>
                  </a:lnTo>
                  <a:lnTo>
                    <a:pt x="265" y="193"/>
                  </a:lnTo>
                  <a:lnTo>
                    <a:pt x="265" y="193"/>
                  </a:lnTo>
                  <a:lnTo>
                    <a:pt x="265" y="193"/>
                  </a:lnTo>
                  <a:lnTo>
                    <a:pt x="265" y="193"/>
                  </a:lnTo>
                  <a:lnTo>
                    <a:pt x="252" y="195"/>
                  </a:lnTo>
                  <a:lnTo>
                    <a:pt x="250" y="195"/>
                  </a:lnTo>
                  <a:close/>
                  <a:moveTo>
                    <a:pt x="295" y="195"/>
                  </a:moveTo>
                  <a:lnTo>
                    <a:pt x="295" y="195"/>
                  </a:lnTo>
                  <a:lnTo>
                    <a:pt x="280" y="193"/>
                  </a:lnTo>
                  <a:lnTo>
                    <a:pt x="280" y="178"/>
                  </a:lnTo>
                  <a:lnTo>
                    <a:pt x="280" y="178"/>
                  </a:lnTo>
                  <a:lnTo>
                    <a:pt x="295" y="178"/>
                  </a:lnTo>
                  <a:lnTo>
                    <a:pt x="295" y="195"/>
                  </a:lnTo>
                  <a:close/>
                  <a:moveTo>
                    <a:pt x="263" y="163"/>
                  </a:moveTo>
                  <a:lnTo>
                    <a:pt x="247" y="163"/>
                  </a:lnTo>
                  <a:lnTo>
                    <a:pt x="247" y="163"/>
                  </a:lnTo>
                  <a:lnTo>
                    <a:pt x="248" y="146"/>
                  </a:lnTo>
                  <a:lnTo>
                    <a:pt x="265" y="148"/>
                  </a:lnTo>
                  <a:lnTo>
                    <a:pt x="265" y="148"/>
                  </a:lnTo>
                  <a:lnTo>
                    <a:pt x="263" y="163"/>
                  </a:lnTo>
                  <a:lnTo>
                    <a:pt x="263" y="163"/>
                  </a:lnTo>
                  <a:close/>
                  <a:moveTo>
                    <a:pt x="269" y="135"/>
                  </a:moveTo>
                  <a:lnTo>
                    <a:pt x="254" y="130"/>
                  </a:lnTo>
                  <a:lnTo>
                    <a:pt x="254" y="130"/>
                  </a:lnTo>
                  <a:lnTo>
                    <a:pt x="260" y="115"/>
                  </a:lnTo>
                  <a:lnTo>
                    <a:pt x="274" y="122"/>
                  </a:lnTo>
                  <a:lnTo>
                    <a:pt x="274" y="122"/>
                  </a:lnTo>
                  <a:lnTo>
                    <a:pt x="269" y="135"/>
                  </a:lnTo>
                  <a:lnTo>
                    <a:pt x="269" y="135"/>
                  </a:lnTo>
                  <a:close/>
                  <a:moveTo>
                    <a:pt x="280" y="109"/>
                  </a:moveTo>
                  <a:lnTo>
                    <a:pt x="267" y="100"/>
                  </a:lnTo>
                  <a:lnTo>
                    <a:pt x="267" y="100"/>
                  </a:lnTo>
                  <a:lnTo>
                    <a:pt x="276" y="87"/>
                  </a:lnTo>
                  <a:lnTo>
                    <a:pt x="289" y="96"/>
                  </a:lnTo>
                  <a:lnTo>
                    <a:pt x="289" y="96"/>
                  </a:lnTo>
                  <a:lnTo>
                    <a:pt x="280" y="109"/>
                  </a:lnTo>
                  <a:lnTo>
                    <a:pt x="280" y="109"/>
                  </a:lnTo>
                  <a:close/>
                  <a:moveTo>
                    <a:pt x="298" y="85"/>
                  </a:moveTo>
                  <a:lnTo>
                    <a:pt x="287" y="74"/>
                  </a:lnTo>
                  <a:lnTo>
                    <a:pt x="287" y="74"/>
                  </a:lnTo>
                  <a:lnTo>
                    <a:pt x="298" y="63"/>
                  </a:lnTo>
                  <a:lnTo>
                    <a:pt x="310" y="74"/>
                  </a:lnTo>
                  <a:lnTo>
                    <a:pt x="310" y="74"/>
                  </a:lnTo>
                  <a:lnTo>
                    <a:pt x="298" y="85"/>
                  </a:lnTo>
                  <a:lnTo>
                    <a:pt x="298" y="85"/>
                  </a:lnTo>
                  <a:close/>
                  <a:moveTo>
                    <a:pt x="321" y="65"/>
                  </a:moveTo>
                  <a:lnTo>
                    <a:pt x="310" y="52"/>
                  </a:lnTo>
                  <a:lnTo>
                    <a:pt x="310" y="52"/>
                  </a:lnTo>
                  <a:lnTo>
                    <a:pt x="323" y="43"/>
                  </a:lnTo>
                  <a:lnTo>
                    <a:pt x="332" y="56"/>
                  </a:lnTo>
                  <a:lnTo>
                    <a:pt x="332" y="56"/>
                  </a:lnTo>
                  <a:lnTo>
                    <a:pt x="321" y="65"/>
                  </a:lnTo>
                  <a:lnTo>
                    <a:pt x="321" y="65"/>
                  </a:lnTo>
                  <a:close/>
                  <a:moveTo>
                    <a:pt x="345" y="48"/>
                  </a:moveTo>
                  <a:lnTo>
                    <a:pt x="336" y="33"/>
                  </a:lnTo>
                  <a:lnTo>
                    <a:pt x="336" y="33"/>
                  </a:lnTo>
                  <a:lnTo>
                    <a:pt x="350" y="26"/>
                  </a:lnTo>
                  <a:lnTo>
                    <a:pt x="358" y="39"/>
                  </a:lnTo>
                  <a:lnTo>
                    <a:pt x="358" y="39"/>
                  </a:lnTo>
                  <a:lnTo>
                    <a:pt x="345" y="48"/>
                  </a:lnTo>
                  <a:lnTo>
                    <a:pt x="345" y="48"/>
                  </a:lnTo>
                  <a:close/>
                  <a:moveTo>
                    <a:pt x="371" y="33"/>
                  </a:moveTo>
                  <a:lnTo>
                    <a:pt x="363" y="19"/>
                  </a:lnTo>
                  <a:lnTo>
                    <a:pt x="363" y="19"/>
                  </a:lnTo>
                  <a:lnTo>
                    <a:pt x="378" y="11"/>
                  </a:lnTo>
                  <a:lnTo>
                    <a:pt x="384" y="26"/>
                  </a:lnTo>
                  <a:lnTo>
                    <a:pt x="384" y="26"/>
                  </a:lnTo>
                  <a:lnTo>
                    <a:pt x="371" y="33"/>
                  </a:lnTo>
                  <a:lnTo>
                    <a:pt x="371" y="33"/>
                  </a:lnTo>
                  <a:close/>
                  <a:moveTo>
                    <a:pt x="399" y="20"/>
                  </a:moveTo>
                  <a:lnTo>
                    <a:pt x="393" y="6"/>
                  </a:lnTo>
                  <a:lnTo>
                    <a:pt x="393" y="6"/>
                  </a:lnTo>
                  <a:lnTo>
                    <a:pt x="408" y="0"/>
                  </a:lnTo>
                  <a:lnTo>
                    <a:pt x="413" y="15"/>
                  </a:lnTo>
                  <a:lnTo>
                    <a:pt x="413" y="15"/>
                  </a:lnTo>
                  <a:lnTo>
                    <a:pt x="399" y="20"/>
                  </a:lnTo>
                  <a:lnTo>
                    <a:pt x="39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5" name="Freeform 20">
              <a:extLst>
                <a:ext uri="{FF2B5EF4-FFF2-40B4-BE49-F238E27FC236}">
                  <a16:creationId xmlns:a16="http://schemas.microsoft.com/office/drawing/2014/main" id="{E5C1E150-AC0F-46F4-90FD-E7B898FA966A}"/>
                </a:ext>
              </a:extLst>
            </p:cNvPr>
            <p:cNvSpPr>
              <a:spLocks/>
            </p:cNvSpPr>
            <p:nvPr/>
          </p:nvSpPr>
          <p:spPr bwMode="auto">
            <a:xfrm>
              <a:off x="6892926" y="1509713"/>
              <a:ext cx="333375" cy="227013"/>
            </a:xfrm>
            <a:custGeom>
              <a:avLst/>
              <a:gdLst>
                <a:gd name="T0" fmla="*/ 0 w 210"/>
                <a:gd name="T1" fmla="*/ 0 h 143"/>
                <a:gd name="T2" fmla="*/ 210 w 210"/>
                <a:gd name="T3" fmla="*/ 22 h 143"/>
                <a:gd name="T4" fmla="*/ 37 w 210"/>
                <a:gd name="T5" fmla="*/ 143 h 143"/>
                <a:gd name="T6" fmla="*/ 52 w 210"/>
                <a:gd name="T7" fmla="*/ 63 h 143"/>
                <a:gd name="T8" fmla="*/ 0 w 210"/>
                <a:gd name="T9" fmla="*/ 0 h 143"/>
              </a:gdLst>
              <a:ahLst/>
              <a:cxnLst>
                <a:cxn ang="0">
                  <a:pos x="T0" y="T1"/>
                </a:cxn>
                <a:cxn ang="0">
                  <a:pos x="T2" y="T3"/>
                </a:cxn>
                <a:cxn ang="0">
                  <a:pos x="T4" y="T5"/>
                </a:cxn>
                <a:cxn ang="0">
                  <a:pos x="T6" y="T7"/>
                </a:cxn>
                <a:cxn ang="0">
                  <a:pos x="T8" y="T9"/>
                </a:cxn>
              </a:cxnLst>
              <a:rect l="0" t="0" r="r" b="b"/>
              <a:pathLst>
                <a:path w="210" h="143">
                  <a:moveTo>
                    <a:pt x="0" y="0"/>
                  </a:moveTo>
                  <a:lnTo>
                    <a:pt x="210" y="22"/>
                  </a:lnTo>
                  <a:lnTo>
                    <a:pt x="37" y="143"/>
                  </a:lnTo>
                  <a:lnTo>
                    <a:pt x="52" y="63"/>
                  </a:lnTo>
                  <a:lnTo>
                    <a:pt x="0" y="0"/>
                  </a:lnTo>
                  <a:close/>
                </a:path>
              </a:pathLst>
            </a:custGeom>
            <a:solidFill>
              <a:srgbClr val="FDD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6" name="Freeform 21">
              <a:extLst>
                <a:ext uri="{FF2B5EF4-FFF2-40B4-BE49-F238E27FC236}">
                  <a16:creationId xmlns:a16="http://schemas.microsoft.com/office/drawing/2014/main" id="{A6B00549-6E79-4A66-A9AC-76B18EF982BA}"/>
                </a:ext>
              </a:extLst>
            </p:cNvPr>
            <p:cNvSpPr>
              <a:spLocks/>
            </p:cNvSpPr>
            <p:nvPr/>
          </p:nvSpPr>
          <p:spPr bwMode="auto">
            <a:xfrm>
              <a:off x="6892926" y="1495426"/>
              <a:ext cx="365125" cy="252413"/>
            </a:xfrm>
            <a:custGeom>
              <a:avLst/>
              <a:gdLst>
                <a:gd name="T0" fmla="*/ 43 w 230"/>
                <a:gd name="T1" fmla="*/ 159 h 159"/>
                <a:gd name="T2" fmla="*/ 34 w 230"/>
                <a:gd name="T3" fmla="*/ 144 h 159"/>
                <a:gd name="T4" fmla="*/ 188 w 230"/>
                <a:gd name="T5" fmla="*/ 37 h 159"/>
                <a:gd name="T6" fmla="*/ 0 w 230"/>
                <a:gd name="T7" fmla="*/ 17 h 159"/>
                <a:gd name="T8" fmla="*/ 2 w 230"/>
                <a:gd name="T9" fmla="*/ 0 h 159"/>
                <a:gd name="T10" fmla="*/ 230 w 230"/>
                <a:gd name="T11" fmla="*/ 26 h 159"/>
                <a:gd name="T12" fmla="*/ 43 w 230"/>
                <a:gd name="T13" fmla="*/ 159 h 159"/>
              </a:gdLst>
              <a:ahLst/>
              <a:cxnLst>
                <a:cxn ang="0">
                  <a:pos x="T0" y="T1"/>
                </a:cxn>
                <a:cxn ang="0">
                  <a:pos x="T2" y="T3"/>
                </a:cxn>
                <a:cxn ang="0">
                  <a:pos x="T4" y="T5"/>
                </a:cxn>
                <a:cxn ang="0">
                  <a:pos x="T6" y="T7"/>
                </a:cxn>
                <a:cxn ang="0">
                  <a:pos x="T8" y="T9"/>
                </a:cxn>
                <a:cxn ang="0">
                  <a:pos x="T10" y="T11"/>
                </a:cxn>
                <a:cxn ang="0">
                  <a:pos x="T12" y="T13"/>
                </a:cxn>
              </a:cxnLst>
              <a:rect l="0" t="0" r="r" b="b"/>
              <a:pathLst>
                <a:path w="230" h="159">
                  <a:moveTo>
                    <a:pt x="43" y="159"/>
                  </a:moveTo>
                  <a:lnTo>
                    <a:pt x="34" y="144"/>
                  </a:lnTo>
                  <a:lnTo>
                    <a:pt x="188" y="37"/>
                  </a:lnTo>
                  <a:lnTo>
                    <a:pt x="0" y="17"/>
                  </a:lnTo>
                  <a:lnTo>
                    <a:pt x="2" y="0"/>
                  </a:lnTo>
                  <a:lnTo>
                    <a:pt x="230" y="26"/>
                  </a:lnTo>
                  <a:lnTo>
                    <a:pt x="43"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7" name="Freeform 22">
              <a:extLst>
                <a:ext uri="{FF2B5EF4-FFF2-40B4-BE49-F238E27FC236}">
                  <a16:creationId xmlns:a16="http://schemas.microsoft.com/office/drawing/2014/main" id="{CA62D7A7-19FF-4900-B22A-9231F1B725C5}"/>
                </a:ext>
              </a:extLst>
            </p:cNvPr>
            <p:cNvSpPr>
              <a:spLocks/>
            </p:cNvSpPr>
            <p:nvPr/>
          </p:nvSpPr>
          <p:spPr bwMode="auto">
            <a:xfrm>
              <a:off x="6961188" y="1574801"/>
              <a:ext cx="100013" cy="49213"/>
            </a:xfrm>
            <a:custGeom>
              <a:avLst/>
              <a:gdLst>
                <a:gd name="T0" fmla="*/ 4 w 63"/>
                <a:gd name="T1" fmla="*/ 31 h 31"/>
                <a:gd name="T2" fmla="*/ 0 w 63"/>
                <a:gd name="T3" fmla="*/ 15 h 31"/>
                <a:gd name="T4" fmla="*/ 59 w 63"/>
                <a:gd name="T5" fmla="*/ 0 h 31"/>
                <a:gd name="T6" fmla="*/ 63 w 63"/>
                <a:gd name="T7" fmla="*/ 17 h 31"/>
                <a:gd name="T8" fmla="*/ 4 w 63"/>
                <a:gd name="T9" fmla="*/ 31 h 31"/>
              </a:gdLst>
              <a:ahLst/>
              <a:cxnLst>
                <a:cxn ang="0">
                  <a:pos x="T0" y="T1"/>
                </a:cxn>
                <a:cxn ang="0">
                  <a:pos x="T2" y="T3"/>
                </a:cxn>
                <a:cxn ang="0">
                  <a:pos x="T4" y="T5"/>
                </a:cxn>
                <a:cxn ang="0">
                  <a:pos x="T6" y="T7"/>
                </a:cxn>
                <a:cxn ang="0">
                  <a:pos x="T8" y="T9"/>
                </a:cxn>
              </a:cxnLst>
              <a:rect l="0" t="0" r="r" b="b"/>
              <a:pathLst>
                <a:path w="63" h="31">
                  <a:moveTo>
                    <a:pt x="4" y="31"/>
                  </a:moveTo>
                  <a:lnTo>
                    <a:pt x="0" y="15"/>
                  </a:lnTo>
                  <a:lnTo>
                    <a:pt x="59" y="0"/>
                  </a:lnTo>
                  <a:lnTo>
                    <a:pt x="63" y="17"/>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8" name="Freeform 23">
              <a:extLst>
                <a:ext uri="{FF2B5EF4-FFF2-40B4-BE49-F238E27FC236}">
                  <a16:creationId xmlns:a16="http://schemas.microsoft.com/office/drawing/2014/main" id="{EF35C378-0478-4BB7-B3BC-655E20591445}"/>
                </a:ext>
              </a:extLst>
            </p:cNvPr>
            <p:cNvSpPr>
              <a:spLocks noEditPoints="1"/>
            </p:cNvSpPr>
            <p:nvPr/>
          </p:nvSpPr>
          <p:spPr bwMode="auto">
            <a:xfrm>
              <a:off x="7164388" y="1812926"/>
              <a:ext cx="320675" cy="317500"/>
            </a:xfrm>
            <a:custGeom>
              <a:avLst/>
              <a:gdLst>
                <a:gd name="T0" fmla="*/ 102 w 202"/>
                <a:gd name="T1" fmla="*/ 200 h 200"/>
                <a:gd name="T2" fmla="*/ 63 w 202"/>
                <a:gd name="T3" fmla="*/ 193 h 200"/>
                <a:gd name="T4" fmla="*/ 30 w 202"/>
                <a:gd name="T5" fmla="*/ 170 h 200"/>
                <a:gd name="T6" fmla="*/ 9 w 202"/>
                <a:gd name="T7" fmla="*/ 139 h 200"/>
                <a:gd name="T8" fmla="*/ 0 w 202"/>
                <a:gd name="T9" fmla="*/ 100 h 200"/>
                <a:gd name="T10" fmla="*/ 2 w 202"/>
                <a:gd name="T11" fmla="*/ 80 h 200"/>
                <a:gd name="T12" fmla="*/ 18 w 202"/>
                <a:gd name="T13" fmla="*/ 43 h 200"/>
                <a:gd name="T14" fmla="*/ 44 w 202"/>
                <a:gd name="T15" fmla="*/ 17 h 200"/>
                <a:gd name="T16" fmla="*/ 81 w 202"/>
                <a:gd name="T17" fmla="*/ 2 h 200"/>
                <a:gd name="T18" fmla="*/ 102 w 202"/>
                <a:gd name="T19" fmla="*/ 0 h 200"/>
                <a:gd name="T20" fmla="*/ 141 w 202"/>
                <a:gd name="T21" fmla="*/ 7 h 200"/>
                <a:gd name="T22" fmla="*/ 172 w 202"/>
                <a:gd name="T23" fmla="*/ 28 h 200"/>
                <a:gd name="T24" fmla="*/ 194 w 202"/>
                <a:gd name="T25" fmla="*/ 61 h 200"/>
                <a:gd name="T26" fmla="*/ 202 w 202"/>
                <a:gd name="T27" fmla="*/ 100 h 200"/>
                <a:gd name="T28" fmla="*/ 200 w 202"/>
                <a:gd name="T29" fmla="*/ 120 h 200"/>
                <a:gd name="T30" fmla="*/ 185 w 202"/>
                <a:gd name="T31" fmla="*/ 156 h 200"/>
                <a:gd name="T32" fmla="*/ 157 w 202"/>
                <a:gd name="T33" fmla="*/ 183 h 200"/>
                <a:gd name="T34" fmla="*/ 122 w 202"/>
                <a:gd name="T35" fmla="*/ 198 h 200"/>
                <a:gd name="T36" fmla="*/ 102 w 202"/>
                <a:gd name="T37" fmla="*/ 200 h 200"/>
                <a:gd name="T38" fmla="*/ 102 w 202"/>
                <a:gd name="T39" fmla="*/ 26 h 200"/>
                <a:gd name="T40" fmla="*/ 72 w 202"/>
                <a:gd name="T41" fmla="*/ 31 h 200"/>
                <a:gd name="T42" fmla="*/ 48 w 202"/>
                <a:gd name="T43" fmla="*/ 48 h 200"/>
                <a:gd name="T44" fmla="*/ 33 w 202"/>
                <a:gd name="T45" fmla="*/ 70 h 200"/>
                <a:gd name="T46" fmla="*/ 28 w 202"/>
                <a:gd name="T47" fmla="*/ 100 h 200"/>
                <a:gd name="T48" fmla="*/ 30 w 202"/>
                <a:gd name="T49" fmla="*/ 115 h 200"/>
                <a:gd name="T50" fmla="*/ 41 w 202"/>
                <a:gd name="T51" fmla="*/ 141 h 200"/>
                <a:gd name="T52" fmla="*/ 59 w 202"/>
                <a:gd name="T53" fmla="*/ 161 h 200"/>
                <a:gd name="T54" fmla="*/ 87 w 202"/>
                <a:gd name="T55" fmla="*/ 172 h 200"/>
                <a:gd name="T56" fmla="*/ 102 w 202"/>
                <a:gd name="T57" fmla="*/ 174 h 200"/>
                <a:gd name="T58" fmla="*/ 130 w 202"/>
                <a:gd name="T59" fmla="*/ 169 h 200"/>
                <a:gd name="T60" fmla="*/ 154 w 202"/>
                <a:gd name="T61" fmla="*/ 152 h 200"/>
                <a:gd name="T62" fmla="*/ 168 w 202"/>
                <a:gd name="T63" fmla="*/ 128 h 200"/>
                <a:gd name="T64" fmla="*/ 176 w 202"/>
                <a:gd name="T65" fmla="*/ 100 h 200"/>
                <a:gd name="T66" fmla="*/ 174 w 202"/>
                <a:gd name="T67" fmla="*/ 85 h 200"/>
                <a:gd name="T68" fmla="*/ 163 w 202"/>
                <a:gd name="T69" fmla="*/ 57 h 200"/>
                <a:gd name="T70" fmla="*/ 143 w 202"/>
                <a:gd name="T71" fmla="*/ 39 h 200"/>
                <a:gd name="T72" fmla="*/ 117 w 202"/>
                <a:gd name="T73" fmla="*/ 28 h 200"/>
                <a:gd name="T74" fmla="*/ 102 w 202"/>
                <a:gd name="T75" fmla="*/ 2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2" h="200">
                  <a:moveTo>
                    <a:pt x="102" y="200"/>
                  </a:moveTo>
                  <a:lnTo>
                    <a:pt x="102" y="200"/>
                  </a:lnTo>
                  <a:lnTo>
                    <a:pt x="81" y="198"/>
                  </a:lnTo>
                  <a:lnTo>
                    <a:pt x="63" y="193"/>
                  </a:lnTo>
                  <a:lnTo>
                    <a:pt x="44" y="183"/>
                  </a:lnTo>
                  <a:lnTo>
                    <a:pt x="30" y="170"/>
                  </a:lnTo>
                  <a:lnTo>
                    <a:pt x="18" y="156"/>
                  </a:lnTo>
                  <a:lnTo>
                    <a:pt x="9" y="139"/>
                  </a:lnTo>
                  <a:lnTo>
                    <a:pt x="2" y="120"/>
                  </a:lnTo>
                  <a:lnTo>
                    <a:pt x="0" y="100"/>
                  </a:lnTo>
                  <a:lnTo>
                    <a:pt x="0" y="100"/>
                  </a:lnTo>
                  <a:lnTo>
                    <a:pt x="2" y="80"/>
                  </a:lnTo>
                  <a:lnTo>
                    <a:pt x="9" y="61"/>
                  </a:lnTo>
                  <a:lnTo>
                    <a:pt x="18" y="43"/>
                  </a:lnTo>
                  <a:lnTo>
                    <a:pt x="30" y="28"/>
                  </a:lnTo>
                  <a:lnTo>
                    <a:pt x="44" y="17"/>
                  </a:lnTo>
                  <a:lnTo>
                    <a:pt x="63" y="7"/>
                  </a:lnTo>
                  <a:lnTo>
                    <a:pt x="81" y="2"/>
                  </a:lnTo>
                  <a:lnTo>
                    <a:pt x="102" y="0"/>
                  </a:lnTo>
                  <a:lnTo>
                    <a:pt x="102" y="0"/>
                  </a:lnTo>
                  <a:lnTo>
                    <a:pt x="122" y="2"/>
                  </a:lnTo>
                  <a:lnTo>
                    <a:pt x="141" y="7"/>
                  </a:lnTo>
                  <a:lnTo>
                    <a:pt x="157" y="17"/>
                  </a:lnTo>
                  <a:lnTo>
                    <a:pt x="172" y="28"/>
                  </a:lnTo>
                  <a:lnTo>
                    <a:pt x="185" y="43"/>
                  </a:lnTo>
                  <a:lnTo>
                    <a:pt x="194" y="61"/>
                  </a:lnTo>
                  <a:lnTo>
                    <a:pt x="200" y="80"/>
                  </a:lnTo>
                  <a:lnTo>
                    <a:pt x="202" y="100"/>
                  </a:lnTo>
                  <a:lnTo>
                    <a:pt x="202" y="100"/>
                  </a:lnTo>
                  <a:lnTo>
                    <a:pt x="200" y="120"/>
                  </a:lnTo>
                  <a:lnTo>
                    <a:pt x="194" y="139"/>
                  </a:lnTo>
                  <a:lnTo>
                    <a:pt x="185" y="156"/>
                  </a:lnTo>
                  <a:lnTo>
                    <a:pt x="172" y="170"/>
                  </a:lnTo>
                  <a:lnTo>
                    <a:pt x="157" y="183"/>
                  </a:lnTo>
                  <a:lnTo>
                    <a:pt x="141" y="193"/>
                  </a:lnTo>
                  <a:lnTo>
                    <a:pt x="122" y="198"/>
                  </a:lnTo>
                  <a:lnTo>
                    <a:pt x="102" y="200"/>
                  </a:lnTo>
                  <a:lnTo>
                    <a:pt x="102" y="200"/>
                  </a:lnTo>
                  <a:close/>
                  <a:moveTo>
                    <a:pt x="102" y="26"/>
                  </a:moveTo>
                  <a:lnTo>
                    <a:pt x="102" y="26"/>
                  </a:lnTo>
                  <a:lnTo>
                    <a:pt x="87" y="28"/>
                  </a:lnTo>
                  <a:lnTo>
                    <a:pt x="72" y="31"/>
                  </a:lnTo>
                  <a:lnTo>
                    <a:pt x="59" y="39"/>
                  </a:lnTo>
                  <a:lnTo>
                    <a:pt x="48" y="48"/>
                  </a:lnTo>
                  <a:lnTo>
                    <a:pt x="41" y="57"/>
                  </a:lnTo>
                  <a:lnTo>
                    <a:pt x="33" y="70"/>
                  </a:lnTo>
                  <a:lnTo>
                    <a:pt x="30" y="85"/>
                  </a:lnTo>
                  <a:lnTo>
                    <a:pt x="28" y="100"/>
                  </a:lnTo>
                  <a:lnTo>
                    <a:pt x="28" y="100"/>
                  </a:lnTo>
                  <a:lnTo>
                    <a:pt x="30" y="115"/>
                  </a:lnTo>
                  <a:lnTo>
                    <a:pt x="33" y="128"/>
                  </a:lnTo>
                  <a:lnTo>
                    <a:pt x="41" y="141"/>
                  </a:lnTo>
                  <a:lnTo>
                    <a:pt x="48" y="152"/>
                  </a:lnTo>
                  <a:lnTo>
                    <a:pt x="59" y="161"/>
                  </a:lnTo>
                  <a:lnTo>
                    <a:pt x="72" y="169"/>
                  </a:lnTo>
                  <a:lnTo>
                    <a:pt x="87" y="172"/>
                  </a:lnTo>
                  <a:lnTo>
                    <a:pt x="102" y="174"/>
                  </a:lnTo>
                  <a:lnTo>
                    <a:pt x="102" y="174"/>
                  </a:lnTo>
                  <a:lnTo>
                    <a:pt x="117" y="172"/>
                  </a:lnTo>
                  <a:lnTo>
                    <a:pt x="130" y="169"/>
                  </a:lnTo>
                  <a:lnTo>
                    <a:pt x="143" y="161"/>
                  </a:lnTo>
                  <a:lnTo>
                    <a:pt x="154" y="152"/>
                  </a:lnTo>
                  <a:lnTo>
                    <a:pt x="163" y="141"/>
                  </a:lnTo>
                  <a:lnTo>
                    <a:pt x="168" y="128"/>
                  </a:lnTo>
                  <a:lnTo>
                    <a:pt x="174" y="115"/>
                  </a:lnTo>
                  <a:lnTo>
                    <a:pt x="176" y="100"/>
                  </a:lnTo>
                  <a:lnTo>
                    <a:pt x="176" y="100"/>
                  </a:lnTo>
                  <a:lnTo>
                    <a:pt x="174" y="85"/>
                  </a:lnTo>
                  <a:lnTo>
                    <a:pt x="168" y="70"/>
                  </a:lnTo>
                  <a:lnTo>
                    <a:pt x="163" y="57"/>
                  </a:lnTo>
                  <a:lnTo>
                    <a:pt x="154" y="48"/>
                  </a:lnTo>
                  <a:lnTo>
                    <a:pt x="143" y="39"/>
                  </a:lnTo>
                  <a:lnTo>
                    <a:pt x="130" y="31"/>
                  </a:lnTo>
                  <a:lnTo>
                    <a:pt x="117" y="28"/>
                  </a:lnTo>
                  <a:lnTo>
                    <a:pt x="102" y="26"/>
                  </a:lnTo>
                  <a:lnTo>
                    <a:pt x="102"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29" name="Freeform 24">
              <a:extLst>
                <a:ext uri="{FF2B5EF4-FFF2-40B4-BE49-F238E27FC236}">
                  <a16:creationId xmlns:a16="http://schemas.microsoft.com/office/drawing/2014/main" id="{7F0513B2-6C11-4E7B-8C13-ECB0581A6AAA}"/>
                </a:ext>
              </a:extLst>
            </p:cNvPr>
            <p:cNvSpPr>
              <a:spLocks noEditPoints="1"/>
            </p:cNvSpPr>
            <p:nvPr/>
          </p:nvSpPr>
          <p:spPr bwMode="auto">
            <a:xfrm>
              <a:off x="7251701" y="1898651"/>
              <a:ext cx="144463" cy="142875"/>
            </a:xfrm>
            <a:custGeom>
              <a:avLst/>
              <a:gdLst>
                <a:gd name="T0" fmla="*/ 47 w 91"/>
                <a:gd name="T1" fmla="*/ 90 h 90"/>
                <a:gd name="T2" fmla="*/ 47 w 91"/>
                <a:gd name="T3" fmla="*/ 90 h 90"/>
                <a:gd name="T4" fmla="*/ 38 w 91"/>
                <a:gd name="T5" fmla="*/ 90 h 90"/>
                <a:gd name="T6" fmla="*/ 28 w 91"/>
                <a:gd name="T7" fmla="*/ 87 h 90"/>
                <a:gd name="T8" fmla="*/ 21 w 91"/>
                <a:gd name="T9" fmla="*/ 83 h 90"/>
                <a:gd name="T10" fmla="*/ 13 w 91"/>
                <a:gd name="T11" fmla="*/ 77 h 90"/>
                <a:gd name="T12" fmla="*/ 8 w 91"/>
                <a:gd name="T13" fmla="*/ 70 h 90"/>
                <a:gd name="T14" fmla="*/ 4 w 91"/>
                <a:gd name="T15" fmla="*/ 63 h 90"/>
                <a:gd name="T16" fmla="*/ 2 w 91"/>
                <a:gd name="T17" fmla="*/ 55 h 90"/>
                <a:gd name="T18" fmla="*/ 0 w 91"/>
                <a:gd name="T19" fmla="*/ 46 h 90"/>
                <a:gd name="T20" fmla="*/ 0 w 91"/>
                <a:gd name="T21" fmla="*/ 46 h 90"/>
                <a:gd name="T22" fmla="*/ 2 w 91"/>
                <a:gd name="T23" fmla="*/ 37 h 90"/>
                <a:gd name="T24" fmla="*/ 4 w 91"/>
                <a:gd name="T25" fmla="*/ 27 h 90"/>
                <a:gd name="T26" fmla="*/ 8 w 91"/>
                <a:gd name="T27" fmla="*/ 20 h 90"/>
                <a:gd name="T28" fmla="*/ 13 w 91"/>
                <a:gd name="T29" fmla="*/ 13 h 90"/>
                <a:gd name="T30" fmla="*/ 21 w 91"/>
                <a:gd name="T31" fmla="*/ 7 h 90"/>
                <a:gd name="T32" fmla="*/ 28 w 91"/>
                <a:gd name="T33" fmla="*/ 3 h 90"/>
                <a:gd name="T34" fmla="*/ 38 w 91"/>
                <a:gd name="T35" fmla="*/ 2 h 90"/>
                <a:gd name="T36" fmla="*/ 47 w 91"/>
                <a:gd name="T37" fmla="*/ 0 h 90"/>
                <a:gd name="T38" fmla="*/ 47 w 91"/>
                <a:gd name="T39" fmla="*/ 0 h 90"/>
                <a:gd name="T40" fmla="*/ 56 w 91"/>
                <a:gd name="T41" fmla="*/ 2 h 90"/>
                <a:gd name="T42" fmla="*/ 63 w 91"/>
                <a:gd name="T43" fmla="*/ 3 h 90"/>
                <a:gd name="T44" fmla="*/ 71 w 91"/>
                <a:gd name="T45" fmla="*/ 7 h 90"/>
                <a:gd name="T46" fmla="*/ 78 w 91"/>
                <a:gd name="T47" fmla="*/ 13 h 90"/>
                <a:gd name="T48" fmla="*/ 84 w 91"/>
                <a:gd name="T49" fmla="*/ 20 h 90"/>
                <a:gd name="T50" fmla="*/ 88 w 91"/>
                <a:gd name="T51" fmla="*/ 27 h 90"/>
                <a:gd name="T52" fmla="*/ 91 w 91"/>
                <a:gd name="T53" fmla="*/ 37 h 90"/>
                <a:gd name="T54" fmla="*/ 91 w 91"/>
                <a:gd name="T55" fmla="*/ 46 h 90"/>
                <a:gd name="T56" fmla="*/ 91 w 91"/>
                <a:gd name="T57" fmla="*/ 46 h 90"/>
                <a:gd name="T58" fmla="*/ 91 w 91"/>
                <a:gd name="T59" fmla="*/ 55 h 90"/>
                <a:gd name="T60" fmla="*/ 88 w 91"/>
                <a:gd name="T61" fmla="*/ 63 h 90"/>
                <a:gd name="T62" fmla="*/ 84 w 91"/>
                <a:gd name="T63" fmla="*/ 70 h 90"/>
                <a:gd name="T64" fmla="*/ 78 w 91"/>
                <a:gd name="T65" fmla="*/ 77 h 90"/>
                <a:gd name="T66" fmla="*/ 71 w 91"/>
                <a:gd name="T67" fmla="*/ 83 h 90"/>
                <a:gd name="T68" fmla="*/ 63 w 91"/>
                <a:gd name="T69" fmla="*/ 87 h 90"/>
                <a:gd name="T70" fmla="*/ 56 w 91"/>
                <a:gd name="T71" fmla="*/ 90 h 90"/>
                <a:gd name="T72" fmla="*/ 47 w 91"/>
                <a:gd name="T73" fmla="*/ 90 h 90"/>
                <a:gd name="T74" fmla="*/ 47 w 91"/>
                <a:gd name="T75" fmla="*/ 90 h 90"/>
                <a:gd name="T76" fmla="*/ 47 w 91"/>
                <a:gd name="T77" fmla="*/ 27 h 90"/>
                <a:gd name="T78" fmla="*/ 47 w 91"/>
                <a:gd name="T79" fmla="*/ 27 h 90"/>
                <a:gd name="T80" fmla="*/ 39 w 91"/>
                <a:gd name="T81" fmla="*/ 27 h 90"/>
                <a:gd name="T82" fmla="*/ 32 w 91"/>
                <a:gd name="T83" fmla="*/ 33 h 90"/>
                <a:gd name="T84" fmla="*/ 28 w 91"/>
                <a:gd name="T85" fmla="*/ 39 h 90"/>
                <a:gd name="T86" fmla="*/ 26 w 91"/>
                <a:gd name="T87" fmla="*/ 46 h 90"/>
                <a:gd name="T88" fmla="*/ 26 w 91"/>
                <a:gd name="T89" fmla="*/ 46 h 90"/>
                <a:gd name="T90" fmla="*/ 28 w 91"/>
                <a:gd name="T91" fmla="*/ 53 h 90"/>
                <a:gd name="T92" fmla="*/ 32 w 91"/>
                <a:gd name="T93" fmla="*/ 59 h 90"/>
                <a:gd name="T94" fmla="*/ 39 w 91"/>
                <a:gd name="T95" fmla="*/ 63 h 90"/>
                <a:gd name="T96" fmla="*/ 47 w 91"/>
                <a:gd name="T97" fmla="*/ 65 h 90"/>
                <a:gd name="T98" fmla="*/ 47 w 91"/>
                <a:gd name="T99" fmla="*/ 65 h 90"/>
                <a:gd name="T100" fmla="*/ 54 w 91"/>
                <a:gd name="T101" fmla="*/ 63 h 90"/>
                <a:gd name="T102" fmla="*/ 60 w 91"/>
                <a:gd name="T103" fmla="*/ 59 h 90"/>
                <a:gd name="T104" fmla="*/ 63 w 91"/>
                <a:gd name="T105" fmla="*/ 53 h 90"/>
                <a:gd name="T106" fmla="*/ 65 w 91"/>
                <a:gd name="T107" fmla="*/ 46 h 90"/>
                <a:gd name="T108" fmla="*/ 65 w 91"/>
                <a:gd name="T109" fmla="*/ 46 h 90"/>
                <a:gd name="T110" fmla="*/ 63 w 91"/>
                <a:gd name="T111" fmla="*/ 39 h 90"/>
                <a:gd name="T112" fmla="*/ 60 w 91"/>
                <a:gd name="T113" fmla="*/ 33 h 90"/>
                <a:gd name="T114" fmla="*/ 54 w 91"/>
                <a:gd name="T115" fmla="*/ 27 h 90"/>
                <a:gd name="T116" fmla="*/ 47 w 91"/>
                <a:gd name="T117" fmla="*/ 27 h 90"/>
                <a:gd name="T118" fmla="*/ 47 w 91"/>
                <a:gd name="T119"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0">
                  <a:moveTo>
                    <a:pt x="47" y="90"/>
                  </a:moveTo>
                  <a:lnTo>
                    <a:pt x="47" y="90"/>
                  </a:lnTo>
                  <a:lnTo>
                    <a:pt x="38" y="90"/>
                  </a:lnTo>
                  <a:lnTo>
                    <a:pt x="28" y="87"/>
                  </a:lnTo>
                  <a:lnTo>
                    <a:pt x="21" y="83"/>
                  </a:lnTo>
                  <a:lnTo>
                    <a:pt x="13" y="77"/>
                  </a:lnTo>
                  <a:lnTo>
                    <a:pt x="8" y="70"/>
                  </a:lnTo>
                  <a:lnTo>
                    <a:pt x="4" y="63"/>
                  </a:lnTo>
                  <a:lnTo>
                    <a:pt x="2" y="55"/>
                  </a:lnTo>
                  <a:lnTo>
                    <a:pt x="0" y="46"/>
                  </a:lnTo>
                  <a:lnTo>
                    <a:pt x="0" y="46"/>
                  </a:lnTo>
                  <a:lnTo>
                    <a:pt x="2" y="37"/>
                  </a:lnTo>
                  <a:lnTo>
                    <a:pt x="4" y="27"/>
                  </a:lnTo>
                  <a:lnTo>
                    <a:pt x="8" y="20"/>
                  </a:lnTo>
                  <a:lnTo>
                    <a:pt x="13" y="13"/>
                  </a:lnTo>
                  <a:lnTo>
                    <a:pt x="21" y="7"/>
                  </a:lnTo>
                  <a:lnTo>
                    <a:pt x="28" y="3"/>
                  </a:lnTo>
                  <a:lnTo>
                    <a:pt x="38" y="2"/>
                  </a:lnTo>
                  <a:lnTo>
                    <a:pt x="47" y="0"/>
                  </a:lnTo>
                  <a:lnTo>
                    <a:pt x="47" y="0"/>
                  </a:lnTo>
                  <a:lnTo>
                    <a:pt x="56" y="2"/>
                  </a:lnTo>
                  <a:lnTo>
                    <a:pt x="63" y="3"/>
                  </a:lnTo>
                  <a:lnTo>
                    <a:pt x="71" y="7"/>
                  </a:lnTo>
                  <a:lnTo>
                    <a:pt x="78" y="13"/>
                  </a:lnTo>
                  <a:lnTo>
                    <a:pt x="84" y="20"/>
                  </a:lnTo>
                  <a:lnTo>
                    <a:pt x="88" y="27"/>
                  </a:lnTo>
                  <a:lnTo>
                    <a:pt x="91" y="37"/>
                  </a:lnTo>
                  <a:lnTo>
                    <a:pt x="91" y="46"/>
                  </a:lnTo>
                  <a:lnTo>
                    <a:pt x="91" y="46"/>
                  </a:lnTo>
                  <a:lnTo>
                    <a:pt x="91" y="55"/>
                  </a:lnTo>
                  <a:lnTo>
                    <a:pt x="88" y="63"/>
                  </a:lnTo>
                  <a:lnTo>
                    <a:pt x="84" y="70"/>
                  </a:lnTo>
                  <a:lnTo>
                    <a:pt x="78" y="77"/>
                  </a:lnTo>
                  <a:lnTo>
                    <a:pt x="71" y="83"/>
                  </a:lnTo>
                  <a:lnTo>
                    <a:pt x="63" y="87"/>
                  </a:lnTo>
                  <a:lnTo>
                    <a:pt x="56" y="90"/>
                  </a:lnTo>
                  <a:lnTo>
                    <a:pt x="47" y="90"/>
                  </a:lnTo>
                  <a:lnTo>
                    <a:pt x="47" y="90"/>
                  </a:lnTo>
                  <a:close/>
                  <a:moveTo>
                    <a:pt x="47" y="27"/>
                  </a:moveTo>
                  <a:lnTo>
                    <a:pt x="47" y="27"/>
                  </a:lnTo>
                  <a:lnTo>
                    <a:pt x="39" y="27"/>
                  </a:lnTo>
                  <a:lnTo>
                    <a:pt x="32" y="33"/>
                  </a:lnTo>
                  <a:lnTo>
                    <a:pt x="28" y="39"/>
                  </a:lnTo>
                  <a:lnTo>
                    <a:pt x="26" y="46"/>
                  </a:lnTo>
                  <a:lnTo>
                    <a:pt x="26" y="46"/>
                  </a:lnTo>
                  <a:lnTo>
                    <a:pt x="28" y="53"/>
                  </a:lnTo>
                  <a:lnTo>
                    <a:pt x="32" y="59"/>
                  </a:lnTo>
                  <a:lnTo>
                    <a:pt x="39" y="63"/>
                  </a:lnTo>
                  <a:lnTo>
                    <a:pt x="47" y="65"/>
                  </a:lnTo>
                  <a:lnTo>
                    <a:pt x="47" y="65"/>
                  </a:lnTo>
                  <a:lnTo>
                    <a:pt x="54" y="63"/>
                  </a:lnTo>
                  <a:lnTo>
                    <a:pt x="60" y="59"/>
                  </a:lnTo>
                  <a:lnTo>
                    <a:pt x="63" y="53"/>
                  </a:lnTo>
                  <a:lnTo>
                    <a:pt x="65" y="46"/>
                  </a:lnTo>
                  <a:lnTo>
                    <a:pt x="65" y="46"/>
                  </a:lnTo>
                  <a:lnTo>
                    <a:pt x="63" y="39"/>
                  </a:lnTo>
                  <a:lnTo>
                    <a:pt x="60" y="33"/>
                  </a:lnTo>
                  <a:lnTo>
                    <a:pt x="54" y="27"/>
                  </a:lnTo>
                  <a:lnTo>
                    <a:pt x="47" y="27"/>
                  </a:lnTo>
                  <a:lnTo>
                    <a:pt x="4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0" name="Rectangle 25">
              <a:extLst>
                <a:ext uri="{FF2B5EF4-FFF2-40B4-BE49-F238E27FC236}">
                  <a16:creationId xmlns:a16="http://schemas.microsoft.com/office/drawing/2014/main" id="{3832D3E4-1020-4EAB-9492-CAF6888C1545}"/>
                </a:ext>
              </a:extLst>
            </p:cNvPr>
            <p:cNvSpPr>
              <a:spLocks noChangeArrowheads="1"/>
            </p:cNvSpPr>
            <p:nvPr/>
          </p:nvSpPr>
          <p:spPr bwMode="auto">
            <a:xfrm>
              <a:off x="7302501" y="1778001"/>
              <a:ext cx="44450" cy="555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1" name="Freeform 26">
              <a:extLst>
                <a:ext uri="{FF2B5EF4-FFF2-40B4-BE49-F238E27FC236}">
                  <a16:creationId xmlns:a16="http://schemas.microsoft.com/office/drawing/2014/main" id="{70BAE0E8-10A5-486A-AD62-4EC62AB80725}"/>
                </a:ext>
              </a:extLst>
            </p:cNvPr>
            <p:cNvSpPr>
              <a:spLocks/>
            </p:cNvSpPr>
            <p:nvPr/>
          </p:nvSpPr>
          <p:spPr bwMode="auto">
            <a:xfrm>
              <a:off x="7208838" y="1792288"/>
              <a:ext cx="63500" cy="69850"/>
            </a:xfrm>
            <a:custGeom>
              <a:avLst/>
              <a:gdLst>
                <a:gd name="T0" fmla="*/ 18 w 40"/>
                <a:gd name="T1" fmla="*/ 44 h 44"/>
                <a:gd name="T2" fmla="*/ 0 w 40"/>
                <a:gd name="T3" fmla="*/ 13 h 44"/>
                <a:gd name="T4" fmla="*/ 24 w 40"/>
                <a:gd name="T5" fmla="*/ 0 h 44"/>
                <a:gd name="T6" fmla="*/ 40 w 40"/>
                <a:gd name="T7" fmla="*/ 30 h 44"/>
                <a:gd name="T8" fmla="*/ 18 w 40"/>
                <a:gd name="T9" fmla="*/ 44 h 44"/>
              </a:gdLst>
              <a:ahLst/>
              <a:cxnLst>
                <a:cxn ang="0">
                  <a:pos x="T0" y="T1"/>
                </a:cxn>
                <a:cxn ang="0">
                  <a:pos x="T2" y="T3"/>
                </a:cxn>
                <a:cxn ang="0">
                  <a:pos x="T4" y="T5"/>
                </a:cxn>
                <a:cxn ang="0">
                  <a:pos x="T6" y="T7"/>
                </a:cxn>
                <a:cxn ang="0">
                  <a:pos x="T8" y="T9"/>
                </a:cxn>
              </a:cxnLst>
              <a:rect l="0" t="0" r="r" b="b"/>
              <a:pathLst>
                <a:path w="40" h="44">
                  <a:moveTo>
                    <a:pt x="18" y="44"/>
                  </a:moveTo>
                  <a:lnTo>
                    <a:pt x="0" y="13"/>
                  </a:lnTo>
                  <a:lnTo>
                    <a:pt x="24" y="0"/>
                  </a:lnTo>
                  <a:lnTo>
                    <a:pt x="40" y="30"/>
                  </a:lnTo>
                  <a:lnTo>
                    <a:pt x="18"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2" name="Freeform 27">
              <a:extLst>
                <a:ext uri="{FF2B5EF4-FFF2-40B4-BE49-F238E27FC236}">
                  <a16:creationId xmlns:a16="http://schemas.microsoft.com/office/drawing/2014/main" id="{F6CB6DFE-A724-4CA1-A8D8-C4663577999E}"/>
                </a:ext>
              </a:extLst>
            </p:cNvPr>
            <p:cNvSpPr>
              <a:spLocks/>
            </p:cNvSpPr>
            <p:nvPr/>
          </p:nvSpPr>
          <p:spPr bwMode="auto">
            <a:xfrm>
              <a:off x="7146926" y="1857376"/>
              <a:ext cx="66675" cy="61913"/>
            </a:xfrm>
            <a:custGeom>
              <a:avLst/>
              <a:gdLst>
                <a:gd name="T0" fmla="*/ 29 w 42"/>
                <a:gd name="T1" fmla="*/ 39 h 39"/>
                <a:gd name="T2" fmla="*/ 0 w 42"/>
                <a:gd name="T3" fmla="*/ 22 h 39"/>
                <a:gd name="T4" fmla="*/ 13 w 42"/>
                <a:gd name="T5" fmla="*/ 0 h 39"/>
                <a:gd name="T6" fmla="*/ 42 w 42"/>
                <a:gd name="T7" fmla="*/ 16 h 39"/>
                <a:gd name="T8" fmla="*/ 29 w 42"/>
                <a:gd name="T9" fmla="*/ 39 h 39"/>
              </a:gdLst>
              <a:ahLst/>
              <a:cxnLst>
                <a:cxn ang="0">
                  <a:pos x="T0" y="T1"/>
                </a:cxn>
                <a:cxn ang="0">
                  <a:pos x="T2" y="T3"/>
                </a:cxn>
                <a:cxn ang="0">
                  <a:pos x="T4" y="T5"/>
                </a:cxn>
                <a:cxn ang="0">
                  <a:pos x="T6" y="T7"/>
                </a:cxn>
                <a:cxn ang="0">
                  <a:pos x="T8" y="T9"/>
                </a:cxn>
              </a:cxnLst>
              <a:rect l="0" t="0" r="r" b="b"/>
              <a:pathLst>
                <a:path w="42" h="39">
                  <a:moveTo>
                    <a:pt x="29" y="39"/>
                  </a:moveTo>
                  <a:lnTo>
                    <a:pt x="0" y="22"/>
                  </a:lnTo>
                  <a:lnTo>
                    <a:pt x="13" y="0"/>
                  </a:lnTo>
                  <a:lnTo>
                    <a:pt x="42" y="16"/>
                  </a:lnTo>
                  <a:lnTo>
                    <a:pt x="2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3" name="Rectangle 28">
              <a:extLst>
                <a:ext uri="{FF2B5EF4-FFF2-40B4-BE49-F238E27FC236}">
                  <a16:creationId xmlns:a16="http://schemas.microsoft.com/office/drawing/2014/main" id="{1DDB2AE2-95AF-4169-AA20-C15F51250EE7}"/>
                </a:ext>
              </a:extLst>
            </p:cNvPr>
            <p:cNvSpPr>
              <a:spLocks noChangeArrowheads="1"/>
            </p:cNvSpPr>
            <p:nvPr/>
          </p:nvSpPr>
          <p:spPr bwMode="auto">
            <a:xfrm>
              <a:off x="7131051" y="1951038"/>
              <a:ext cx="57150" cy="412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4" name="Freeform 29">
              <a:extLst>
                <a:ext uri="{FF2B5EF4-FFF2-40B4-BE49-F238E27FC236}">
                  <a16:creationId xmlns:a16="http://schemas.microsoft.com/office/drawing/2014/main" id="{38171266-E5A9-46BD-9811-3F5745515923}"/>
                </a:ext>
              </a:extLst>
            </p:cNvPr>
            <p:cNvSpPr>
              <a:spLocks/>
            </p:cNvSpPr>
            <p:nvPr/>
          </p:nvSpPr>
          <p:spPr bwMode="auto">
            <a:xfrm>
              <a:off x="7146926" y="2020888"/>
              <a:ext cx="66675" cy="65088"/>
            </a:xfrm>
            <a:custGeom>
              <a:avLst/>
              <a:gdLst>
                <a:gd name="T0" fmla="*/ 13 w 42"/>
                <a:gd name="T1" fmla="*/ 41 h 41"/>
                <a:gd name="T2" fmla="*/ 0 w 42"/>
                <a:gd name="T3" fmla="*/ 19 h 41"/>
                <a:gd name="T4" fmla="*/ 29 w 42"/>
                <a:gd name="T5" fmla="*/ 0 h 41"/>
                <a:gd name="T6" fmla="*/ 42 w 42"/>
                <a:gd name="T7" fmla="*/ 25 h 41"/>
                <a:gd name="T8" fmla="*/ 13 w 42"/>
                <a:gd name="T9" fmla="*/ 41 h 41"/>
              </a:gdLst>
              <a:ahLst/>
              <a:cxnLst>
                <a:cxn ang="0">
                  <a:pos x="T0" y="T1"/>
                </a:cxn>
                <a:cxn ang="0">
                  <a:pos x="T2" y="T3"/>
                </a:cxn>
                <a:cxn ang="0">
                  <a:pos x="T4" y="T5"/>
                </a:cxn>
                <a:cxn ang="0">
                  <a:pos x="T6" y="T7"/>
                </a:cxn>
                <a:cxn ang="0">
                  <a:pos x="T8" y="T9"/>
                </a:cxn>
              </a:cxnLst>
              <a:rect l="0" t="0" r="r" b="b"/>
              <a:pathLst>
                <a:path w="42" h="41">
                  <a:moveTo>
                    <a:pt x="13" y="41"/>
                  </a:moveTo>
                  <a:lnTo>
                    <a:pt x="0" y="19"/>
                  </a:lnTo>
                  <a:lnTo>
                    <a:pt x="29" y="0"/>
                  </a:lnTo>
                  <a:lnTo>
                    <a:pt x="42" y="25"/>
                  </a:lnTo>
                  <a:lnTo>
                    <a:pt x="13"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5" name="Freeform 30">
              <a:extLst>
                <a:ext uri="{FF2B5EF4-FFF2-40B4-BE49-F238E27FC236}">
                  <a16:creationId xmlns:a16="http://schemas.microsoft.com/office/drawing/2014/main" id="{19645CF4-356E-4852-9550-5CA9685207B3}"/>
                </a:ext>
              </a:extLst>
            </p:cNvPr>
            <p:cNvSpPr>
              <a:spLocks/>
            </p:cNvSpPr>
            <p:nvPr/>
          </p:nvSpPr>
          <p:spPr bwMode="auto">
            <a:xfrm>
              <a:off x="7208838" y="2081213"/>
              <a:ext cx="63500" cy="66675"/>
            </a:xfrm>
            <a:custGeom>
              <a:avLst/>
              <a:gdLst>
                <a:gd name="T0" fmla="*/ 24 w 40"/>
                <a:gd name="T1" fmla="*/ 42 h 42"/>
                <a:gd name="T2" fmla="*/ 0 w 40"/>
                <a:gd name="T3" fmla="*/ 29 h 42"/>
                <a:gd name="T4" fmla="*/ 18 w 40"/>
                <a:gd name="T5" fmla="*/ 0 h 42"/>
                <a:gd name="T6" fmla="*/ 40 w 40"/>
                <a:gd name="T7" fmla="*/ 13 h 42"/>
                <a:gd name="T8" fmla="*/ 24 w 40"/>
                <a:gd name="T9" fmla="*/ 42 h 42"/>
              </a:gdLst>
              <a:ahLst/>
              <a:cxnLst>
                <a:cxn ang="0">
                  <a:pos x="T0" y="T1"/>
                </a:cxn>
                <a:cxn ang="0">
                  <a:pos x="T2" y="T3"/>
                </a:cxn>
                <a:cxn ang="0">
                  <a:pos x="T4" y="T5"/>
                </a:cxn>
                <a:cxn ang="0">
                  <a:pos x="T6" y="T7"/>
                </a:cxn>
                <a:cxn ang="0">
                  <a:pos x="T8" y="T9"/>
                </a:cxn>
              </a:cxnLst>
              <a:rect l="0" t="0" r="r" b="b"/>
              <a:pathLst>
                <a:path w="40" h="42">
                  <a:moveTo>
                    <a:pt x="24" y="42"/>
                  </a:moveTo>
                  <a:lnTo>
                    <a:pt x="0" y="29"/>
                  </a:lnTo>
                  <a:lnTo>
                    <a:pt x="18" y="0"/>
                  </a:lnTo>
                  <a:lnTo>
                    <a:pt x="40" y="13"/>
                  </a:lnTo>
                  <a:lnTo>
                    <a:pt x="24"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6" name="Rectangle 31">
              <a:extLst>
                <a:ext uri="{FF2B5EF4-FFF2-40B4-BE49-F238E27FC236}">
                  <a16:creationId xmlns:a16="http://schemas.microsoft.com/office/drawing/2014/main" id="{BE9C025A-330B-49F0-BC6A-262DC2D41B2F}"/>
                </a:ext>
              </a:extLst>
            </p:cNvPr>
            <p:cNvSpPr>
              <a:spLocks noChangeArrowheads="1"/>
            </p:cNvSpPr>
            <p:nvPr/>
          </p:nvSpPr>
          <p:spPr bwMode="auto">
            <a:xfrm>
              <a:off x="7302501" y="2109788"/>
              <a:ext cx="44450" cy="555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7" name="Freeform 32">
              <a:extLst>
                <a:ext uri="{FF2B5EF4-FFF2-40B4-BE49-F238E27FC236}">
                  <a16:creationId xmlns:a16="http://schemas.microsoft.com/office/drawing/2014/main" id="{B3CA0588-09A5-498E-9E41-3E1483D9BE1D}"/>
                </a:ext>
              </a:extLst>
            </p:cNvPr>
            <p:cNvSpPr>
              <a:spLocks/>
            </p:cNvSpPr>
            <p:nvPr/>
          </p:nvSpPr>
          <p:spPr bwMode="auto">
            <a:xfrm>
              <a:off x="7375526" y="2081213"/>
              <a:ext cx="65088" cy="66675"/>
            </a:xfrm>
            <a:custGeom>
              <a:avLst/>
              <a:gdLst>
                <a:gd name="T0" fmla="*/ 17 w 41"/>
                <a:gd name="T1" fmla="*/ 42 h 42"/>
                <a:gd name="T2" fmla="*/ 0 w 41"/>
                <a:gd name="T3" fmla="*/ 13 h 42"/>
                <a:gd name="T4" fmla="*/ 23 w 41"/>
                <a:gd name="T5" fmla="*/ 0 h 42"/>
                <a:gd name="T6" fmla="*/ 41 w 41"/>
                <a:gd name="T7" fmla="*/ 29 h 42"/>
                <a:gd name="T8" fmla="*/ 17 w 41"/>
                <a:gd name="T9" fmla="*/ 42 h 42"/>
              </a:gdLst>
              <a:ahLst/>
              <a:cxnLst>
                <a:cxn ang="0">
                  <a:pos x="T0" y="T1"/>
                </a:cxn>
                <a:cxn ang="0">
                  <a:pos x="T2" y="T3"/>
                </a:cxn>
                <a:cxn ang="0">
                  <a:pos x="T4" y="T5"/>
                </a:cxn>
                <a:cxn ang="0">
                  <a:pos x="T6" y="T7"/>
                </a:cxn>
                <a:cxn ang="0">
                  <a:pos x="T8" y="T9"/>
                </a:cxn>
              </a:cxnLst>
              <a:rect l="0" t="0" r="r" b="b"/>
              <a:pathLst>
                <a:path w="41" h="42">
                  <a:moveTo>
                    <a:pt x="17" y="42"/>
                  </a:moveTo>
                  <a:lnTo>
                    <a:pt x="0" y="13"/>
                  </a:lnTo>
                  <a:lnTo>
                    <a:pt x="23" y="0"/>
                  </a:lnTo>
                  <a:lnTo>
                    <a:pt x="41" y="29"/>
                  </a:lnTo>
                  <a:lnTo>
                    <a:pt x="17"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8" name="Freeform 33">
              <a:extLst>
                <a:ext uri="{FF2B5EF4-FFF2-40B4-BE49-F238E27FC236}">
                  <a16:creationId xmlns:a16="http://schemas.microsoft.com/office/drawing/2014/main" id="{B6085A61-418F-4BDB-BBBA-2673C7FB7B46}"/>
                </a:ext>
              </a:extLst>
            </p:cNvPr>
            <p:cNvSpPr>
              <a:spLocks/>
            </p:cNvSpPr>
            <p:nvPr/>
          </p:nvSpPr>
          <p:spPr bwMode="auto">
            <a:xfrm>
              <a:off x="7434263" y="2020888"/>
              <a:ext cx="68263" cy="65088"/>
            </a:xfrm>
            <a:custGeom>
              <a:avLst/>
              <a:gdLst>
                <a:gd name="T0" fmla="*/ 30 w 43"/>
                <a:gd name="T1" fmla="*/ 41 h 41"/>
                <a:gd name="T2" fmla="*/ 0 w 43"/>
                <a:gd name="T3" fmla="*/ 25 h 41"/>
                <a:gd name="T4" fmla="*/ 13 w 43"/>
                <a:gd name="T5" fmla="*/ 0 h 41"/>
                <a:gd name="T6" fmla="*/ 43 w 43"/>
                <a:gd name="T7" fmla="*/ 19 h 41"/>
                <a:gd name="T8" fmla="*/ 30 w 43"/>
                <a:gd name="T9" fmla="*/ 41 h 41"/>
              </a:gdLst>
              <a:ahLst/>
              <a:cxnLst>
                <a:cxn ang="0">
                  <a:pos x="T0" y="T1"/>
                </a:cxn>
                <a:cxn ang="0">
                  <a:pos x="T2" y="T3"/>
                </a:cxn>
                <a:cxn ang="0">
                  <a:pos x="T4" y="T5"/>
                </a:cxn>
                <a:cxn ang="0">
                  <a:pos x="T6" y="T7"/>
                </a:cxn>
                <a:cxn ang="0">
                  <a:pos x="T8" y="T9"/>
                </a:cxn>
              </a:cxnLst>
              <a:rect l="0" t="0" r="r" b="b"/>
              <a:pathLst>
                <a:path w="43" h="41">
                  <a:moveTo>
                    <a:pt x="30" y="41"/>
                  </a:moveTo>
                  <a:lnTo>
                    <a:pt x="0" y="25"/>
                  </a:lnTo>
                  <a:lnTo>
                    <a:pt x="13" y="0"/>
                  </a:lnTo>
                  <a:lnTo>
                    <a:pt x="43" y="19"/>
                  </a:lnTo>
                  <a:lnTo>
                    <a:pt x="3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39" name="Rectangle 34">
              <a:extLst>
                <a:ext uri="{FF2B5EF4-FFF2-40B4-BE49-F238E27FC236}">
                  <a16:creationId xmlns:a16="http://schemas.microsoft.com/office/drawing/2014/main" id="{7C3075B7-0732-4A2A-A4BA-DA138F54C5D4}"/>
                </a:ext>
              </a:extLst>
            </p:cNvPr>
            <p:cNvSpPr>
              <a:spLocks noChangeArrowheads="1"/>
            </p:cNvSpPr>
            <p:nvPr/>
          </p:nvSpPr>
          <p:spPr bwMode="auto">
            <a:xfrm>
              <a:off x="7464426" y="1951038"/>
              <a:ext cx="55563" cy="4127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40" name="Freeform 35">
              <a:extLst>
                <a:ext uri="{FF2B5EF4-FFF2-40B4-BE49-F238E27FC236}">
                  <a16:creationId xmlns:a16="http://schemas.microsoft.com/office/drawing/2014/main" id="{B91F3F2E-0D9B-4F1E-8841-C864648FBD7C}"/>
                </a:ext>
              </a:extLst>
            </p:cNvPr>
            <p:cNvSpPr>
              <a:spLocks/>
            </p:cNvSpPr>
            <p:nvPr/>
          </p:nvSpPr>
          <p:spPr bwMode="auto">
            <a:xfrm>
              <a:off x="7434263" y="1857376"/>
              <a:ext cx="68263" cy="61913"/>
            </a:xfrm>
            <a:custGeom>
              <a:avLst/>
              <a:gdLst>
                <a:gd name="T0" fmla="*/ 13 w 43"/>
                <a:gd name="T1" fmla="*/ 39 h 39"/>
                <a:gd name="T2" fmla="*/ 0 w 43"/>
                <a:gd name="T3" fmla="*/ 16 h 39"/>
                <a:gd name="T4" fmla="*/ 30 w 43"/>
                <a:gd name="T5" fmla="*/ 0 h 39"/>
                <a:gd name="T6" fmla="*/ 43 w 43"/>
                <a:gd name="T7" fmla="*/ 22 h 39"/>
                <a:gd name="T8" fmla="*/ 13 w 43"/>
                <a:gd name="T9" fmla="*/ 39 h 39"/>
              </a:gdLst>
              <a:ahLst/>
              <a:cxnLst>
                <a:cxn ang="0">
                  <a:pos x="T0" y="T1"/>
                </a:cxn>
                <a:cxn ang="0">
                  <a:pos x="T2" y="T3"/>
                </a:cxn>
                <a:cxn ang="0">
                  <a:pos x="T4" y="T5"/>
                </a:cxn>
                <a:cxn ang="0">
                  <a:pos x="T6" y="T7"/>
                </a:cxn>
                <a:cxn ang="0">
                  <a:pos x="T8" y="T9"/>
                </a:cxn>
              </a:cxnLst>
              <a:rect l="0" t="0" r="r" b="b"/>
              <a:pathLst>
                <a:path w="43" h="39">
                  <a:moveTo>
                    <a:pt x="13" y="39"/>
                  </a:moveTo>
                  <a:lnTo>
                    <a:pt x="0" y="16"/>
                  </a:lnTo>
                  <a:lnTo>
                    <a:pt x="30" y="0"/>
                  </a:lnTo>
                  <a:lnTo>
                    <a:pt x="43" y="22"/>
                  </a:lnTo>
                  <a:lnTo>
                    <a:pt x="13"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41" name="Freeform 36">
              <a:extLst>
                <a:ext uri="{FF2B5EF4-FFF2-40B4-BE49-F238E27FC236}">
                  <a16:creationId xmlns:a16="http://schemas.microsoft.com/office/drawing/2014/main" id="{714DF4C4-D96F-4BBF-BCB3-004139BDF4DF}"/>
                </a:ext>
              </a:extLst>
            </p:cNvPr>
            <p:cNvSpPr>
              <a:spLocks/>
            </p:cNvSpPr>
            <p:nvPr/>
          </p:nvSpPr>
          <p:spPr bwMode="auto">
            <a:xfrm>
              <a:off x="7375526" y="1792288"/>
              <a:ext cx="65088" cy="69850"/>
            </a:xfrm>
            <a:custGeom>
              <a:avLst/>
              <a:gdLst>
                <a:gd name="T0" fmla="*/ 23 w 41"/>
                <a:gd name="T1" fmla="*/ 44 h 44"/>
                <a:gd name="T2" fmla="*/ 0 w 41"/>
                <a:gd name="T3" fmla="*/ 30 h 44"/>
                <a:gd name="T4" fmla="*/ 17 w 41"/>
                <a:gd name="T5" fmla="*/ 0 h 44"/>
                <a:gd name="T6" fmla="*/ 41 w 41"/>
                <a:gd name="T7" fmla="*/ 13 h 44"/>
                <a:gd name="T8" fmla="*/ 23 w 41"/>
                <a:gd name="T9" fmla="*/ 44 h 44"/>
              </a:gdLst>
              <a:ahLst/>
              <a:cxnLst>
                <a:cxn ang="0">
                  <a:pos x="T0" y="T1"/>
                </a:cxn>
                <a:cxn ang="0">
                  <a:pos x="T2" y="T3"/>
                </a:cxn>
                <a:cxn ang="0">
                  <a:pos x="T4" y="T5"/>
                </a:cxn>
                <a:cxn ang="0">
                  <a:pos x="T6" y="T7"/>
                </a:cxn>
                <a:cxn ang="0">
                  <a:pos x="T8" y="T9"/>
                </a:cxn>
              </a:cxnLst>
              <a:rect l="0" t="0" r="r" b="b"/>
              <a:pathLst>
                <a:path w="41" h="44">
                  <a:moveTo>
                    <a:pt x="23" y="44"/>
                  </a:moveTo>
                  <a:lnTo>
                    <a:pt x="0" y="30"/>
                  </a:lnTo>
                  <a:lnTo>
                    <a:pt x="17" y="0"/>
                  </a:lnTo>
                  <a:lnTo>
                    <a:pt x="41" y="13"/>
                  </a:lnTo>
                  <a:lnTo>
                    <a:pt x="23"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42" name="Freeform 37">
              <a:extLst>
                <a:ext uri="{FF2B5EF4-FFF2-40B4-BE49-F238E27FC236}">
                  <a16:creationId xmlns:a16="http://schemas.microsoft.com/office/drawing/2014/main" id="{48AC1262-C260-4F59-B0ED-55CD667DEF86}"/>
                </a:ext>
              </a:extLst>
            </p:cNvPr>
            <p:cNvSpPr>
              <a:spLocks/>
            </p:cNvSpPr>
            <p:nvPr/>
          </p:nvSpPr>
          <p:spPr bwMode="auto">
            <a:xfrm>
              <a:off x="10664826" y="3303588"/>
              <a:ext cx="158750" cy="133350"/>
            </a:xfrm>
            <a:custGeom>
              <a:avLst/>
              <a:gdLst>
                <a:gd name="T0" fmla="*/ 63 w 100"/>
                <a:gd name="T1" fmla="*/ 0 h 84"/>
                <a:gd name="T2" fmla="*/ 63 w 100"/>
                <a:gd name="T3" fmla="*/ 0 h 84"/>
                <a:gd name="T4" fmla="*/ 70 w 100"/>
                <a:gd name="T5" fmla="*/ 2 h 84"/>
                <a:gd name="T6" fmla="*/ 76 w 100"/>
                <a:gd name="T7" fmla="*/ 4 h 84"/>
                <a:gd name="T8" fmla="*/ 83 w 100"/>
                <a:gd name="T9" fmla="*/ 8 h 84"/>
                <a:gd name="T10" fmla="*/ 91 w 100"/>
                <a:gd name="T11" fmla="*/ 13 h 84"/>
                <a:gd name="T12" fmla="*/ 96 w 100"/>
                <a:gd name="T13" fmla="*/ 22 h 84"/>
                <a:gd name="T14" fmla="*/ 100 w 100"/>
                <a:gd name="T15" fmla="*/ 32 h 84"/>
                <a:gd name="T16" fmla="*/ 100 w 100"/>
                <a:gd name="T17" fmla="*/ 45 h 84"/>
                <a:gd name="T18" fmla="*/ 100 w 100"/>
                <a:gd name="T19" fmla="*/ 45 h 84"/>
                <a:gd name="T20" fmla="*/ 100 w 100"/>
                <a:gd name="T21" fmla="*/ 50 h 84"/>
                <a:gd name="T22" fmla="*/ 98 w 100"/>
                <a:gd name="T23" fmla="*/ 56 h 84"/>
                <a:gd name="T24" fmla="*/ 94 w 100"/>
                <a:gd name="T25" fmla="*/ 63 h 84"/>
                <a:gd name="T26" fmla="*/ 89 w 100"/>
                <a:gd name="T27" fmla="*/ 71 h 84"/>
                <a:gd name="T28" fmla="*/ 81 w 100"/>
                <a:gd name="T29" fmla="*/ 76 h 84"/>
                <a:gd name="T30" fmla="*/ 70 w 100"/>
                <a:gd name="T31" fmla="*/ 82 h 84"/>
                <a:gd name="T32" fmla="*/ 55 w 100"/>
                <a:gd name="T33" fmla="*/ 84 h 84"/>
                <a:gd name="T34" fmla="*/ 0 w 100"/>
                <a:gd name="T3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84">
                  <a:moveTo>
                    <a:pt x="63" y="0"/>
                  </a:moveTo>
                  <a:lnTo>
                    <a:pt x="63" y="0"/>
                  </a:lnTo>
                  <a:lnTo>
                    <a:pt x="70" y="2"/>
                  </a:lnTo>
                  <a:lnTo>
                    <a:pt x="76" y="4"/>
                  </a:lnTo>
                  <a:lnTo>
                    <a:pt x="83" y="8"/>
                  </a:lnTo>
                  <a:lnTo>
                    <a:pt x="91" y="13"/>
                  </a:lnTo>
                  <a:lnTo>
                    <a:pt x="96" y="22"/>
                  </a:lnTo>
                  <a:lnTo>
                    <a:pt x="100" y="32"/>
                  </a:lnTo>
                  <a:lnTo>
                    <a:pt x="100" y="45"/>
                  </a:lnTo>
                  <a:lnTo>
                    <a:pt x="100" y="45"/>
                  </a:lnTo>
                  <a:lnTo>
                    <a:pt x="100" y="50"/>
                  </a:lnTo>
                  <a:lnTo>
                    <a:pt x="98" y="56"/>
                  </a:lnTo>
                  <a:lnTo>
                    <a:pt x="94" y="63"/>
                  </a:lnTo>
                  <a:lnTo>
                    <a:pt x="89" y="71"/>
                  </a:lnTo>
                  <a:lnTo>
                    <a:pt x="81" y="76"/>
                  </a:lnTo>
                  <a:lnTo>
                    <a:pt x="70" y="82"/>
                  </a:lnTo>
                  <a:lnTo>
                    <a:pt x="55" y="84"/>
                  </a:lnTo>
                  <a:lnTo>
                    <a:pt x="0" y="84"/>
                  </a:lnTo>
                </a:path>
              </a:pathLst>
            </a:custGeom>
            <a:noFill/>
            <a:ln w="381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43" name="Freeform 38">
              <a:extLst>
                <a:ext uri="{FF2B5EF4-FFF2-40B4-BE49-F238E27FC236}">
                  <a16:creationId xmlns:a16="http://schemas.microsoft.com/office/drawing/2014/main" id="{F7D56DD2-5FD0-4730-85AE-5D6B93323A8D}"/>
                </a:ext>
              </a:extLst>
            </p:cNvPr>
            <p:cNvSpPr>
              <a:spLocks/>
            </p:cNvSpPr>
            <p:nvPr/>
          </p:nvSpPr>
          <p:spPr bwMode="auto">
            <a:xfrm>
              <a:off x="10190163" y="3436938"/>
              <a:ext cx="595313" cy="255588"/>
            </a:xfrm>
            <a:custGeom>
              <a:avLst/>
              <a:gdLst>
                <a:gd name="T0" fmla="*/ 0 w 375"/>
                <a:gd name="T1" fmla="*/ 133 h 161"/>
                <a:gd name="T2" fmla="*/ 45 w 375"/>
                <a:gd name="T3" fmla="*/ 133 h 161"/>
                <a:gd name="T4" fmla="*/ 101 w 375"/>
                <a:gd name="T5" fmla="*/ 161 h 161"/>
                <a:gd name="T6" fmla="*/ 338 w 375"/>
                <a:gd name="T7" fmla="*/ 161 h 161"/>
                <a:gd name="T8" fmla="*/ 338 w 375"/>
                <a:gd name="T9" fmla="*/ 161 h 161"/>
                <a:gd name="T10" fmla="*/ 340 w 375"/>
                <a:gd name="T11" fmla="*/ 157 h 161"/>
                <a:gd name="T12" fmla="*/ 345 w 375"/>
                <a:gd name="T13" fmla="*/ 150 h 161"/>
                <a:gd name="T14" fmla="*/ 349 w 375"/>
                <a:gd name="T15" fmla="*/ 144 h 161"/>
                <a:gd name="T16" fmla="*/ 351 w 375"/>
                <a:gd name="T17" fmla="*/ 137 h 161"/>
                <a:gd name="T18" fmla="*/ 352 w 375"/>
                <a:gd name="T19" fmla="*/ 127 h 161"/>
                <a:gd name="T20" fmla="*/ 352 w 375"/>
                <a:gd name="T21" fmla="*/ 116 h 161"/>
                <a:gd name="T22" fmla="*/ 352 w 375"/>
                <a:gd name="T23" fmla="*/ 116 h 161"/>
                <a:gd name="T24" fmla="*/ 352 w 375"/>
                <a:gd name="T25" fmla="*/ 111 h 161"/>
                <a:gd name="T26" fmla="*/ 351 w 375"/>
                <a:gd name="T27" fmla="*/ 105 h 161"/>
                <a:gd name="T28" fmla="*/ 347 w 375"/>
                <a:gd name="T29" fmla="*/ 98 h 161"/>
                <a:gd name="T30" fmla="*/ 341 w 375"/>
                <a:gd name="T31" fmla="*/ 90 h 161"/>
                <a:gd name="T32" fmla="*/ 330 w 375"/>
                <a:gd name="T33" fmla="*/ 85 h 161"/>
                <a:gd name="T34" fmla="*/ 317 w 375"/>
                <a:gd name="T35" fmla="*/ 81 h 161"/>
                <a:gd name="T36" fmla="*/ 299 w 375"/>
                <a:gd name="T37" fmla="*/ 79 h 161"/>
                <a:gd name="T38" fmla="*/ 341 w 375"/>
                <a:gd name="T39" fmla="*/ 79 h 161"/>
                <a:gd name="T40" fmla="*/ 341 w 375"/>
                <a:gd name="T41" fmla="*/ 79 h 161"/>
                <a:gd name="T42" fmla="*/ 352 w 375"/>
                <a:gd name="T43" fmla="*/ 77 h 161"/>
                <a:gd name="T44" fmla="*/ 360 w 375"/>
                <a:gd name="T45" fmla="*/ 74 h 161"/>
                <a:gd name="T46" fmla="*/ 367 w 375"/>
                <a:gd name="T47" fmla="*/ 68 h 161"/>
                <a:gd name="T48" fmla="*/ 371 w 375"/>
                <a:gd name="T49" fmla="*/ 61 h 161"/>
                <a:gd name="T50" fmla="*/ 373 w 375"/>
                <a:gd name="T51" fmla="*/ 53 h 161"/>
                <a:gd name="T52" fmla="*/ 375 w 375"/>
                <a:gd name="T53" fmla="*/ 48 h 161"/>
                <a:gd name="T54" fmla="*/ 375 w 375"/>
                <a:gd name="T55" fmla="*/ 42 h 161"/>
                <a:gd name="T56" fmla="*/ 375 w 375"/>
                <a:gd name="T57" fmla="*/ 42 h 161"/>
                <a:gd name="T58" fmla="*/ 375 w 375"/>
                <a:gd name="T59" fmla="*/ 29 h 161"/>
                <a:gd name="T60" fmla="*/ 373 w 375"/>
                <a:gd name="T61" fmla="*/ 20 h 161"/>
                <a:gd name="T62" fmla="*/ 367 w 375"/>
                <a:gd name="T63" fmla="*/ 13 h 161"/>
                <a:gd name="T64" fmla="*/ 364 w 375"/>
                <a:gd name="T65" fmla="*/ 7 h 161"/>
                <a:gd name="T66" fmla="*/ 358 w 375"/>
                <a:gd name="T67" fmla="*/ 3 h 161"/>
                <a:gd name="T68" fmla="*/ 352 w 375"/>
                <a:gd name="T69" fmla="*/ 0 h 161"/>
                <a:gd name="T70" fmla="*/ 347 w 375"/>
                <a:gd name="T71"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5" h="161">
                  <a:moveTo>
                    <a:pt x="0" y="133"/>
                  </a:moveTo>
                  <a:lnTo>
                    <a:pt x="45" y="133"/>
                  </a:lnTo>
                  <a:lnTo>
                    <a:pt x="101" y="161"/>
                  </a:lnTo>
                  <a:lnTo>
                    <a:pt x="338" y="161"/>
                  </a:lnTo>
                  <a:lnTo>
                    <a:pt x="338" y="161"/>
                  </a:lnTo>
                  <a:lnTo>
                    <a:pt x="340" y="157"/>
                  </a:lnTo>
                  <a:lnTo>
                    <a:pt x="345" y="150"/>
                  </a:lnTo>
                  <a:lnTo>
                    <a:pt x="349" y="144"/>
                  </a:lnTo>
                  <a:lnTo>
                    <a:pt x="351" y="137"/>
                  </a:lnTo>
                  <a:lnTo>
                    <a:pt x="352" y="127"/>
                  </a:lnTo>
                  <a:lnTo>
                    <a:pt x="352" y="116"/>
                  </a:lnTo>
                  <a:lnTo>
                    <a:pt x="352" y="116"/>
                  </a:lnTo>
                  <a:lnTo>
                    <a:pt x="352" y="111"/>
                  </a:lnTo>
                  <a:lnTo>
                    <a:pt x="351" y="105"/>
                  </a:lnTo>
                  <a:lnTo>
                    <a:pt x="347" y="98"/>
                  </a:lnTo>
                  <a:lnTo>
                    <a:pt x="341" y="90"/>
                  </a:lnTo>
                  <a:lnTo>
                    <a:pt x="330" y="85"/>
                  </a:lnTo>
                  <a:lnTo>
                    <a:pt x="317" y="81"/>
                  </a:lnTo>
                  <a:lnTo>
                    <a:pt x="299" y="79"/>
                  </a:lnTo>
                  <a:lnTo>
                    <a:pt x="341" y="79"/>
                  </a:lnTo>
                  <a:lnTo>
                    <a:pt x="341" y="79"/>
                  </a:lnTo>
                  <a:lnTo>
                    <a:pt x="352" y="77"/>
                  </a:lnTo>
                  <a:lnTo>
                    <a:pt x="360" y="74"/>
                  </a:lnTo>
                  <a:lnTo>
                    <a:pt x="367" y="68"/>
                  </a:lnTo>
                  <a:lnTo>
                    <a:pt x="371" y="61"/>
                  </a:lnTo>
                  <a:lnTo>
                    <a:pt x="373" y="53"/>
                  </a:lnTo>
                  <a:lnTo>
                    <a:pt x="375" y="48"/>
                  </a:lnTo>
                  <a:lnTo>
                    <a:pt x="375" y="42"/>
                  </a:lnTo>
                  <a:lnTo>
                    <a:pt x="375" y="42"/>
                  </a:lnTo>
                  <a:lnTo>
                    <a:pt x="375" y="29"/>
                  </a:lnTo>
                  <a:lnTo>
                    <a:pt x="373" y="20"/>
                  </a:lnTo>
                  <a:lnTo>
                    <a:pt x="367" y="13"/>
                  </a:lnTo>
                  <a:lnTo>
                    <a:pt x="364" y="7"/>
                  </a:lnTo>
                  <a:lnTo>
                    <a:pt x="358" y="3"/>
                  </a:lnTo>
                  <a:lnTo>
                    <a:pt x="352" y="0"/>
                  </a:lnTo>
                  <a:lnTo>
                    <a:pt x="347" y="0"/>
                  </a:lnTo>
                </a:path>
              </a:pathLst>
            </a:custGeom>
            <a:noFill/>
            <a:ln w="381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44" name="Rectangle 39">
              <a:extLst>
                <a:ext uri="{FF2B5EF4-FFF2-40B4-BE49-F238E27FC236}">
                  <a16:creationId xmlns:a16="http://schemas.microsoft.com/office/drawing/2014/main" id="{E305E7EB-E842-4CB9-9818-049BB5188E79}"/>
                </a:ext>
              </a:extLst>
            </p:cNvPr>
            <p:cNvSpPr>
              <a:spLocks noChangeArrowheads="1"/>
            </p:cNvSpPr>
            <p:nvPr/>
          </p:nvSpPr>
          <p:spPr bwMode="auto">
            <a:xfrm>
              <a:off x="10088563" y="3154363"/>
              <a:ext cx="101600" cy="558800"/>
            </a:xfrm>
            <a:prstGeom prst="rect">
              <a:avLst/>
            </a:prstGeom>
            <a:noFill/>
            <a:ln w="3810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45" name="Freeform 40">
              <a:extLst>
                <a:ext uri="{FF2B5EF4-FFF2-40B4-BE49-F238E27FC236}">
                  <a16:creationId xmlns:a16="http://schemas.microsoft.com/office/drawing/2014/main" id="{B66E9470-EE99-49E3-AF11-6FC42EE7C752}"/>
                </a:ext>
              </a:extLst>
            </p:cNvPr>
            <p:cNvSpPr>
              <a:spLocks/>
            </p:cNvSpPr>
            <p:nvPr/>
          </p:nvSpPr>
          <p:spPr bwMode="auto">
            <a:xfrm>
              <a:off x="10244138" y="2851151"/>
              <a:ext cx="620713" cy="452438"/>
            </a:xfrm>
            <a:custGeom>
              <a:avLst/>
              <a:gdLst>
                <a:gd name="T0" fmla="*/ 0 w 391"/>
                <a:gd name="T1" fmla="*/ 228 h 285"/>
                <a:gd name="T2" fmla="*/ 117 w 391"/>
                <a:gd name="T3" fmla="*/ 91 h 285"/>
                <a:gd name="T4" fmla="*/ 139 w 391"/>
                <a:gd name="T5" fmla="*/ 37 h 285"/>
                <a:gd name="T6" fmla="*/ 139 w 391"/>
                <a:gd name="T7" fmla="*/ 37 h 285"/>
                <a:gd name="T8" fmla="*/ 139 w 391"/>
                <a:gd name="T9" fmla="*/ 31 h 285"/>
                <a:gd name="T10" fmla="*/ 144 w 391"/>
                <a:gd name="T11" fmla="*/ 18 h 285"/>
                <a:gd name="T12" fmla="*/ 148 w 391"/>
                <a:gd name="T13" fmla="*/ 13 h 285"/>
                <a:gd name="T14" fmla="*/ 154 w 391"/>
                <a:gd name="T15" fmla="*/ 6 h 285"/>
                <a:gd name="T16" fmla="*/ 161 w 391"/>
                <a:gd name="T17" fmla="*/ 2 h 285"/>
                <a:gd name="T18" fmla="*/ 172 w 391"/>
                <a:gd name="T19" fmla="*/ 0 h 285"/>
                <a:gd name="T20" fmla="*/ 172 w 391"/>
                <a:gd name="T21" fmla="*/ 0 h 285"/>
                <a:gd name="T22" fmla="*/ 176 w 391"/>
                <a:gd name="T23" fmla="*/ 0 h 285"/>
                <a:gd name="T24" fmla="*/ 185 w 391"/>
                <a:gd name="T25" fmla="*/ 2 h 285"/>
                <a:gd name="T26" fmla="*/ 191 w 391"/>
                <a:gd name="T27" fmla="*/ 4 h 285"/>
                <a:gd name="T28" fmla="*/ 194 w 391"/>
                <a:gd name="T29" fmla="*/ 7 h 285"/>
                <a:gd name="T30" fmla="*/ 200 w 391"/>
                <a:gd name="T31" fmla="*/ 13 h 285"/>
                <a:gd name="T32" fmla="*/ 204 w 391"/>
                <a:gd name="T33" fmla="*/ 18 h 285"/>
                <a:gd name="T34" fmla="*/ 207 w 391"/>
                <a:gd name="T35" fmla="*/ 30 h 285"/>
                <a:gd name="T36" fmla="*/ 207 w 391"/>
                <a:gd name="T37" fmla="*/ 93 h 285"/>
                <a:gd name="T38" fmla="*/ 159 w 391"/>
                <a:gd name="T39" fmla="*/ 204 h 285"/>
                <a:gd name="T40" fmla="*/ 350 w 391"/>
                <a:gd name="T41" fmla="*/ 204 h 285"/>
                <a:gd name="T42" fmla="*/ 350 w 391"/>
                <a:gd name="T43" fmla="*/ 204 h 285"/>
                <a:gd name="T44" fmla="*/ 356 w 391"/>
                <a:gd name="T45" fmla="*/ 206 h 285"/>
                <a:gd name="T46" fmla="*/ 369 w 391"/>
                <a:gd name="T47" fmla="*/ 211 h 285"/>
                <a:gd name="T48" fmla="*/ 376 w 391"/>
                <a:gd name="T49" fmla="*/ 215 h 285"/>
                <a:gd name="T50" fmla="*/ 383 w 391"/>
                <a:gd name="T51" fmla="*/ 222 h 285"/>
                <a:gd name="T52" fmla="*/ 387 w 391"/>
                <a:gd name="T53" fmla="*/ 230 h 285"/>
                <a:gd name="T54" fmla="*/ 391 w 391"/>
                <a:gd name="T55" fmla="*/ 241 h 285"/>
                <a:gd name="T56" fmla="*/ 391 w 391"/>
                <a:gd name="T57" fmla="*/ 241 h 285"/>
                <a:gd name="T58" fmla="*/ 391 w 391"/>
                <a:gd name="T59" fmla="*/ 246 h 285"/>
                <a:gd name="T60" fmla="*/ 389 w 391"/>
                <a:gd name="T61" fmla="*/ 254 h 285"/>
                <a:gd name="T62" fmla="*/ 387 w 391"/>
                <a:gd name="T63" fmla="*/ 261 h 285"/>
                <a:gd name="T64" fmla="*/ 381 w 391"/>
                <a:gd name="T65" fmla="*/ 270 h 285"/>
                <a:gd name="T66" fmla="*/ 376 w 391"/>
                <a:gd name="T67" fmla="*/ 278 h 285"/>
                <a:gd name="T68" fmla="*/ 365 w 391"/>
                <a:gd name="T69" fmla="*/ 283 h 285"/>
                <a:gd name="T70" fmla="*/ 350 w 391"/>
                <a:gd name="T71" fmla="*/ 285 h 285"/>
                <a:gd name="T72" fmla="*/ 265 w 391"/>
                <a:gd name="T73"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1" h="285">
                  <a:moveTo>
                    <a:pt x="0" y="228"/>
                  </a:moveTo>
                  <a:lnTo>
                    <a:pt x="117" y="91"/>
                  </a:lnTo>
                  <a:lnTo>
                    <a:pt x="139" y="37"/>
                  </a:lnTo>
                  <a:lnTo>
                    <a:pt x="139" y="37"/>
                  </a:lnTo>
                  <a:lnTo>
                    <a:pt x="139" y="31"/>
                  </a:lnTo>
                  <a:lnTo>
                    <a:pt x="144" y="18"/>
                  </a:lnTo>
                  <a:lnTo>
                    <a:pt x="148" y="13"/>
                  </a:lnTo>
                  <a:lnTo>
                    <a:pt x="154" y="6"/>
                  </a:lnTo>
                  <a:lnTo>
                    <a:pt x="161" y="2"/>
                  </a:lnTo>
                  <a:lnTo>
                    <a:pt x="172" y="0"/>
                  </a:lnTo>
                  <a:lnTo>
                    <a:pt x="172" y="0"/>
                  </a:lnTo>
                  <a:lnTo>
                    <a:pt x="176" y="0"/>
                  </a:lnTo>
                  <a:lnTo>
                    <a:pt x="185" y="2"/>
                  </a:lnTo>
                  <a:lnTo>
                    <a:pt x="191" y="4"/>
                  </a:lnTo>
                  <a:lnTo>
                    <a:pt x="194" y="7"/>
                  </a:lnTo>
                  <a:lnTo>
                    <a:pt x="200" y="13"/>
                  </a:lnTo>
                  <a:lnTo>
                    <a:pt x="204" y="18"/>
                  </a:lnTo>
                  <a:lnTo>
                    <a:pt x="207" y="30"/>
                  </a:lnTo>
                  <a:lnTo>
                    <a:pt x="207" y="93"/>
                  </a:lnTo>
                  <a:lnTo>
                    <a:pt x="159" y="204"/>
                  </a:lnTo>
                  <a:lnTo>
                    <a:pt x="350" y="204"/>
                  </a:lnTo>
                  <a:lnTo>
                    <a:pt x="350" y="204"/>
                  </a:lnTo>
                  <a:lnTo>
                    <a:pt x="356" y="206"/>
                  </a:lnTo>
                  <a:lnTo>
                    <a:pt x="369" y="211"/>
                  </a:lnTo>
                  <a:lnTo>
                    <a:pt x="376" y="215"/>
                  </a:lnTo>
                  <a:lnTo>
                    <a:pt x="383" y="222"/>
                  </a:lnTo>
                  <a:lnTo>
                    <a:pt x="387" y="230"/>
                  </a:lnTo>
                  <a:lnTo>
                    <a:pt x="391" y="241"/>
                  </a:lnTo>
                  <a:lnTo>
                    <a:pt x="391" y="241"/>
                  </a:lnTo>
                  <a:lnTo>
                    <a:pt x="391" y="246"/>
                  </a:lnTo>
                  <a:lnTo>
                    <a:pt x="389" y="254"/>
                  </a:lnTo>
                  <a:lnTo>
                    <a:pt x="387" y="261"/>
                  </a:lnTo>
                  <a:lnTo>
                    <a:pt x="381" y="270"/>
                  </a:lnTo>
                  <a:lnTo>
                    <a:pt x="376" y="278"/>
                  </a:lnTo>
                  <a:lnTo>
                    <a:pt x="365" y="283"/>
                  </a:lnTo>
                  <a:lnTo>
                    <a:pt x="350" y="285"/>
                  </a:lnTo>
                  <a:lnTo>
                    <a:pt x="265" y="285"/>
                  </a:lnTo>
                </a:path>
              </a:pathLst>
            </a:custGeom>
            <a:noFill/>
            <a:ln w="381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46" name="Freeform 41">
              <a:extLst>
                <a:ext uri="{FF2B5EF4-FFF2-40B4-BE49-F238E27FC236}">
                  <a16:creationId xmlns:a16="http://schemas.microsoft.com/office/drawing/2014/main" id="{77F3E589-E7D0-40C0-B8CF-62970DBD63D5}"/>
                </a:ext>
              </a:extLst>
            </p:cNvPr>
            <p:cNvSpPr>
              <a:spLocks/>
            </p:cNvSpPr>
            <p:nvPr/>
          </p:nvSpPr>
          <p:spPr bwMode="auto">
            <a:xfrm>
              <a:off x="10579101" y="2619376"/>
              <a:ext cx="55563" cy="101600"/>
            </a:xfrm>
            <a:custGeom>
              <a:avLst/>
              <a:gdLst>
                <a:gd name="T0" fmla="*/ 7 w 35"/>
                <a:gd name="T1" fmla="*/ 64 h 64"/>
                <a:gd name="T2" fmla="*/ 7 w 35"/>
                <a:gd name="T3" fmla="*/ 64 h 64"/>
                <a:gd name="T4" fmla="*/ 4 w 35"/>
                <a:gd name="T5" fmla="*/ 63 h 64"/>
                <a:gd name="T6" fmla="*/ 2 w 35"/>
                <a:gd name="T7" fmla="*/ 59 h 64"/>
                <a:gd name="T8" fmla="*/ 0 w 35"/>
                <a:gd name="T9" fmla="*/ 55 h 64"/>
                <a:gd name="T10" fmla="*/ 0 w 35"/>
                <a:gd name="T11" fmla="*/ 50 h 64"/>
                <a:gd name="T12" fmla="*/ 15 w 35"/>
                <a:gd name="T13" fmla="*/ 7 h 64"/>
                <a:gd name="T14" fmla="*/ 15 w 35"/>
                <a:gd name="T15" fmla="*/ 7 h 64"/>
                <a:gd name="T16" fmla="*/ 17 w 35"/>
                <a:gd name="T17" fmla="*/ 3 h 64"/>
                <a:gd name="T18" fmla="*/ 19 w 35"/>
                <a:gd name="T19" fmla="*/ 1 h 64"/>
                <a:gd name="T20" fmla="*/ 24 w 35"/>
                <a:gd name="T21" fmla="*/ 0 h 64"/>
                <a:gd name="T22" fmla="*/ 28 w 35"/>
                <a:gd name="T23" fmla="*/ 0 h 64"/>
                <a:gd name="T24" fmla="*/ 28 w 35"/>
                <a:gd name="T25" fmla="*/ 0 h 64"/>
                <a:gd name="T26" fmla="*/ 32 w 35"/>
                <a:gd name="T27" fmla="*/ 3 h 64"/>
                <a:gd name="T28" fmla="*/ 35 w 35"/>
                <a:gd name="T29" fmla="*/ 5 h 64"/>
                <a:gd name="T30" fmla="*/ 35 w 35"/>
                <a:gd name="T31" fmla="*/ 11 h 64"/>
                <a:gd name="T32" fmla="*/ 35 w 35"/>
                <a:gd name="T33" fmla="*/ 14 h 64"/>
                <a:gd name="T34" fmla="*/ 22 w 35"/>
                <a:gd name="T35" fmla="*/ 57 h 64"/>
                <a:gd name="T36" fmla="*/ 22 w 35"/>
                <a:gd name="T37" fmla="*/ 57 h 64"/>
                <a:gd name="T38" fmla="*/ 20 w 35"/>
                <a:gd name="T39" fmla="*/ 61 h 64"/>
                <a:gd name="T40" fmla="*/ 17 w 35"/>
                <a:gd name="T41" fmla="*/ 63 h 64"/>
                <a:gd name="T42" fmla="*/ 13 w 35"/>
                <a:gd name="T43" fmla="*/ 64 h 64"/>
                <a:gd name="T44" fmla="*/ 7 w 35"/>
                <a:gd name="T45" fmla="*/ 64 h 64"/>
                <a:gd name="T46" fmla="*/ 7 w 35"/>
                <a:gd name="T4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64">
                  <a:moveTo>
                    <a:pt x="7" y="64"/>
                  </a:moveTo>
                  <a:lnTo>
                    <a:pt x="7" y="64"/>
                  </a:lnTo>
                  <a:lnTo>
                    <a:pt x="4" y="63"/>
                  </a:lnTo>
                  <a:lnTo>
                    <a:pt x="2" y="59"/>
                  </a:lnTo>
                  <a:lnTo>
                    <a:pt x="0" y="55"/>
                  </a:lnTo>
                  <a:lnTo>
                    <a:pt x="0" y="50"/>
                  </a:lnTo>
                  <a:lnTo>
                    <a:pt x="15" y="7"/>
                  </a:lnTo>
                  <a:lnTo>
                    <a:pt x="15" y="7"/>
                  </a:lnTo>
                  <a:lnTo>
                    <a:pt x="17" y="3"/>
                  </a:lnTo>
                  <a:lnTo>
                    <a:pt x="19" y="1"/>
                  </a:lnTo>
                  <a:lnTo>
                    <a:pt x="24" y="0"/>
                  </a:lnTo>
                  <a:lnTo>
                    <a:pt x="28" y="0"/>
                  </a:lnTo>
                  <a:lnTo>
                    <a:pt x="28" y="0"/>
                  </a:lnTo>
                  <a:lnTo>
                    <a:pt x="32" y="3"/>
                  </a:lnTo>
                  <a:lnTo>
                    <a:pt x="35" y="5"/>
                  </a:lnTo>
                  <a:lnTo>
                    <a:pt x="35" y="11"/>
                  </a:lnTo>
                  <a:lnTo>
                    <a:pt x="35" y="14"/>
                  </a:lnTo>
                  <a:lnTo>
                    <a:pt x="22" y="57"/>
                  </a:lnTo>
                  <a:lnTo>
                    <a:pt x="22" y="57"/>
                  </a:lnTo>
                  <a:lnTo>
                    <a:pt x="20" y="61"/>
                  </a:lnTo>
                  <a:lnTo>
                    <a:pt x="17" y="63"/>
                  </a:lnTo>
                  <a:lnTo>
                    <a:pt x="13" y="64"/>
                  </a:lnTo>
                  <a:lnTo>
                    <a:pt x="7" y="64"/>
                  </a:lnTo>
                  <a:lnTo>
                    <a:pt x="7" y="64"/>
                  </a:lnTo>
                  <a:close/>
                </a:path>
              </a:pathLst>
            </a:custGeom>
            <a:solidFill>
              <a:srgbClr val="3EFA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47" name="Freeform 42">
              <a:extLst>
                <a:ext uri="{FF2B5EF4-FFF2-40B4-BE49-F238E27FC236}">
                  <a16:creationId xmlns:a16="http://schemas.microsoft.com/office/drawing/2014/main" id="{3F3B79FE-A682-4555-90DB-A040ACCF49E5}"/>
                </a:ext>
              </a:extLst>
            </p:cNvPr>
            <p:cNvSpPr>
              <a:spLocks/>
            </p:cNvSpPr>
            <p:nvPr/>
          </p:nvSpPr>
          <p:spPr bwMode="auto">
            <a:xfrm>
              <a:off x="10682288" y="2740026"/>
              <a:ext cx="100013" cy="66675"/>
            </a:xfrm>
            <a:custGeom>
              <a:avLst/>
              <a:gdLst>
                <a:gd name="T0" fmla="*/ 9 w 63"/>
                <a:gd name="T1" fmla="*/ 42 h 42"/>
                <a:gd name="T2" fmla="*/ 9 w 63"/>
                <a:gd name="T3" fmla="*/ 42 h 42"/>
                <a:gd name="T4" fmla="*/ 4 w 63"/>
                <a:gd name="T5" fmla="*/ 40 h 42"/>
                <a:gd name="T6" fmla="*/ 2 w 63"/>
                <a:gd name="T7" fmla="*/ 37 h 42"/>
                <a:gd name="T8" fmla="*/ 2 w 63"/>
                <a:gd name="T9" fmla="*/ 37 h 42"/>
                <a:gd name="T10" fmla="*/ 0 w 63"/>
                <a:gd name="T11" fmla="*/ 33 h 42"/>
                <a:gd name="T12" fmla="*/ 2 w 63"/>
                <a:gd name="T13" fmla="*/ 29 h 42"/>
                <a:gd name="T14" fmla="*/ 4 w 63"/>
                <a:gd name="T15" fmla="*/ 25 h 42"/>
                <a:gd name="T16" fmla="*/ 7 w 63"/>
                <a:gd name="T17" fmla="*/ 22 h 42"/>
                <a:gd name="T18" fmla="*/ 46 w 63"/>
                <a:gd name="T19" fmla="*/ 1 h 42"/>
                <a:gd name="T20" fmla="*/ 46 w 63"/>
                <a:gd name="T21" fmla="*/ 1 h 42"/>
                <a:gd name="T22" fmla="*/ 50 w 63"/>
                <a:gd name="T23" fmla="*/ 0 h 42"/>
                <a:gd name="T24" fmla="*/ 54 w 63"/>
                <a:gd name="T25" fmla="*/ 1 h 42"/>
                <a:gd name="T26" fmla="*/ 57 w 63"/>
                <a:gd name="T27" fmla="*/ 3 h 42"/>
                <a:gd name="T28" fmla="*/ 61 w 63"/>
                <a:gd name="T29" fmla="*/ 5 h 42"/>
                <a:gd name="T30" fmla="*/ 61 w 63"/>
                <a:gd name="T31" fmla="*/ 5 h 42"/>
                <a:gd name="T32" fmla="*/ 63 w 63"/>
                <a:gd name="T33" fmla="*/ 11 h 42"/>
                <a:gd name="T34" fmla="*/ 61 w 63"/>
                <a:gd name="T35" fmla="*/ 14 h 42"/>
                <a:gd name="T36" fmla="*/ 59 w 63"/>
                <a:gd name="T37" fmla="*/ 18 h 42"/>
                <a:gd name="T38" fmla="*/ 55 w 63"/>
                <a:gd name="T39" fmla="*/ 22 h 42"/>
                <a:gd name="T40" fmla="*/ 17 w 63"/>
                <a:gd name="T41" fmla="*/ 42 h 42"/>
                <a:gd name="T42" fmla="*/ 17 w 63"/>
                <a:gd name="T43" fmla="*/ 42 h 42"/>
                <a:gd name="T44" fmla="*/ 13 w 63"/>
                <a:gd name="T45" fmla="*/ 42 h 42"/>
                <a:gd name="T46" fmla="*/ 9 w 63"/>
                <a:gd name="T47" fmla="*/ 42 h 42"/>
                <a:gd name="T48" fmla="*/ 9 w 63"/>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42">
                  <a:moveTo>
                    <a:pt x="9" y="42"/>
                  </a:moveTo>
                  <a:lnTo>
                    <a:pt x="9" y="42"/>
                  </a:lnTo>
                  <a:lnTo>
                    <a:pt x="4" y="40"/>
                  </a:lnTo>
                  <a:lnTo>
                    <a:pt x="2" y="37"/>
                  </a:lnTo>
                  <a:lnTo>
                    <a:pt x="2" y="37"/>
                  </a:lnTo>
                  <a:lnTo>
                    <a:pt x="0" y="33"/>
                  </a:lnTo>
                  <a:lnTo>
                    <a:pt x="2" y="29"/>
                  </a:lnTo>
                  <a:lnTo>
                    <a:pt x="4" y="25"/>
                  </a:lnTo>
                  <a:lnTo>
                    <a:pt x="7" y="22"/>
                  </a:lnTo>
                  <a:lnTo>
                    <a:pt x="46" y="1"/>
                  </a:lnTo>
                  <a:lnTo>
                    <a:pt x="46" y="1"/>
                  </a:lnTo>
                  <a:lnTo>
                    <a:pt x="50" y="0"/>
                  </a:lnTo>
                  <a:lnTo>
                    <a:pt x="54" y="1"/>
                  </a:lnTo>
                  <a:lnTo>
                    <a:pt x="57" y="3"/>
                  </a:lnTo>
                  <a:lnTo>
                    <a:pt x="61" y="5"/>
                  </a:lnTo>
                  <a:lnTo>
                    <a:pt x="61" y="5"/>
                  </a:lnTo>
                  <a:lnTo>
                    <a:pt x="63" y="11"/>
                  </a:lnTo>
                  <a:lnTo>
                    <a:pt x="61" y="14"/>
                  </a:lnTo>
                  <a:lnTo>
                    <a:pt x="59" y="18"/>
                  </a:lnTo>
                  <a:lnTo>
                    <a:pt x="55" y="22"/>
                  </a:lnTo>
                  <a:lnTo>
                    <a:pt x="17" y="42"/>
                  </a:lnTo>
                  <a:lnTo>
                    <a:pt x="17" y="42"/>
                  </a:lnTo>
                  <a:lnTo>
                    <a:pt x="13" y="42"/>
                  </a:lnTo>
                  <a:lnTo>
                    <a:pt x="9" y="42"/>
                  </a:lnTo>
                  <a:lnTo>
                    <a:pt x="9" y="42"/>
                  </a:lnTo>
                  <a:close/>
                </a:path>
              </a:pathLst>
            </a:custGeom>
            <a:solidFill>
              <a:srgbClr val="3EFA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48" name="Freeform 43">
              <a:extLst>
                <a:ext uri="{FF2B5EF4-FFF2-40B4-BE49-F238E27FC236}">
                  <a16:creationId xmlns:a16="http://schemas.microsoft.com/office/drawing/2014/main" id="{2541BB4C-00B8-44B3-B0F7-B146FBE466F3}"/>
                </a:ext>
              </a:extLst>
            </p:cNvPr>
            <p:cNvSpPr>
              <a:spLocks/>
            </p:cNvSpPr>
            <p:nvPr/>
          </p:nvSpPr>
          <p:spPr bwMode="auto">
            <a:xfrm>
              <a:off x="10693401" y="2906713"/>
              <a:ext cx="103188" cy="55563"/>
            </a:xfrm>
            <a:custGeom>
              <a:avLst/>
              <a:gdLst>
                <a:gd name="T0" fmla="*/ 50 w 65"/>
                <a:gd name="T1" fmla="*/ 35 h 35"/>
                <a:gd name="T2" fmla="*/ 10 w 65"/>
                <a:gd name="T3" fmla="*/ 22 h 35"/>
                <a:gd name="T4" fmla="*/ 10 w 65"/>
                <a:gd name="T5" fmla="*/ 22 h 35"/>
                <a:gd name="T6" fmla="*/ 6 w 65"/>
                <a:gd name="T7" fmla="*/ 21 h 35"/>
                <a:gd name="T8" fmla="*/ 2 w 65"/>
                <a:gd name="T9" fmla="*/ 17 h 35"/>
                <a:gd name="T10" fmla="*/ 0 w 65"/>
                <a:gd name="T11" fmla="*/ 13 h 35"/>
                <a:gd name="T12" fmla="*/ 2 w 65"/>
                <a:gd name="T13" fmla="*/ 8 h 35"/>
                <a:gd name="T14" fmla="*/ 2 w 65"/>
                <a:gd name="T15" fmla="*/ 8 h 35"/>
                <a:gd name="T16" fmla="*/ 4 w 65"/>
                <a:gd name="T17" fmla="*/ 4 h 35"/>
                <a:gd name="T18" fmla="*/ 8 w 65"/>
                <a:gd name="T19" fmla="*/ 2 h 35"/>
                <a:gd name="T20" fmla="*/ 11 w 65"/>
                <a:gd name="T21" fmla="*/ 0 h 35"/>
                <a:gd name="T22" fmla="*/ 15 w 65"/>
                <a:gd name="T23" fmla="*/ 0 h 35"/>
                <a:gd name="T24" fmla="*/ 58 w 65"/>
                <a:gd name="T25" fmla="*/ 13 h 35"/>
                <a:gd name="T26" fmla="*/ 58 w 65"/>
                <a:gd name="T27" fmla="*/ 13 h 35"/>
                <a:gd name="T28" fmla="*/ 61 w 65"/>
                <a:gd name="T29" fmla="*/ 17 h 35"/>
                <a:gd name="T30" fmla="*/ 65 w 65"/>
                <a:gd name="T31" fmla="*/ 19 h 35"/>
                <a:gd name="T32" fmla="*/ 65 w 65"/>
                <a:gd name="T33" fmla="*/ 24 h 35"/>
                <a:gd name="T34" fmla="*/ 65 w 65"/>
                <a:gd name="T35" fmla="*/ 28 h 35"/>
                <a:gd name="T36" fmla="*/ 65 w 65"/>
                <a:gd name="T37" fmla="*/ 28 h 35"/>
                <a:gd name="T38" fmla="*/ 63 w 65"/>
                <a:gd name="T39" fmla="*/ 32 h 35"/>
                <a:gd name="T40" fmla="*/ 60 w 65"/>
                <a:gd name="T41" fmla="*/ 35 h 35"/>
                <a:gd name="T42" fmla="*/ 56 w 65"/>
                <a:gd name="T43" fmla="*/ 35 h 35"/>
                <a:gd name="T44" fmla="*/ 50 w 65"/>
                <a:gd name="T45" fmla="*/ 35 h 35"/>
                <a:gd name="T46" fmla="*/ 50 w 65"/>
                <a:gd name="T4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35">
                  <a:moveTo>
                    <a:pt x="50" y="35"/>
                  </a:moveTo>
                  <a:lnTo>
                    <a:pt x="10" y="22"/>
                  </a:lnTo>
                  <a:lnTo>
                    <a:pt x="10" y="22"/>
                  </a:lnTo>
                  <a:lnTo>
                    <a:pt x="6" y="21"/>
                  </a:lnTo>
                  <a:lnTo>
                    <a:pt x="2" y="17"/>
                  </a:lnTo>
                  <a:lnTo>
                    <a:pt x="0" y="13"/>
                  </a:lnTo>
                  <a:lnTo>
                    <a:pt x="2" y="8"/>
                  </a:lnTo>
                  <a:lnTo>
                    <a:pt x="2" y="8"/>
                  </a:lnTo>
                  <a:lnTo>
                    <a:pt x="4" y="4"/>
                  </a:lnTo>
                  <a:lnTo>
                    <a:pt x="8" y="2"/>
                  </a:lnTo>
                  <a:lnTo>
                    <a:pt x="11" y="0"/>
                  </a:lnTo>
                  <a:lnTo>
                    <a:pt x="15" y="0"/>
                  </a:lnTo>
                  <a:lnTo>
                    <a:pt x="58" y="13"/>
                  </a:lnTo>
                  <a:lnTo>
                    <a:pt x="58" y="13"/>
                  </a:lnTo>
                  <a:lnTo>
                    <a:pt x="61" y="17"/>
                  </a:lnTo>
                  <a:lnTo>
                    <a:pt x="65" y="19"/>
                  </a:lnTo>
                  <a:lnTo>
                    <a:pt x="65" y="24"/>
                  </a:lnTo>
                  <a:lnTo>
                    <a:pt x="65" y="28"/>
                  </a:lnTo>
                  <a:lnTo>
                    <a:pt x="65" y="28"/>
                  </a:lnTo>
                  <a:lnTo>
                    <a:pt x="63" y="32"/>
                  </a:lnTo>
                  <a:lnTo>
                    <a:pt x="60" y="35"/>
                  </a:lnTo>
                  <a:lnTo>
                    <a:pt x="56" y="35"/>
                  </a:lnTo>
                  <a:lnTo>
                    <a:pt x="50" y="35"/>
                  </a:lnTo>
                  <a:lnTo>
                    <a:pt x="50" y="35"/>
                  </a:lnTo>
                  <a:close/>
                </a:path>
              </a:pathLst>
            </a:custGeom>
            <a:solidFill>
              <a:srgbClr val="3EFA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49" name="Freeform 44">
              <a:extLst>
                <a:ext uri="{FF2B5EF4-FFF2-40B4-BE49-F238E27FC236}">
                  <a16:creationId xmlns:a16="http://schemas.microsoft.com/office/drawing/2014/main" id="{EBC7BD5E-9436-4263-B978-C0FD68ACE2B4}"/>
                </a:ext>
              </a:extLst>
            </p:cNvPr>
            <p:cNvSpPr>
              <a:spLocks/>
            </p:cNvSpPr>
            <p:nvPr/>
          </p:nvSpPr>
          <p:spPr bwMode="auto">
            <a:xfrm>
              <a:off x="10410826" y="2636838"/>
              <a:ext cx="68263" cy="96838"/>
            </a:xfrm>
            <a:custGeom>
              <a:avLst/>
              <a:gdLst>
                <a:gd name="T0" fmla="*/ 30 w 43"/>
                <a:gd name="T1" fmla="*/ 61 h 61"/>
                <a:gd name="T2" fmla="*/ 30 w 43"/>
                <a:gd name="T3" fmla="*/ 61 h 61"/>
                <a:gd name="T4" fmla="*/ 26 w 43"/>
                <a:gd name="T5" fmla="*/ 59 h 61"/>
                <a:gd name="T6" fmla="*/ 23 w 43"/>
                <a:gd name="T7" fmla="*/ 55 h 61"/>
                <a:gd name="T8" fmla="*/ 2 w 43"/>
                <a:gd name="T9" fmla="*/ 16 h 61"/>
                <a:gd name="T10" fmla="*/ 2 w 43"/>
                <a:gd name="T11" fmla="*/ 16 h 61"/>
                <a:gd name="T12" fmla="*/ 0 w 43"/>
                <a:gd name="T13" fmla="*/ 11 h 61"/>
                <a:gd name="T14" fmla="*/ 2 w 43"/>
                <a:gd name="T15" fmla="*/ 7 h 61"/>
                <a:gd name="T16" fmla="*/ 4 w 43"/>
                <a:gd name="T17" fmla="*/ 3 h 61"/>
                <a:gd name="T18" fmla="*/ 8 w 43"/>
                <a:gd name="T19" fmla="*/ 2 h 61"/>
                <a:gd name="T20" fmla="*/ 8 w 43"/>
                <a:gd name="T21" fmla="*/ 2 h 61"/>
                <a:gd name="T22" fmla="*/ 12 w 43"/>
                <a:gd name="T23" fmla="*/ 0 h 61"/>
                <a:gd name="T24" fmla="*/ 15 w 43"/>
                <a:gd name="T25" fmla="*/ 0 h 61"/>
                <a:gd name="T26" fmla="*/ 19 w 43"/>
                <a:gd name="T27" fmla="*/ 2 h 61"/>
                <a:gd name="T28" fmla="*/ 23 w 43"/>
                <a:gd name="T29" fmla="*/ 5 h 61"/>
                <a:gd name="T30" fmla="*/ 43 w 43"/>
                <a:gd name="T31" fmla="*/ 44 h 61"/>
                <a:gd name="T32" fmla="*/ 43 w 43"/>
                <a:gd name="T33" fmla="*/ 44 h 61"/>
                <a:gd name="T34" fmla="*/ 43 w 43"/>
                <a:gd name="T35" fmla="*/ 50 h 61"/>
                <a:gd name="T36" fmla="*/ 43 w 43"/>
                <a:gd name="T37" fmla="*/ 53 h 61"/>
                <a:gd name="T38" fmla="*/ 41 w 43"/>
                <a:gd name="T39" fmla="*/ 57 h 61"/>
                <a:gd name="T40" fmla="*/ 37 w 43"/>
                <a:gd name="T41" fmla="*/ 59 h 61"/>
                <a:gd name="T42" fmla="*/ 37 w 43"/>
                <a:gd name="T43" fmla="*/ 59 h 61"/>
                <a:gd name="T44" fmla="*/ 34 w 43"/>
                <a:gd name="T45" fmla="*/ 61 h 61"/>
                <a:gd name="T46" fmla="*/ 30 w 43"/>
                <a:gd name="T47" fmla="*/ 61 h 61"/>
                <a:gd name="T48" fmla="*/ 30 w 43"/>
                <a:gd name="T4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61">
                  <a:moveTo>
                    <a:pt x="30" y="61"/>
                  </a:moveTo>
                  <a:lnTo>
                    <a:pt x="30" y="61"/>
                  </a:lnTo>
                  <a:lnTo>
                    <a:pt x="26" y="59"/>
                  </a:lnTo>
                  <a:lnTo>
                    <a:pt x="23" y="55"/>
                  </a:lnTo>
                  <a:lnTo>
                    <a:pt x="2" y="16"/>
                  </a:lnTo>
                  <a:lnTo>
                    <a:pt x="2" y="16"/>
                  </a:lnTo>
                  <a:lnTo>
                    <a:pt x="0" y="11"/>
                  </a:lnTo>
                  <a:lnTo>
                    <a:pt x="2" y="7"/>
                  </a:lnTo>
                  <a:lnTo>
                    <a:pt x="4" y="3"/>
                  </a:lnTo>
                  <a:lnTo>
                    <a:pt x="8" y="2"/>
                  </a:lnTo>
                  <a:lnTo>
                    <a:pt x="8" y="2"/>
                  </a:lnTo>
                  <a:lnTo>
                    <a:pt x="12" y="0"/>
                  </a:lnTo>
                  <a:lnTo>
                    <a:pt x="15" y="0"/>
                  </a:lnTo>
                  <a:lnTo>
                    <a:pt x="19" y="2"/>
                  </a:lnTo>
                  <a:lnTo>
                    <a:pt x="23" y="5"/>
                  </a:lnTo>
                  <a:lnTo>
                    <a:pt x="43" y="44"/>
                  </a:lnTo>
                  <a:lnTo>
                    <a:pt x="43" y="44"/>
                  </a:lnTo>
                  <a:lnTo>
                    <a:pt x="43" y="50"/>
                  </a:lnTo>
                  <a:lnTo>
                    <a:pt x="43" y="53"/>
                  </a:lnTo>
                  <a:lnTo>
                    <a:pt x="41" y="57"/>
                  </a:lnTo>
                  <a:lnTo>
                    <a:pt x="37" y="59"/>
                  </a:lnTo>
                  <a:lnTo>
                    <a:pt x="37" y="59"/>
                  </a:lnTo>
                  <a:lnTo>
                    <a:pt x="34" y="61"/>
                  </a:lnTo>
                  <a:lnTo>
                    <a:pt x="30" y="61"/>
                  </a:lnTo>
                  <a:lnTo>
                    <a:pt x="30" y="61"/>
                  </a:lnTo>
                  <a:close/>
                </a:path>
              </a:pathLst>
            </a:custGeom>
            <a:solidFill>
              <a:srgbClr val="3EFA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50" name="Freeform 45">
              <a:extLst>
                <a:ext uri="{FF2B5EF4-FFF2-40B4-BE49-F238E27FC236}">
                  <a16:creationId xmlns:a16="http://schemas.microsoft.com/office/drawing/2014/main" id="{BD69821F-30CD-4073-93BF-CD0B35473BBF}"/>
                </a:ext>
              </a:extLst>
            </p:cNvPr>
            <p:cNvSpPr>
              <a:spLocks/>
            </p:cNvSpPr>
            <p:nvPr/>
          </p:nvSpPr>
          <p:spPr bwMode="auto">
            <a:xfrm>
              <a:off x="8434388" y="1012826"/>
              <a:ext cx="388938" cy="252413"/>
            </a:xfrm>
            <a:custGeom>
              <a:avLst/>
              <a:gdLst>
                <a:gd name="T0" fmla="*/ 199 w 245"/>
                <a:gd name="T1" fmla="*/ 137 h 159"/>
                <a:gd name="T2" fmla="*/ 210 w 245"/>
                <a:gd name="T3" fmla="*/ 135 h 159"/>
                <a:gd name="T4" fmla="*/ 223 w 245"/>
                <a:gd name="T5" fmla="*/ 122 h 159"/>
                <a:gd name="T6" fmla="*/ 224 w 245"/>
                <a:gd name="T7" fmla="*/ 113 h 159"/>
                <a:gd name="T8" fmla="*/ 217 w 245"/>
                <a:gd name="T9" fmla="*/ 96 h 159"/>
                <a:gd name="T10" fmla="*/ 199 w 245"/>
                <a:gd name="T11" fmla="*/ 89 h 159"/>
                <a:gd name="T12" fmla="*/ 189 w 245"/>
                <a:gd name="T13" fmla="*/ 91 h 159"/>
                <a:gd name="T14" fmla="*/ 184 w 245"/>
                <a:gd name="T15" fmla="*/ 91 h 159"/>
                <a:gd name="T16" fmla="*/ 180 w 245"/>
                <a:gd name="T17" fmla="*/ 89 h 159"/>
                <a:gd name="T18" fmla="*/ 174 w 245"/>
                <a:gd name="T19" fmla="*/ 82 h 159"/>
                <a:gd name="T20" fmla="*/ 174 w 245"/>
                <a:gd name="T21" fmla="*/ 80 h 159"/>
                <a:gd name="T22" fmla="*/ 169 w 245"/>
                <a:gd name="T23" fmla="*/ 57 h 159"/>
                <a:gd name="T24" fmla="*/ 158 w 245"/>
                <a:gd name="T25" fmla="*/ 39 h 159"/>
                <a:gd name="T26" fmla="*/ 139 w 245"/>
                <a:gd name="T27" fmla="*/ 26 h 159"/>
                <a:gd name="T28" fmla="*/ 115 w 245"/>
                <a:gd name="T29" fmla="*/ 20 h 159"/>
                <a:gd name="T30" fmla="*/ 104 w 245"/>
                <a:gd name="T31" fmla="*/ 22 h 159"/>
                <a:gd name="T32" fmla="*/ 84 w 245"/>
                <a:gd name="T33" fmla="*/ 32 h 159"/>
                <a:gd name="T34" fmla="*/ 67 w 245"/>
                <a:gd name="T35" fmla="*/ 46 h 159"/>
                <a:gd name="T36" fmla="*/ 58 w 245"/>
                <a:gd name="T37" fmla="*/ 67 h 159"/>
                <a:gd name="T38" fmla="*/ 58 w 245"/>
                <a:gd name="T39" fmla="*/ 80 h 159"/>
                <a:gd name="T40" fmla="*/ 58 w 245"/>
                <a:gd name="T41" fmla="*/ 91 h 159"/>
                <a:gd name="T42" fmla="*/ 56 w 245"/>
                <a:gd name="T43" fmla="*/ 100 h 159"/>
                <a:gd name="T44" fmla="*/ 50 w 245"/>
                <a:gd name="T45" fmla="*/ 104 h 159"/>
                <a:gd name="T46" fmla="*/ 45 w 245"/>
                <a:gd name="T47" fmla="*/ 102 h 159"/>
                <a:gd name="T48" fmla="*/ 39 w 245"/>
                <a:gd name="T49" fmla="*/ 102 h 159"/>
                <a:gd name="T50" fmla="*/ 26 w 245"/>
                <a:gd name="T51" fmla="*/ 107 h 159"/>
                <a:gd name="T52" fmla="*/ 21 w 245"/>
                <a:gd name="T53" fmla="*/ 120 h 159"/>
                <a:gd name="T54" fmla="*/ 23 w 245"/>
                <a:gd name="T55" fmla="*/ 126 h 159"/>
                <a:gd name="T56" fmla="*/ 32 w 245"/>
                <a:gd name="T57" fmla="*/ 137 h 159"/>
                <a:gd name="T58" fmla="*/ 60 w 245"/>
                <a:gd name="T59" fmla="*/ 137 h 159"/>
                <a:gd name="T60" fmla="*/ 39 w 245"/>
                <a:gd name="T61" fmla="*/ 159 h 159"/>
                <a:gd name="T62" fmla="*/ 32 w 245"/>
                <a:gd name="T63" fmla="*/ 157 h 159"/>
                <a:gd name="T64" fmla="*/ 17 w 245"/>
                <a:gd name="T65" fmla="*/ 152 h 159"/>
                <a:gd name="T66" fmla="*/ 6 w 245"/>
                <a:gd name="T67" fmla="*/ 141 h 159"/>
                <a:gd name="T68" fmla="*/ 0 w 245"/>
                <a:gd name="T69" fmla="*/ 128 h 159"/>
                <a:gd name="T70" fmla="*/ 0 w 245"/>
                <a:gd name="T71" fmla="*/ 120 h 159"/>
                <a:gd name="T72" fmla="*/ 2 w 245"/>
                <a:gd name="T73" fmla="*/ 106 h 159"/>
                <a:gd name="T74" fmla="*/ 10 w 245"/>
                <a:gd name="T75" fmla="*/ 93 h 159"/>
                <a:gd name="T76" fmla="*/ 23 w 245"/>
                <a:gd name="T77" fmla="*/ 85 h 159"/>
                <a:gd name="T78" fmla="*/ 36 w 245"/>
                <a:gd name="T79" fmla="*/ 82 h 159"/>
                <a:gd name="T80" fmla="*/ 36 w 245"/>
                <a:gd name="T81" fmla="*/ 80 h 159"/>
                <a:gd name="T82" fmla="*/ 37 w 245"/>
                <a:gd name="T83" fmla="*/ 63 h 159"/>
                <a:gd name="T84" fmla="*/ 50 w 245"/>
                <a:gd name="T85" fmla="*/ 35 h 159"/>
                <a:gd name="T86" fmla="*/ 71 w 245"/>
                <a:gd name="T87" fmla="*/ 13 h 159"/>
                <a:gd name="T88" fmla="*/ 100 w 245"/>
                <a:gd name="T89" fmla="*/ 2 h 159"/>
                <a:gd name="T90" fmla="*/ 115 w 245"/>
                <a:gd name="T91" fmla="*/ 0 h 159"/>
                <a:gd name="T92" fmla="*/ 145 w 245"/>
                <a:gd name="T93" fmla="*/ 6 h 159"/>
                <a:gd name="T94" fmla="*/ 169 w 245"/>
                <a:gd name="T95" fmla="*/ 19 h 159"/>
                <a:gd name="T96" fmla="*/ 186 w 245"/>
                <a:gd name="T97" fmla="*/ 41 h 159"/>
                <a:gd name="T98" fmla="*/ 195 w 245"/>
                <a:gd name="T99" fmla="*/ 67 h 159"/>
                <a:gd name="T100" fmla="*/ 199 w 245"/>
                <a:gd name="T101" fmla="*/ 67 h 159"/>
                <a:gd name="T102" fmla="*/ 208 w 245"/>
                <a:gd name="T103" fmla="*/ 69 h 159"/>
                <a:gd name="T104" fmla="*/ 224 w 245"/>
                <a:gd name="T105" fmla="*/ 76 h 159"/>
                <a:gd name="T106" fmla="*/ 237 w 245"/>
                <a:gd name="T107" fmla="*/ 87 h 159"/>
                <a:gd name="T108" fmla="*/ 245 w 245"/>
                <a:gd name="T109" fmla="*/ 104 h 159"/>
                <a:gd name="T110" fmla="*/ 245 w 245"/>
                <a:gd name="T111" fmla="*/ 113 h 159"/>
                <a:gd name="T112" fmla="*/ 241 w 245"/>
                <a:gd name="T113" fmla="*/ 132 h 159"/>
                <a:gd name="T114" fmla="*/ 232 w 245"/>
                <a:gd name="T115" fmla="*/ 146 h 159"/>
                <a:gd name="T116" fmla="*/ 217 w 245"/>
                <a:gd name="T117" fmla="*/ 156 h 159"/>
                <a:gd name="T118" fmla="*/ 199 w 245"/>
                <a:gd name="T119" fmla="*/ 159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5" h="159">
                  <a:moveTo>
                    <a:pt x="199" y="159"/>
                  </a:moveTo>
                  <a:lnTo>
                    <a:pt x="199" y="137"/>
                  </a:lnTo>
                  <a:lnTo>
                    <a:pt x="199" y="137"/>
                  </a:lnTo>
                  <a:lnTo>
                    <a:pt x="210" y="135"/>
                  </a:lnTo>
                  <a:lnTo>
                    <a:pt x="217" y="130"/>
                  </a:lnTo>
                  <a:lnTo>
                    <a:pt x="223" y="122"/>
                  </a:lnTo>
                  <a:lnTo>
                    <a:pt x="224" y="113"/>
                  </a:lnTo>
                  <a:lnTo>
                    <a:pt x="224" y="113"/>
                  </a:lnTo>
                  <a:lnTo>
                    <a:pt x="223" y="104"/>
                  </a:lnTo>
                  <a:lnTo>
                    <a:pt x="217" y="96"/>
                  </a:lnTo>
                  <a:lnTo>
                    <a:pt x="210" y="91"/>
                  </a:lnTo>
                  <a:lnTo>
                    <a:pt x="199" y="89"/>
                  </a:lnTo>
                  <a:lnTo>
                    <a:pt x="199" y="89"/>
                  </a:lnTo>
                  <a:lnTo>
                    <a:pt x="189" y="91"/>
                  </a:lnTo>
                  <a:lnTo>
                    <a:pt x="189" y="91"/>
                  </a:lnTo>
                  <a:lnTo>
                    <a:pt x="184" y="91"/>
                  </a:lnTo>
                  <a:lnTo>
                    <a:pt x="180" y="89"/>
                  </a:lnTo>
                  <a:lnTo>
                    <a:pt x="180" y="89"/>
                  </a:lnTo>
                  <a:lnTo>
                    <a:pt x="176" y="85"/>
                  </a:lnTo>
                  <a:lnTo>
                    <a:pt x="174" y="82"/>
                  </a:lnTo>
                  <a:lnTo>
                    <a:pt x="174" y="80"/>
                  </a:lnTo>
                  <a:lnTo>
                    <a:pt x="174" y="80"/>
                  </a:lnTo>
                  <a:lnTo>
                    <a:pt x="173" y="69"/>
                  </a:lnTo>
                  <a:lnTo>
                    <a:pt x="169" y="57"/>
                  </a:lnTo>
                  <a:lnTo>
                    <a:pt x="165" y="46"/>
                  </a:lnTo>
                  <a:lnTo>
                    <a:pt x="158" y="39"/>
                  </a:lnTo>
                  <a:lnTo>
                    <a:pt x="149" y="32"/>
                  </a:lnTo>
                  <a:lnTo>
                    <a:pt x="139" y="26"/>
                  </a:lnTo>
                  <a:lnTo>
                    <a:pt x="128" y="22"/>
                  </a:lnTo>
                  <a:lnTo>
                    <a:pt x="115" y="20"/>
                  </a:lnTo>
                  <a:lnTo>
                    <a:pt x="115" y="20"/>
                  </a:lnTo>
                  <a:lnTo>
                    <a:pt x="104" y="22"/>
                  </a:lnTo>
                  <a:lnTo>
                    <a:pt x="93" y="26"/>
                  </a:lnTo>
                  <a:lnTo>
                    <a:pt x="84" y="32"/>
                  </a:lnTo>
                  <a:lnTo>
                    <a:pt x="74" y="37"/>
                  </a:lnTo>
                  <a:lnTo>
                    <a:pt x="67" y="46"/>
                  </a:lnTo>
                  <a:lnTo>
                    <a:pt x="61" y="57"/>
                  </a:lnTo>
                  <a:lnTo>
                    <a:pt x="58" y="67"/>
                  </a:lnTo>
                  <a:lnTo>
                    <a:pt x="58" y="80"/>
                  </a:lnTo>
                  <a:lnTo>
                    <a:pt x="58" y="80"/>
                  </a:lnTo>
                  <a:lnTo>
                    <a:pt x="58" y="91"/>
                  </a:lnTo>
                  <a:lnTo>
                    <a:pt x="58" y="91"/>
                  </a:lnTo>
                  <a:lnTo>
                    <a:pt x="58" y="96"/>
                  </a:lnTo>
                  <a:lnTo>
                    <a:pt x="56" y="100"/>
                  </a:lnTo>
                  <a:lnTo>
                    <a:pt x="56" y="100"/>
                  </a:lnTo>
                  <a:lnTo>
                    <a:pt x="50" y="104"/>
                  </a:lnTo>
                  <a:lnTo>
                    <a:pt x="45" y="102"/>
                  </a:lnTo>
                  <a:lnTo>
                    <a:pt x="45" y="102"/>
                  </a:lnTo>
                  <a:lnTo>
                    <a:pt x="39" y="102"/>
                  </a:lnTo>
                  <a:lnTo>
                    <a:pt x="39" y="102"/>
                  </a:lnTo>
                  <a:lnTo>
                    <a:pt x="32" y="104"/>
                  </a:lnTo>
                  <a:lnTo>
                    <a:pt x="26" y="107"/>
                  </a:lnTo>
                  <a:lnTo>
                    <a:pt x="23" y="113"/>
                  </a:lnTo>
                  <a:lnTo>
                    <a:pt x="21" y="120"/>
                  </a:lnTo>
                  <a:lnTo>
                    <a:pt x="21" y="120"/>
                  </a:lnTo>
                  <a:lnTo>
                    <a:pt x="23" y="126"/>
                  </a:lnTo>
                  <a:lnTo>
                    <a:pt x="26" y="133"/>
                  </a:lnTo>
                  <a:lnTo>
                    <a:pt x="32" y="137"/>
                  </a:lnTo>
                  <a:lnTo>
                    <a:pt x="39" y="137"/>
                  </a:lnTo>
                  <a:lnTo>
                    <a:pt x="60" y="137"/>
                  </a:lnTo>
                  <a:lnTo>
                    <a:pt x="60" y="159"/>
                  </a:lnTo>
                  <a:lnTo>
                    <a:pt x="39" y="159"/>
                  </a:lnTo>
                  <a:lnTo>
                    <a:pt x="39" y="159"/>
                  </a:lnTo>
                  <a:lnTo>
                    <a:pt x="32" y="157"/>
                  </a:lnTo>
                  <a:lnTo>
                    <a:pt x="24" y="156"/>
                  </a:lnTo>
                  <a:lnTo>
                    <a:pt x="17" y="152"/>
                  </a:lnTo>
                  <a:lnTo>
                    <a:pt x="11" y="148"/>
                  </a:lnTo>
                  <a:lnTo>
                    <a:pt x="6" y="141"/>
                  </a:lnTo>
                  <a:lnTo>
                    <a:pt x="2" y="135"/>
                  </a:lnTo>
                  <a:lnTo>
                    <a:pt x="0" y="128"/>
                  </a:lnTo>
                  <a:lnTo>
                    <a:pt x="0" y="120"/>
                  </a:lnTo>
                  <a:lnTo>
                    <a:pt x="0" y="120"/>
                  </a:lnTo>
                  <a:lnTo>
                    <a:pt x="0" y="113"/>
                  </a:lnTo>
                  <a:lnTo>
                    <a:pt x="2" y="106"/>
                  </a:lnTo>
                  <a:lnTo>
                    <a:pt x="6" y="98"/>
                  </a:lnTo>
                  <a:lnTo>
                    <a:pt x="10" y="93"/>
                  </a:lnTo>
                  <a:lnTo>
                    <a:pt x="15" y="89"/>
                  </a:lnTo>
                  <a:lnTo>
                    <a:pt x="23" y="85"/>
                  </a:lnTo>
                  <a:lnTo>
                    <a:pt x="28" y="82"/>
                  </a:lnTo>
                  <a:lnTo>
                    <a:pt x="36" y="82"/>
                  </a:lnTo>
                  <a:lnTo>
                    <a:pt x="36" y="82"/>
                  </a:lnTo>
                  <a:lnTo>
                    <a:pt x="36" y="80"/>
                  </a:lnTo>
                  <a:lnTo>
                    <a:pt x="36" y="80"/>
                  </a:lnTo>
                  <a:lnTo>
                    <a:pt x="37" y="63"/>
                  </a:lnTo>
                  <a:lnTo>
                    <a:pt x="43" y="48"/>
                  </a:lnTo>
                  <a:lnTo>
                    <a:pt x="50" y="35"/>
                  </a:lnTo>
                  <a:lnTo>
                    <a:pt x="60" y="22"/>
                  </a:lnTo>
                  <a:lnTo>
                    <a:pt x="71" y="13"/>
                  </a:lnTo>
                  <a:lnTo>
                    <a:pt x="86" y="6"/>
                  </a:lnTo>
                  <a:lnTo>
                    <a:pt x="100" y="2"/>
                  </a:lnTo>
                  <a:lnTo>
                    <a:pt x="115" y="0"/>
                  </a:lnTo>
                  <a:lnTo>
                    <a:pt x="115" y="0"/>
                  </a:lnTo>
                  <a:lnTo>
                    <a:pt x="130" y="2"/>
                  </a:lnTo>
                  <a:lnTo>
                    <a:pt x="145" y="6"/>
                  </a:lnTo>
                  <a:lnTo>
                    <a:pt x="156" y="11"/>
                  </a:lnTo>
                  <a:lnTo>
                    <a:pt x="169" y="19"/>
                  </a:lnTo>
                  <a:lnTo>
                    <a:pt x="178" y="30"/>
                  </a:lnTo>
                  <a:lnTo>
                    <a:pt x="186" y="41"/>
                  </a:lnTo>
                  <a:lnTo>
                    <a:pt x="191" y="54"/>
                  </a:lnTo>
                  <a:lnTo>
                    <a:pt x="195" y="67"/>
                  </a:lnTo>
                  <a:lnTo>
                    <a:pt x="195" y="67"/>
                  </a:lnTo>
                  <a:lnTo>
                    <a:pt x="199" y="67"/>
                  </a:lnTo>
                  <a:lnTo>
                    <a:pt x="199" y="67"/>
                  </a:lnTo>
                  <a:lnTo>
                    <a:pt x="208" y="69"/>
                  </a:lnTo>
                  <a:lnTo>
                    <a:pt x="217" y="70"/>
                  </a:lnTo>
                  <a:lnTo>
                    <a:pt x="224" y="76"/>
                  </a:lnTo>
                  <a:lnTo>
                    <a:pt x="232" y="82"/>
                  </a:lnTo>
                  <a:lnTo>
                    <a:pt x="237" y="87"/>
                  </a:lnTo>
                  <a:lnTo>
                    <a:pt x="241" y="95"/>
                  </a:lnTo>
                  <a:lnTo>
                    <a:pt x="245" y="104"/>
                  </a:lnTo>
                  <a:lnTo>
                    <a:pt x="245" y="113"/>
                  </a:lnTo>
                  <a:lnTo>
                    <a:pt x="245" y="113"/>
                  </a:lnTo>
                  <a:lnTo>
                    <a:pt x="245" y="122"/>
                  </a:lnTo>
                  <a:lnTo>
                    <a:pt x="241" y="132"/>
                  </a:lnTo>
                  <a:lnTo>
                    <a:pt x="237" y="139"/>
                  </a:lnTo>
                  <a:lnTo>
                    <a:pt x="232" y="146"/>
                  </a:lnTo>
                  <a:lnTo>
                    <a:pt x="224" y="152"/>
                  </a:lnTo>
                  <a:lnTo>
                    <a:pt x="217" y="156"/>
                  </a:lnTo>
                  <a:lnTo>
                    <a:pt x="208" y="157"/>
                  </a:lnTo>
                  <a:lnTo>
                    <a:pt x="199" y="159"/>
                  </a:lnTo>
                  <a:lnTo>
                    <a:pt x="199"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51" name="Freeform 46">
              <a:extLst>
                <a:ext uri="{FF2B5EF4-FFF2-40B4-BE49-F238E27FC236}">
                  <a16:creationId xmlns:a16="http://schemas.microsoft.com/office/drawing/2014/main" id="{88DECCDC-934F-4ABF-8167-8A4C99C0B383}"/>
                </a:ext>
              </a:extLst>
            </p:cNvPr>
            <p:cNvSpPr>
              <a:spLocks/>
            </p:cNvSpPr>
            <p:nvPr/>
          </p:nvSpPr>
          <p:spPr bwMode="auto">
            <a:xfrm>
              <a:off x="8226426" y="1223963"/>
              <a:ext cx="844550" cy="495300"/>
            </a:xfrm>
            <a:custGeom>
              <a:avLst/>
              <a:gdLst>
                <a:gd name="T0" fmla="*/ 53 w 532"/>
                <a:gd name="T1" fmla="*/ 206 h 312"/>
                <a:gd name="T2" fmla="*/ 55 w 532"/>
                <a:gd name="T3" fmla="*/ 206 h 312"/>
                <a:gd name="T4" fmla="*/ 50 w 532"/>
                <a:gd name="T5" fmla="*/ 176 h 312"/>
                <a:gd name="T6" fmla="*/ 52 w 532"/>
                <a:gd name="T7" fmla="*/ 160 h 312"/>
                <a:gd name="T8" fmla="*/ 65 w 532"/>
                <a:gd name="T9" fmla="*/ 130 h 312"/>
                <a:gd name="T10" fmla="*/ 87 w 532"/>
                <a:gd name="T11" fmla="*/ 108 h 312"/>
                <a:gd name="T12" fmla="*/ 116 w 532"/>
                <a:gd name="T13" fmla="*/ 95 h 312"/>
                <a:gd name="T14" fmla="*/ 133 w 532"/>
                <a:gd name="T15" fmla="*/ 93 h 312"/>
                <a:gd name="T16" fmla="*/ 168 w 532"/>
                <a:gd name="T17" fmla="*/ 100 h 312"/>
                <a:gd name="T18" fmla="*/ 178 w 532"/>
                <a:gd name="T19" fmla="*/ 80 h 312"/>
                <a:gd name="T20" fmla="*/ 204 w 532"/>
                <a:gd name="T21" fmla="*/ 43 h 312"/>
                <a:gd name="T22" fmla="*/ 239 w 532"/>
                <a:gd name="T23" fmla="*/ 17 h 312"/>
                <a:gd name="T24" fmla="*/ 281 w 532"/>
                <a:gd name="T25" fmla="*/ 2 h 312"/>
                <a:gd name="T26" fmla="*/ 305 w 532"/>
                <a:gd name="T27" fmla="*/ 0 h 312"/>
                <a:gd name="T28" fmla="*/ 333 w 532"/>
                <a:gd name="T29" fmla="*/ 2 h 312"/>
                <a:gd name="T30" fmla="*/ 361 w 532"/>
                <a:gd name="T31" fmla="*/ 12 h 312"/>
                <a:gd name="T32" fmla="*/ 385 w 532"/>
                <a:gd name="T33" fmla="*/ 24 h 312"/>
                <a:gd name="T34" fmla="*/ 406 w 532"/>
                <a:gd name="T35" fmla="*/ 41 h 312"/>
                <a:gd name="T36" fmla="*/ 424 w 532"/>
                <a:gd name="T37" fmla="*/ 63 h 312"/>
                <a:gd name="T38" fmla="*/ 437 w 532"/>
                <a:gd name="T39" fmla="*/ 87 h 312"/>
                <a:gd name="T40" fmla="*/ 444 w 532"/>
                <a:gd name="T41" fmla="*/ 113 h 312"/>
                <a:gd name="T42" fmla="*/ 448 w 532"/>
                <a:gd name="T43" fmla="*/ 143 h 312"/>
                <a:gd name="T44" fmla="*/ 448 w 532"/>
                <a:gd name="T45" fmla="*/ 147 h 312"/>
                <a:gd name="T46" fmla="*/ 448 w 532"/>
                <a:gd name="T47" fmla="*/ 147 h 312"/>
                <a:gd name="T48" fmla="*/ 465 w 532"/>
                <a:gd name="T49" fmla="*/ 149 h 312"/>
                <a:gd name="T50" fmla="*/ 494 w 532"/>
                <a:gd name="T51" fmla="*/ 160 h 312"/>
                <a:gd name="T52" fmla="*/ 517 w 532"/>
                <a:gd name="T53" fmla="*/ 182 h 312"/>
                <a:gd name="T54" fmla="*/ 530 w 532"/>
                <a:gd name="T55" fmla="*/ 213 h 312"/>
                <a:gd name="T56" fmla="*/ 532 w 532"/>
                <a:gd name="T57" fmla="*/ 230 h 312"/>
                <a:gd name="T58" fmla="*/ 524 w 532"/>
                <a:gd name="T59" fmla="*/ 262 h 312"/>
                <a:gd name="T60" fmla="*/ 506 w 532"/>
                <a:gd name="T61" fmla="*/ 288 h 312"/>
                <a:gd name="T62" fmla="*/ 480 w 532"/>
                <a:gd name="T63" fmla="*/ 306 h 312"/>
                <a:gd name="T64" fmla="*/ 448 w 532"/>
                <a:gd name="T65" fmla="*/ 312 h 312"/>
                <a:gd name="T66" fmla="*/ 53 w 532"/>
                <a:gd name="T67" fmla="*/ 312 h 312"/>
                <a:gd name="T68" fmla="*/ 33 w 532"/>
                <a:gd name="T69" fmla="*/ 308 h 312"/>
                <a:gd name="T70" fmla="*/ 16 w 532"/>
                <a:gd name="T71" fmla="*/ 297 h 312"/>
                <a:gd name="T72" fmla="*/ 3 w 532"/>
                <a:gd name="T73" fmla="*/ 280 h 312"/>
                <a:gd name="T74" fmla="*/ 0 w 532"/>
                <a:gd name="T75" fmla="*/ 260 h 312"/>
                <a:gd name="T76" fmla="*/ 2 w 532"/>
                <a:gd name="T77" fmla="*/ 249 h 312"/>
                <a:gd name="T78" fmla="*/ 9 w 532"/>
                <a:gd name="T79" fmla="*/ 230 h 312"/>
                <a:gd name="T80" fmla="*/ 24 w 532"/>
                <a:gd name="T81" fmla="*/ 215 h 312"/>
                <a:gd name="T82" fmla="*/ 42 w 532"/>
                <a:gd name="T83" fmla="*/ 206 h 312"/>
                <a:gd name="T84" fmla="*/ 53 w 532"/>
                <a:gd name="T85" fmla="*/ 20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2" h="312">
                  <a:moveTo>
                    <a:pt x="53" y="206"/>
                  </a:moveTo>
                  <a:lnTo>
                    <a:pt x="53" y="206"/>
                  </a:lnTo>
                  <a:lnTo>
                    <a:pt x="55" y="206"/>
                  </a:lnTo>
                  <a:lnTo>
                    <a:pt x="55" y="206"/>
                  </a:lnTo>
                  <a:lnTo>
                    <a:pt x="52" y="191"/>
                  </a:lnTo>
                  <a:lnTo>
                    <a:pt x="50" y="176"/>
                  </a:lnTo>
                  <a:lnTo>
                    <a:pt x="50" y="176"/>
                  </a:lnTo>
                  <a:lnTo>
                    <a:pt x="52" y="160"/>
                  </a:lnTo>
                  <a:lnTo>
                    <a:pt x="57" y="143"/>
                  </a:lnTo>
                  <a:lnTo>
                    <a:pt x="65" y="130"/>
                  </a:lnTo>
                  <a:lnTo>
                    <a:pt x="74" y="117"/>
                  </a:lnTo>
                  <a:lnTo>
                    <a:pt x="87" y="108"/>
                  </a:lnTo>
                  <a:lnTo>
                    <a:pt x="102" y="100"/>
                  </a:lnTo>
                  <a:lnTo>
                    <a:pt x="116" y="95"/>
                  </a:lnTo>
                  <a:lnTo>
                    <a:pt x="133" y="93"/>
                  </a:lnTo>
                  <a:lnTo>
                    <a:pt x="133" y="93"/>
                  </a:lnTo>
                  <a:lnTo>
                    <a:pt x="152" y="95"/>
                  </a:lnTo>
                  <a:lnTo>
                    <a:pt x="168" y="100"/>
                  </a:lnTo>
                  <a:lnTo>
                    <a:pt x="168" y="100"/>
                  </a:lnTo>
                  <a:lnTo>
                    <a:pt x="178" y="80"/>
                  </a:lnTo>
                  <a:lnTo>
                    <a:pt x="189" y="60"/>
                  </a:lnTo>
                  <a:lnTo>
                    <a:pt x="204" y="43"/>
                  </a:lnTo>
                  <a:lnTo>
                    <a:pt x="220" y="28"/>
                  </a:lnTo>
                  <a:lnTo>
                    <a:pt x="239" y="17"/>
                  </a:lnTo>
                  <a:lnTo>
                    <a:pt x="259" y="8"/>
                  </a:lnTo>
                  <a:lnTo>
                    <a:pt x="281" y="2"/>
                  </a:lnTo>
                  <a:lnTo>
                    <a:pt x="305" y="0"/>
                  </a:lnTo>
                  <a:lnTo>
                    <a:pt x="305" y="0"/>
                  </a:lnTo>
                  <a:lnTo>
                    <a:pt x="320" y="0"/>
                  </a:lnTo>
                  <a:lnTo>
                    <a:pt x="333" y="2"/>
                  </a:lnTo>
                  <a:lnTo>
                    <a:pt x="348" y="6"/>
                  </a:lnTo>
                  <a:lnTo>
                    <a:pt x="361" y="12"/>
                  </a:lnTo>
                  <a:lnTo>
                    <a:pt x="372" y="17"/>
                  </a:lnTo>
                  <a:lnTo>
                    <a:pt x="385" y="24"/>
                  </a:lnTo>
                  <a:lnTo>
                    <a:pt x="396" y="32"/>
                  </a:lnTo>
                  <a:lnTo>
                    <a:pt x="406" y="41"/>
                  </a:lnTo>
                  <a:lnTo>
                    <a:pt x="415" y="52"/>
                  </a:lnTo>
                  <a:lnTo>
                    <a:pt x="424" y="63"/>
                  </a:lnTo>
                  <a:lnTo>
                    <a:pt x="430" y="75"/>
                  </a:lnTo>
                  <a:lnTo>
                    <a:pt x="437" y="87"/>
                  </a:lnTo>
                  <a:lnTo>
                    <a:pt x="441" y="100"/>
                  </a:lnTo>
                  <a:lnTo>
                    <a:pt x="444" y="113"/>
                  </a:lnTo>
                  <a:lnTo>
                    <a:pt x="446" y="128"/>
                  </a:lnTo>
                  <a:lnTo>
                    <a:pt x="448" y="143"/>
                  </a:lnTo>
                  <a:lnTo>
                    <a:pt x="448" y="143"/>
                  </a:lnTo>
                  <a:lnTo>
                    <a:pt x="448" y="147"/>
                  </a:lnTo>
                  <a:lnTo>
                    <a:pt x="448" y="147"/>
                  </a:lnTo>
                  <a:lnTo>
                    <a:pt x="448" y="147"/>
                  </a:lnTo>
                  <a:lnTo>
                    <a:pt x="448" y="147"/>
                  </a:lnTo>
                  <a:lnTo>
                    <a:pt x="465" y="149"/>
                  </a:lnTo>
                  <a:lnTo>
                    <a:pt x="480" y="152"/>
                  </a:lnTo>
                  <a:lnTo>
                    <a:pt x="494" y="160"/>
                  </a:lnTo>
                  <a:lnTo>
                    <a:pt x="506" y="171"/>
                  </a:lnTo>
                  <a:lnTo>
                    <a:pt x="517" y="182"/>
                  </a:lnTo>
                  <a:lnTo>
                    <a:pt x="524" y="197"/>
                  </a:lnTo>
                  <a:lnTo>
                    <a:pt x="530" y="213"/>
                  </a:lnTo>
                  <a:lnTo>
                    <a:pt x="532" y="230"/>
                  </a:lnTo>
                  <a:lnTo>
                    <a:pt x="532" y="230"/>
                  </a:lnTo>
                  <a:lnTo>
                    <a:pt x="530" y="247"/>
                  </a:lnTo>
                  <a:lnTo>
                    <a:pt x="524" y="262"/>
                  </a:lnTo>
                  <a:lnTo>
                    <a:pt x="517" y="276"/>
                  </a:lnTo>
                  <a:lnTo>
                    <a:pt x="506" y="288"/>
                  </a:lnTo>
                  <a:lnTo>
                    <a:pt x="494" y="299"/>
                  </a:lnTo>
                  <a:lnTo>
                    <a:pt x="480" y="306"/>
                  </a:lnTo>
                  <a:lnTo>
                    <a:pt x="465" y="310"/>
                  </a:lnTo>
                  <a:lnTo>
                    <a:pt x="448" y="312"/>
                  </a:lnTo>
                  <a:lnTo>
                    <a:pt x="53" y="312"/>
                  </a:lnTo>
                  <a:lnTo>
                    <a:pt x="53" y="312"/>
                  </a:lnTo>
                  <a:lnTo>
                    <a:pt x="42" y="312"/>
                  </a:lnTo>
                  <a:lnTo>
                    <a:pt x="33" y="308"/>
                  </a:lnTo>
                  <a:lnTo>
                    <a:pt x="24" y="302"/>
                  </a:lnTo>
                  <a:lnTo>
                    <a:pt x="16" y="297"/>
                  </a:lnTo>
                  <a:lnTo>
                    <a:pt x="9" y="289"/>
                  </a:lnTo>
                  <a:lnTo>
                    <a:pt x="3" y="280"/>
                  </a:lnTo>
                  <a:lnTo>
                    <a:pt x="2" y="269"/>
                  </a:lnTo>
                  <a:lnTo>
                    <a:pt x="0" y="260"/>
                  </a:lnTo>
                  <a:lnTo>
                    <a:pt x="0" y="260"/>
                  </a:lnTo>
                  <a:lnTo>
                    <a:pt x="2" y="249"/>
                  </a:lnTo>
                  <a:lnTo>
                    <a:pt x="3" y="238"/>
                  </a:lnTo>
                  <a:lnTo>
                    <a:pt x="9" y="230"/>
                  </a:lnTo>
                  <a:lnTo>
                    <a:pt x="16" y="221"/>
                  </a:lnTo>
                  <a:lnTo>
                    <a:pt x="24" y="215"/>
                  </a:lnTo>
                  <a:lnTo>
                    <a:pt x="33" y="210"/>
                  </a:lnTo>
                  <a:lnTo>
                    <a:pt x="42" y="206"/>
                  </a:lnTo>
                  <a:lnTo>
                    <a:pt x="53" y="206"/>
                  </a:lnTo>
                  <a:lnTo>
                    <a:pt x="53" y="206"/>
                  </a:lnTo>
                  <a:close/>
                </a:path>
              </a:pathLst>
            </a:custGeom>
            <a:solidFill>
              <a:srgbClr val="046A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52" name="Rectangle 47">
              <a:extLst>
                <a:ext uri="{FF2B5EF4-FFF2-40B4-BE49-F238E27FC236}">
                  <a16:creationId xmlns:a16="http://schemas.microsoft.com/office/drawing/2014/main" id="{B75113A1-9DE6-4078-8610-65EFC40E5B00}"/>
                </a:ext>
              </a:extLst>
            </p:cNvPr>
            <p:cNvSpPr>
              <a:spLocks noChangeArrowheads="1"/>
            </p:cNvSpPr>
            <p:nvPr/>
          </p:nvSpPr>
          <p:spPr bwMode="auto">
            <a:xfrm>
              <a:off x="8175626" y="1198563"/>
              <a:ext cx="47625"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53" name="Freeform 48">
              <a:extLst>
                <a:ext uri="{FF2B5EF4-FFF2-40B4-BE49-F238E27FC236}">
                  <a16:creationId xmlns:a16="http://schemas.microsoft.com/office/drawing/2014/main" id="{1BB25C35-56EB-4BAF-9F67-2F3085F843DF}"/>
                </a:ext>
              </a:extLst>
            </p:cNvPr>
            <p:cNvSpPr>
              <a:spLocks/>
            </p:cNvSpPr>
            <p:nvPr/>
          </p:nvSpPr>
          <p:spPr bwMode="auto">
            <a:xfrm>
              <a:off x="8020051" y="1133476"/>
              <a:ext cx="355600" cy="168275"/>
            </a:xfrm>
            <a:custGeom>
              <a:avLst/>
              <a:gdLst>
                <a:gd name="T0" fmla="*/ 224 w 224"/>
                <a:gd name="T1" fmla="*/ 106 h 106"/>
                <a:gd name="T2" fmla="*/ 28 w 224"/>
                <a:gd name="T3" fmla="*/ 106 h 106"/>
                <a:gd name="T4" fmla="*/ 28 w 224"/>
                <a:gd name="T5" fmla="*/ 106 h 106"/>
                <a:gd name="T6" fmla="*/ 22 w 224"/>
                <a:gd name="T7" fmla="*/ 106 h 106"/>
                <a:gd name="T8" fmla="*/ 17 w 224"/>
                <a:gd name="T9" fmla="*/ 104 h 106"/>
                <a:gd name="T10" fmla="*/ 9 w 224"/>
                <a:gd name="T11" fmla="*/ 98 h 106"/>
                <a:gd name="T12" fmla="*/ 2 w 224"/>
                <a:gd name="T13" fmla="*/ 89 h 106"/>
                <a:gd name="T14" fmla="*/ 2 w 224"/>
                <a:gd name="T15" fmla="*/ 83 h 106"/>
                <a:gd name="T16" fmla="*/ 0 w 224"/>
                <a:gd name="T17" fmla="*/ 78 h 106"/>
                <a:gd name="T18" fmla="*/ 0 w 224"/>
                <a:gd name="T19" fmla="*/ 78 h 106"/>
                <a:gd name="T20" fmla="*/ 2 w 224"/>
                <a:gd name="T21" fmla="*/ 69 h 106"/>
                <a:gd name="T22" fmla="*/ 7 w 224"/>
                <a:gd name="T23" fmla="*/ 61 h 106"/>
                <a:gd name="T24" fmla="*/ 15 w 224"/>
                <a:gd name="T25" fmla="*/ 54 h 106"/>
                <a:gd name="T26" fmla="*/ 22 w 224"/>
                <a:gd name="T27" fmla="*/ 50 h 106"/>
                <a:gd name="T28" fmla="*/ 22 w 224"/>
                <a:gd name="T29" fmla="*/ 50 h 106"/>
                <a:gd name="T30" fmla="*/ 24 w 224"/>
                <a:gd name="T31" fmla="*/ 41 h 106"/>
                <a:gd name="T32" fmla="*/ 28 w 224"/>
                <a:gd name="T33" fmla="*/ 31 h 106"/>
                <a:gd name="T34" fmla="*/ 33 w 224"/>
                <a:gd name="T35" fmla="*/ 22 h 106"/>
                <a:gd name="T36" fmla="*/ 39 w 224"/>
                <a:gd name="T37" fmla="*/ 15 h 106"/>
                <a:gd name="T38" fmla="*/ 46 w 224"/>
                <a:gd name="T39" fmla="*/ 9 h 106"/>
                <a:gd name="T40" fmla="*/ 56 w 224"/>
                <a:gd name="T41" fmla="*/ 6 h 106"/>
                <a:gd name="T42" fmla="*/ 65 w 224"/>
                <a:gd name="T43" fmla="*/ 2 h 106"/>
                <a:gd name="T44" fmla="*/ 76 w 224"/>
                <a:gd name="T45" fmla="*/ 0 h 106"/>
                <a:gd name="T46" fmla="*/ 76 w 224"/>
                <a:gd name="T47" fmla="*/ 22 h 106"/>
                <a:gd name="T48" fmla="*/ 76 w 224"/>
                <a:gd name="T49" fmla="*/ 22 h 106"/>
                <a:gd name="T50" fmla="*/ 69 w 224"/>
                <a:gd name="T51" fmla="*/ 22 h 106"/>
                <a:gd name="T52" fmla="*/ 63 w 224"/>
                <a:gd name="T53" fmla="*/ 24 h 106"/>
                <a:gd name="T54" fmla="*/ 57 w 224"/>
                <a:gd name="T55" fmla="*/ 28 h 106"/>
                <a:gd name="T56" fmla="*/ 54 w 224"/>
                <a:gd name="T57" fmla="*/ 31 h 106"/>
                <a:gd name="T58" fmla="*/ 50 w 224"/>
                <a:gd name="T59" fmla="*/ 35 h 106"/>
                <a:gd name="T60" fmla="*/ 46 w 224"/>
                <a:gd name="T61" fmla="*/ 41 h 106"/>
                <a:gd name="T62" fmla="*/ 45 w 224"/>
                <a:gd name="T63" fmla="*/ 46 h 106"/>
                <a:gd name="T64" fmla="*/ 45 w 224"/>
                <a:gd name="T65" fmla="*/ 54 h 106"/>
                <a:gd name="T66" fmla="*/ 45 w 224"/>
                <a:gd name="T67" fmla="*/ 54 h 106"/>
                <a:gd name="T68" fmla="*/ 45 w 224"/>
                <a:gd name="T69" fmla="*/ 59 h 106"/>
                <a:gd name="T70" fmla="*/ 45 w 224"/>
                <a:gd name="T71" fmla="*/ 59 h 106"/>
                <a:gd name="T72" fmla="*/ 45 w 224"/>
                <a:gd name="T73" fmla="*/ 65 h 106"/>
                <a:gd name="T74" fmla="*/ 41 w 224"/>
                <a:gd name="T75" fmla="*/ 70 h 106"/>
                <a:gd name="T76" fmla="*/ 41 w 224"/>
                <a:gd name="T77" fmla="*/ 70 h 106"/>
                <a:gd name="T78" fmla="*/ 35 w 224"/>
                <a:gd name="T79" fmla="*/ 72 h 106"/>
                <a:gd name="T80" fmla="*/ 30 w 224"/>
                <a:gd name="T81" fmla="*/ 72 h 106"/>
                <a:gd name="T82" fmla="*/ 30 w 224"/>
                <a:gd name="T83" fmla="*/ 72 h 106"/>
                <a:gd name="T84" fmla="*/ 28 w 224"/>
                <a:gd name="T85" fmla="*/ 70 h 106"/>
                <a:gd name="T86" fmla="*/ 28 w 224"/>
                <a:gd name="T87" fmla="*/ 70 h 106"/>
                <a:gd name="T88" fmla="*/ 24 w 224"/>
                <a:gd name="T89" fmla="*/ 72 h 106"/>
                <a:gd name="T90" fmla="*/ 22 w 224"/>
                <a:gd name="T91" fmla="*/ 78 h 106"/>
                <a:gd name="T92" fmla="*/ 22 w 224"/>
                <a:gd name="T93" fmla="*/ 78 h 106"/>
                <a:gd name="T94" fmla="*/ 24 w 224"/>
                <a:gd name="T95" fmla="*/ 83 h 106"/>
                <a:gd name="T96" fmla="*/ 28 w 224"/>
                <a:gd name="T97" fmla="*/ 85 h 106"/>
                <a:gd name="T98" fmla="*/ 224 w 224"/>
                <a:gd name="T99" fmla="*/ 85 h 106"/>
                <a:gd name="T100" fmla="*/ 224 w 224"/>
                <a:gd name="T10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4" h="106">
                  <a:moveTo>
                    <a:pt x="224" y="106"/>
                  </a:moveTo>
                  <a:lnTo>
                    <a:pt x="28" y="106"/>
                  </a:lnTo>
                  <a:lnTo>
                    <a:pt x="28" y="106"/>
                  </a:lnTo>
                  <a:lnTo>
                    <a:pt x="22" y="106"/>
                  </a:lnTo>
                  <a:lnTo>
                    <a:pt x="17" y="104"/>
                  </a:lnTo>
                  <a:lnTo>
                    <a:pt x="9" y="98"/>
                  </a:lnTo>
                  <a:lnTo>
                    <a:pt x="2" y="89"/>
                  </a:lnTo>
                  <a:lnTo>
                    <a:pt x="2" y="83"/>
                  </a:lnTo>
                  <a:lnTo>
                    <a:pt x="0" y="78"/>
                  </a:lnTo>
                  <a:lnTo>
                    <a:pt x="0" y="78"/>
                  </a:lnTo>
                  <a:lnTo>
                    <a:pt x="2" y="69"/>
                  </a:lnTo>
                  <a:lnTo>
                    <a:pt x="7" y="61"/>
                  </a:lnTo>
                  <a:lnTo>
                    <a:pt x="15" y="54"/>
                  </a:lnTo>
                  <a:lnTo>
                    <a:pt x="22" y="50"/>
                  </a:lnTo>
                  <a:lnTo>
                    <a:pt x="22" y="50"/>
                  </a:lnTo>
                  <a:lnTo>
                    <a:pt x="24" y="41"/>
                  </a:lnTo>
                  <a:lnTo>
                    <a:pt x="28" y="31"/>
                  </a:lnTo>
                  <a:lnTo>
                    <a:pt x="33" y="22"/>
                  </a:lnTo>
                  <a:lnTo>
                    <a:pt x="39" y="15"/>
                  </a:lnTo>
                  <a:lnTo>
                    <a:pt x="46" y="9"/>
                  </a:lnTo>
                  <a:lnTo>
                    <a:pt x="56" y="6"/>
                  </a:lnTo>
                  <a:lnTo>
                    <a:pt x="65" y="2"/>
                  </a:lnTo>
                  <a:lnTo>
                    <a:pt x="76" y="0"/>
                  </a:lnTo>
                  <a:lnTo>
                    <a:pt x="76" y="22"/>
                  </a:lnTo>
                  <a:lnTo>
                    <a:pt x="76" y="22"/>
                  </a:lnTo>
                  <a:lnTo>
                    <a:pt x="69" y="22"/>
                  </a:lnTo>
                  <a:lnTo>
                    <a:pt x="63" y="24"/>
                  </a:lnTo>
                  <a:lnTo>
                    <a:pt x="57" y="28"/>
                  </a:lnTo>
                  <a:lnTo>
                    <a:pt x="54" y="31"/>
                  </a:lnTo>
                  <a:lnTo>
                    <a:pt x="50" y="35"/>
                  </a:lnTo>
                  <a:lnTo>
                    <a:pt x="46" y="41"/>
                  </a:lnTo>
                  <a:lnTo>
                    <a:pt x="45" y="46"/>
                  </a:lnTo>
                  <a:lnTo>
                    <a:pt x="45" y="54"/>
                  </a:lnTo>
                  <a:lnTo>
                    <a:pt x="45" y="54"/>
                  </a:lnTo>
                  <a:lnTo>
                    <a:pt x="45" y="59"/>
                  </a:lnTo>
                  <a:lnTo>
                    <a:pt x="45" y="59"/>
                  </a:lnTo>
                  <a:lnTo>
                    <a:pt x="45" y="65"/>
                  </a:lnTo>
                  <a:lnTo>
                    <a:pt x="41" y="70"/>
                  </a:lnTo>
                  <a:lnTo>
                    <a:pt x="41" y="70"/>
                  </a:lnTo>
                  <a:lnTo>
                    <a:pt x="35" y="72"/>
                  </a:lnTo>
                  <a:lnTo>
                    <a:pt x="30" y="72"/>
                  </a:lnTo>
                  <a:lnTo>
                    <a:pt x="30" y="72"/>
                  </a:lnTo>
                  <a:lnTo>
                    <a:pt x="28" y="70"/>
                  </a:lnTo>
                  <a:lnTo>
                    <a:pt x="28" y="70"/>
                  </a:lnTo>
                  <a:lnTo>
                    <a:pt x="24" y="72"/>
                  </a:lnTo>
                  <a:lnTo>
                    <a:pt x="22" y="78"/>
                  </a:lnTo>
                  <a:lnTo>
                    <a:pt x="22" y="78"/>
                  </a:lnTo>
                  <a:lnTo>
                    <a:pt x="24" y="83"/>
                  </a:lnTo>
                  <a:lnTo>
                    <a:pt x="28" y="85"/>
                  </a:lnTo>
                  <a:lnTo>
                    <a:pt x="224" y="85"/>
                  </a:lnTo>
                  <a:lnTo>
                    <a:pt x="224"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54" name="Freeform 49">
              <a:extLst>
                <a:ext uri="{FF2B5EF4-FFF2-40B4-BE49-F238E27FC236}">
                  <a16:creationId xmlns:a16="http://schemas.microsoft.com/office/drawing/2014/main" id="{20A38E7D-B6EE-4465-A5CC-15892A9E679C}"/>
                </a:ext>
              </a:extLst>
            </p:cNvPr>
            <p:cNvSpPr>
              <a:spLocks/>
            </p:cNvSpPr>
            <p:nvPr/>
          </p:nvSpPr>
          <p:spPr bwMode="auto">
            <a:xfrm>
              <a:off x="9178926" y="982663"/>
              <a:ext cx="400050" cy="236538"/>
            </a:xfrm>
            <a:custGeom>
              <a:avLst/>
              <a:gdLst>
                <a:gd name="T0" fmla="*/ 126 w 252"/>
                <a:gd name="T1" fmla="*/ 0 h 149"/>
                <a:gd name="T2" fmla="*/ 126 w 252"/>
                <a:gd name="T3" fmla="*/ 0 h 149"/>
                <a:gd name="T4" fmla="*/ 106 w 252"/>
                <a:gd name="T5" fmla="*/ 2 h 149"/>
                <a:gd name="T6" fmla="*/ 87 w 252"/>
                <a:gd name="T7" fmla="*/ 6 h 149"/>
                <a:gd name="T8" fmla="*/ 70 w 252"/>
                <a:gd name="T9" fmla="*/ 12 h 149"/>
                <a:gd name="T10" fmla="*/ 54 w 252"/>
                <a:gd name="T11" fmla="*/ 21 h 149"/>
                <a:gd name="T12" fmla="*/ 37 w 252"/>
                <a:gd name="T13" fmla="*/ 32 h 149"/>
                <a:gd name="T14" fmla="*/ 24 w 252"/>
                <a:gd name="T15" fmla="*/ 45 h 149"/>
                <a:gd name="T16" fmla="*/ 11 w 252"/>
                <a:gd name="T17" fmla="*/ 58 h 149"/>
                <a:gd name="T18" fmla="*/ 0 w 252"/>
                <a:gd name="T19" fmla="*/ 75 h 149"/>
                <a:gd name="T20" fmla="*/ 0 w 252"/>
                <a:gd name="T21" fmla="*/ 75 h 149"/>
                <a:gd name="T22" fmla="*/ 11 w 252"/>
                <a:gd name="T23" fmla="*/ 91 h 149"/>
                <a:gd name="T24" fmla="*/ 24 w 252"/>
                <a:gd name="T25" fmla="*/ 106 h 149"/>
                <a:gd name="T26" fmla="*/ 37 w 252"/>
                <a:gd name="T27" fmla="*/ 117 h 149"/>
                <a:gd name="T28" fmla="*/ 54 w 252"/>
                <a:gd name="T29" fmla="*/ 128 h 149"/>
                <a:gd name="T30" fmla="*/ 70 w 252"/>
                <a:gd name="T31" fmla="*/ 138 h 149"/>
                <a:gd name="T32" fmla="*/ 87 w 252"/>
                <a:gd name="T33" fmla="*/ 143 h 149"/>
                <a:gd name="T34" fmla="*/ 106 w 252"/>
                <a:gd name="T35" fmla="*/ 147 h 149"/>
                <a:gd name="T36" fmla="*/ 126 w 252"/>
                <a:gd name="T37" fmla="*/ 149 h 149"/>
                <a:gd name="T38" fmla="*/ 126 w 252"/>
                <a:gd name="T39" fmla="*/ 149 h 149"/>
                <a:gd name="T40" fmla="*/ 145 w 252"/>
                <a:gd name="T41" fmla="*/ 147 h 149"/>
                <a:gd name="T42" fmla="*/ 165 w 252"/>
                <a:gd name="T43" fmla="*/ 143 h 149"/>
                <a:gd name="T44" fmla="*/ 182 w 252"/>
                <a:gd name="T45" fmla="*/ 138 h 149"/>
                <a:gd name="T46" fmla="*/ 198 w 252"/>
                <a:gd name="T47" fmla="*/ 128 h 149"/>
                <a:gd name="T48" fmla="*/ 213 w 252"/>
                <a:gd name="T49" fmla="*/ 117 h 149"/>
                <a:gd name="T50" fmla="*/ 228 w 252"/>
                <a:gd name="T51" fmla="*/ 106 h 149"/>
                <a:gd name="T52" fmla="*/ 241 w 252"/>
                <a:gd name="T53" fmla="*/ 91 h 149"/>
                <a:gd name="T54" fmla="*/ 252 w 252"/>
                <a:gd name="T55" fmla="*/ 75 h 149"/>
                <a:gd name="T56" fmla="*/ 252 w 252"/>
                <a:gd name="T57" fmla="*/ 75 h 149"/>
                <a:gd name="T58" fmla="*/ 241 w 252"/>
                <a:gd name="T59" fmla="*/ 58 h 149"/>
                <a:gd name="T60" fmla="*/ 228 w 252"/>
                <a:gd name="T61" fmla="*/ 45 h 149"/>
                <a:gd name="T62" fmla="*/ 213 w 252"/>
                <a:gd name="T63" fmla="*/ 32 h 149"/>
                <a:gd name="T64" fmla="*/ 198 w 252"/>
                <a:gd name="T65" fmla="*/ 21 h 149"/>
                <a:gd name="T66" fmla="*/ 182 w 252"/>
                <a:gd name="T67" fmla="*/ 12 h 149"/>
                <a:gd name="T68" fmla="*/ 165 w 252"/>
                <a:gd name="T69" fmla="*/ 6 h 149"/>
                <a:gd name="T70" fmla="*/ 145 w 252"/>
                <a:gd name="T71" fmla="*/ 2 h 149"/>
                <a:gd name="T72" fmla="*/ 126 w 252"/>
                <a:gd name="T73" fmla="*/ 0 h 149"/>
                <a:gd name="T74" fmla="*/ 126 w 252"/>
                <a:gd name="T75"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2" h="149">
                  <a:moveTo>
                    <a:pt x="126" y="0"/>
                  </a:moveTo>
                  <a:lnTo>
                    <a:pt x="126" y="0"/>
                  </a:lnTo>
                  <a:lnTo>
                    <a:pt x="106" y="2"/>
                  </a:lnTo>
                  <a:lnTo>
                    <a:pt x="87" y="6"/>
                  </a:lnTo>
                  <a:lnTo>
                    <a:pt x="70" y="12"/>
                  </a:lnTo>
                  <a:lnTo>
                    <a:pt x="54" y="21"/>
                  </a:lnTo>
                  <a:lnTo>
                    <a:pt x="37" y="32"/>
                  </a:lnTo>
                  <a:lnTo>
                    <a:pt x="24" y="45"/>
                  </a:lnTo>
                  <a:lnTo>
                    <a:pt x="11" y="58"/>
                  </a:lnTo>
                  <a:lnTo>
                    <a:pt x="0" y="75"/>
                  </a:lnTo>
                  <a:lnTo>
                    <a:pt x="0" y="75"/>
                  </a:lnTo>
                  <a:lnTo>
                    <a:pt x="11" y="91"/>
                  </a:lnTo>
                  <a:lnTo>
                    <a:pt x="24" y="106"/>
                  </a:lnTo>
                  <a:lnTo>
                    <a:pt x="37" y="117"/>
                  </a:lnTo>
                  <a:lnTo>
                    <a:pt x="54" y="128"/>
                  </a:lnTo>
                  <a:lnTo>
                    <a:pt x="70" y="138"/>
                  </a:lnTo>
                  <a:lnTo>
                    <a:pt x="87" y="143"/>
                  </a:lnTo>
                  <a:lnTo>
                    <a:pt x="106" y="147"/>
                  </a:lnTo>
                  <a:lnTo>
                    <a:pt x="126" y="149"/>
                  </a:lnTo>
                  <a:lnTo>
                    <a:pt x="126" y="149"/>
                  </a:lnTo>
                  <a:lnTo>
                    <a:pt x="145" y="147"/>
                  </a:lnTo>
                  <a:lnTo>
                    <a:pt x="165" y="143"/>
                  </a:lnTo>
                  <a:lnTo>
                    <a:pt x="182" y="138"/>
                  </a:lnTo>
                  <a:lnTo>
                    <a:pt x="198" y="128"/>
                  </a:lnTo>
                  <a:lnTo>
                    <a:pt x="213" y="117"/>
                  </a:lnTo>
                  <a:lnTo>
                    <a:pt x="228" y="106"/>
                  </a:lnTo>
                  <a:lnTo>
                    <a:pt x="241" y="91"/>
                  </a:lnTo>
                  <a:lnTo>
                    <a:pt x="252" y="75"/>
                  </a:lnTo>
                  <a:lnTo>
                    <a:pt x="252" y="75"/>
                  </a:lnTo>
                  <a:lnTo>
                    <a:pt x="241" y="58"/>
                  </a:lnTo>
                  <a:lnTo>
                    <a:pt x="228" y="45"/>
                  </a:lnTo>
                  <a:lnTo>
                    <a:pt x="213" y="32"/>
                  </a:lnTo>
                  <a:lnTo>
                    <a:pt x="198" y="21"/>
                  </a:lnTo>
                  <a:lnTo>
                    <a:pt x="182" y="12"/>
                  </a:lnTo>
                  <a:lnTo>
                    <a:pt x="165" y="6"/>
                  </a:lnTo>
                  <a:lnTo>
                    <a:pt x="145" y="2"/>
                  </a:lnTo>
                  <a:lnTo>
                    <a:pt x="126" y="0"/>
                  </a:lnTo>
                  <a:lnTo>
                    <a:pt x="126" y="0"/>
                  </a:lnTo>
                  <a:close/>
                </a:path>
              </a:pathLst>
            </a:cu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55" name="Freeform 50">
              <a:extLst>
                <a:ext uri="{FF2B5EF4-FFF2-40B4-BE49-F238E27FC236}">
                  <a16:creationId xmlns:a16="http://schemas.microsoft.com/office/drawing/2014/main" id="{99ADC507-5ED3-4908-8084-522B702479BD}"/>
                </a:ext>
              </a:extLst>
            </p:cNvPr>
            <p:cNvSpPr>
              <a:spLocks noEditPoints="1"/>
            </p:cNvSpPr>
            <p:nvPr/>
          </p:nvSpPr>
          <p:spPr bwMode="auto">
            <a:xfrm>
              <a:off x="9229726" y="965201"/>
              <a:ext cx="269875" cy="271463"/>
            </a:xfrm>
            <a:custGeom>
              <a:avLst/>
              <a:gdLst>
                <a:gd name="T0" fmla="*/ 85 w 170"/>
                <a:gd name="T1" fmla="*/ 171 h 171"/>
                <a:gd name="T2" fmla="*/ 51 w 170"/>
                <a:gd name="T3" fmla="*/ 163 h 171"/>
                <a:gd name="T4" fmla="*/ 26 w 170"/>
                <a:gd name="T5" fmla="*/ 145 h 171"/>
                <a:gd name="T6" fmla="*/ 7 w 170"/>
                <a:gd name="T7" fmla="*/ 119 h 171"/>
                <a:gd name="T8" fmla="*/ 0 w 170"/>
                <a:gd name="T9" fmla="*/ 86 h 171"/>
                <a:gd name="T10" fmla="*/ 1 w 170"/>
                <a:gd name="T11" fmla="*/ 69 h 171"/>
                <a:gd name="T12" fmla="*/ 14 w 170"/>
                <a:gd name="T13" fmla="*/ 39 h 171"/>
                <a:gd name="T14" fmla="*/ 37 w 170"/>
                <a:gd name="T15" fmla="*/ 15 h 171"/>
                <a:gd name="T16" fmla="*/ 68 w 170"/>
                <a:gd name="T17" fmla="*/ 2 h 171"/>
                <a:gd name="T18" fmla="*/ 85 w 170"/>
                <a:gd name="T19" fmla="*/ 0 h 171"/>
                <a:gd name="T20" fmla="*/ 118 w 170"/>
                <a:gd name="T21" fmla="*/ 8 h 171"/>
                <a:gd name="T22" fmla="*/ 144 w 170"/>
                <a:gd name="T23" fmla="*/ 26 h 171"/>
                <a:gd name="T24" fmla="*/ 163 w 170"/>
                <a:gd name="T25" fmla="*/ 52 h 171"/>
                <a:gd name="T26" fmla="*/ 170 w 170"/>
                <a:gd name="T27" fmla="*/ 86 h 171"/>
                <a:gd name="T28" fmla="*/ 168 w 170"/>
                <a:gd name="T29" fmla="*/ 102 h 171"/>
                <a:gd name="T30" fmla="*/ 155 w 170"/>
                <a:gd name="T31" fmla="*/ 134 h 171"/>
                <a:gd name="T32" fmla="*/ 131 w 170"/>
                <a:gd name="T33" fmla="*/ 156 h 171"/>
                <a:gd name="T34" fmla="*/ 101 w 170"/>
                <a:gd name="T35" fmla="*/ 169 h 171"/>
                <a:gd name="T36" fmla="*/ 85 w 170"/>
                <a:gd name="T37" fmla="*/ 171 h 171"/>
                <a:gd name="T38" fmla="*/ 85 w 170"/>
                <a:gd name="T39" fmla="*/ 23 h 171"/>
                <a:gd name="T40" fmla="*/ 61 w 170"/>
                <a:gd name="T41" fmla="*/ 26 h 171"/>
                <a:gd name="T42" fmla="*/ 40 w 170"/>
                <a:gd name="T43" fmla="*/ 41 h 171"/>
                <a:gd name="T44" fmla="*/ 26 w 170"/>
                <a:gd name="T45" fmla="*/ 62 h 171"/>
                <a:gd name="T46" fmla="*/ 22 w 170"/>
                <a:gd name="T47" fmla="*/ 86 h 171"/>
                <a:gd name="T48" fmla="*/ 22 w 170"/>
                <a:gd name="T49" fmla="*/ 99 h 171"/>
                <a:gd name="T50" fmla="*/ 31 w 170"/>
                <a:gd name="T51" fmla="*/ 121 h 171"/>
                <a:gd name="T52" fmla="*/ 50 w 170"/>
                <a:gd name="T53" fmla="*/ 139 h 171"/>
                <a:gd name="T54" fmla="*/ 72 w 170"/>
                <a:gd name="T55" fmla="*/ 149 h 171"/>
                <a:gd name="T56" fmla="*/ 85 w 170"/>
                <a:gd name="T57" fmla="*/ 150 h 171"/>
                <a:gd name="T58" fmla="*/ 109 w 170"/>
                <a:gd name="T59" fmla="*/ 145 h 171"/>
                <a:gd name="T60" fmla="*/ 129 w 170"/>
                <a:gd name="T61" fmla="*/ 130 h 171"/>
                <a:gd name="T62" fmla="*/ 144 w 170"/>
                <a:gd name="T63" fmla="*/ 112 h 171"/>
                <a:gd name="T64" fmla="*/ 148 w 170"/>
                <a:gd name="T65" fmla="*/ 86 h 171"/>
                <a:gd name="T66" fmla="*/ 148 w 170"/>
                <a:gd name="T67" fmla="*/ 73 h 171"/>
                <a:gd name="T68" fmla="*/ 139 w 170"/>
                <a:gd name="T69" fmla="*/ 50 h 171"/>
                <a:gd name="T70" fmla="*/ 120 w 170"/>
                <a:gd name="T71" fmla="*/ 34 h 171"/>
                <a:gd name="T72" fmla="*/ 98 w 170"/>
                <a:gd name="T73" fmla="*/ 23 h 171"/>
                <a:gd name="T74" fmla="*/ 85 w 170"/>
                <a:gd name="T75" fmla="*/ 2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171">
                  <a:moveTo>
                    <a:pt x="85" y="171"/>
                  </a:moveTo>
                  <a:lnTo>
                    <a:pt x="85" y="171"/>
                  </a:lnTo>
                  <a:lnTo>
                    <a:pt x="68" y="169"/>
                  </a:lnTo>
                  <a:lnTo>
                    <a:pt x="51" y="163"/>
                  </a:lnTo>
                  <a:lnTo>
                    <a:pt x="37" y="156"/>
                  </a:lnTo>
                  <a:lnTo>
                    <a:pt x="26" y="145"/>
                  </a:lnTo>
                  <a:lnTo>
                    <a:pt x="14" y="134"/>
                  </a:lnTo>
                  <a:lnTo>
                    <a:pt x="7" y="119"/>
                  </a:lnTo>
                  <a:lnTo>
                    <a:pt x="1" y="102"/>
                  </a:lnTo>
                  <a:lnTo>
                    <a:pt x="0" y="86"/>
                  </a:lnTo>
                  <a:lnTo>
                    <a:pt x="0" y="86"/>
                  </a:lnTo>
                  <a:lnTo>
                    <a:pt x="1" y="69"/>
                  </a:lnTo>
                  <a:lnTo>
                    <a:pt x="7" y="52"/>
                  </a:lnTo>
                  <a:lnTo>
                    <a:pt x="14" y="39"/>
                  </a:lnTo>
                  <a:lnTo>
                    <a:pt x="26" y="26"/>
                  </a:lnTo>
                  <a:lnTo>
                    <a:pt x="37" y="15"/>
                  </a:lnTo>
                  <a:lnTo>
                    <a:pt x="51" y="8"/>
                  </a:lnTo>
                  <a:lnTo>
                    <a:pt x="68" y="2"/>
                  </a:lnTo>
                  <a:lnTo>
                    <a:pt x="85" y="0"/>
                  </a:lnTo>
                  <a:lnTo>
                    <a:pt x="85" y="0"/>
                  </a:lnTo>
                  <a:lnTo>
                    <a:pt x="101" y="2"/>
                  </a:lnTo>
                  <a:lnTo>
                    <a:pt x="118" y="8"/>
                  </a:lnTo>
                  <a:lnTo>
                    <a:pt x="131" y="15"/>
                  </a:lnTo>
                  <a:lnTo>
                    <a:pt x="144" y="26"/>
                  </a:lnTo>
                  <a:lnTo>
                    <a:pt x="155" y="39"/>
                  </a:lnTo>
                  <a:lnTo>
                    <a:pt x="163" y="52"/>
                  </a:lnTo>
                  <a:lnTo>
                    <a:pt x="168" y="69"/>
                  </a:lnTo>
                  <a:lnTo>
                    <a:pt x="170" y="86"/>
                  </a:lnTo>
                  <a:lnTo>
                    <a:pt x="170" y="86"/>
                  </a:lnTo>
                  <a:lnTo>
                    <a:pt x="168" y="102"/>
                  </a:lnTo>
                  <a:lnTo>
                    <a:pt x="163" y="119"/>
                  </a:lnTo>
                  <a:lnTo>
                    <a:pt x="155" y="134"/>
                  </a:lnTo>
                  <a:lnTo>
                    <a:pt x="144" y="145"/>
                  </a:lnTo>
                  <a:lnTo>
                    <a:pt x="131" y="156"/>
                  </a:lnTo>
                  <a:lnTo>
                    <a:pt x="118" y="163"/>
                  </a:lnTo>
                  <a:lnTo>
                    <a:pt x="101" y="169"/>
                  </a:lnTo>
                  <a:lnTo>
                    <a:pt x="85" y="171"/>
                  </a:lnTo>
                  <a:lnTo>
                    <a:pt x="85" y="171"/>
                  </a:lnTo>
                  <a:close/>
                  <a:moveTo>
                    <a:pt x="85" y="23"/>
                  </a:moveTo>
                  <a:lnTo>
                    <a:pt x="85" y="23"/>
                  </a:lnTo>
                  <a:lnTo>
                    <a:pt x="72" y="23"/>
                  </a:lnTo>
                  <a:lnTo>
                    <a:pt x="61" y="26"/>
                  </a:lnTo>
                  <a:lnTo>
                    <a:pt x="50" y="34"/>
                  </a:lnTo>
                  <a:lnTo>
                    <a:pt x="40" y="41"/>
                  </a:lnTo>
                  <a:lnTo>
                    <a:pt x="31" y="50"/>
                  </a:lnTo>
                  <a:lnTo>
                    <a:pt x="26" y="62"/>
                  </a:lnTo>
                  <a:lnTo>
                    <a:pt x="22" y="73"/>
                  </a:lnTo>
                  <a:lnTo>
                    <a:pt x="22" y="86"/>
                  </a:lnTo>
                  <a:lnTo>
                    <a:pt x="22" y="86"/>
                  </a:lnTo>
                  <a:lnTo>
                    <a:pt x="22" y="99"/>
                  </a:lnTo>
                  <a:lnTo>
                    <a:pt x="26" y="112"/>
                  </a:lnTo>
                  <a:lnTo>
                    <a:pt x="31" y="121"/>
                  </a:lnTo>
                  <a:lnTo>
                    <a:pt x="40" y="130"/>
                  </a:lnTo>
                  <a:lnTo>
                    <a:pt x="50" y="139"/>
                  </a:lnTo>
                  <a:lnTo>
                    <a:pt x="61" y="145"/>
                  </a:lnTo>
                  <a:lnTo>
                    <a:pt x="72" y="149"/>
                  </a:lnTo>
                  <a:lnTo>
                    <a:pt x="85" y="150"/>
                  </a:lnTo>
                  <a:lnTo>
                    <a:pt x="85" y="150"/>
                  </a:lnTo>
                  <a:lnTo>
                    <a:pt x="98" y="149"/>
                  </a:lnTo>
                  <a:lnTo>
                    <a:pt x="109" y="145"/>
                  </a:lnTo>
                  <a:lnTo>
                    <a:pt x="120" y="139"/>
                  </a:lnTo>
                  <a:lnTo>
                    <a:pt x="129" y="130"/>
                  </a:lnTo>
                  <a:lnTo>
                    <a:pt x="139" y="121"/>
                  </a:lnTo>
                  <a:lnTo>
                    <a:pt x="144" y="112"/>
                  </a:lnTo>
                  <a:lnTo>
                    <a:pt x="148" y="99"/>
                  </a:lnTo>
                  <a:lnTo>
                    <a:pt x="148" y="86"/>
                  </a:lnTo>
                  <a:lnTo>
                    <a:pt x="148" y="86"/>
                  </a:lnTo>
                  <a:lnTo>
                    <a:pt x="148" y="73"/>
                  </a:lnTo>
                  <a:lnTo>
                    <a:pt x="144" y="62"/>
                  </a:lnTo>
                  <a:lnTo>
                    <a:pt x="139" y="50"/>
                  </a:lnTo>
                  <a:lnTo>
                    <a:pt x="129" y="41"/>
                  </a:lnTo>
                  <a:lnTo>
                    <a:pt x="120" y="34"/>
                  </a:lnTo>
                  <a:lnTo>
                    <a:pt x="109" y="26"/>
                  </a:lnTo>
                  <a:lnTo>
                    <a:pt x="98" y="23"/>
                  </a:lnTo>
                  <a:lnTo>
                    <a:pt x="85" y="23"/>
                  </a:lnTo>
                  <a:lnTo>
                    <a:pt x="8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56" name="Freeform 51">
              <a:extLst>
                <a:ext uri="{FF2B5EF4-FFF2-40B4-BE49-F238E27FC236}">
                  <a16:creationId xmlns:a16="http://schemas.microsoft.com/office/drawing/2014/main" id="{563220EB-C3C9-4C36-83DB-AD8E530C8781}"/>
                </a:ext>
              </a:extLst>
            </p:cNvPr>
            <p:cNvSpPr>
              <a:spLocks/>
            </p:cNvSpPr>
            <p:nvPr/>
          </p:nvSpPr>
          <p:spPr bwMode="auto">
            <a:xfrm>
              <a:off x="9320213" y="1057276"/>
              <a:ext cx="88900" cy="87313"/>
            </a:xfrm>
            <a:custGeom>
              <a:avLst/>
              <a:gdLst>
                <a:gd name="T0" fmla="*/ 56 w 56"/>
                <a:gd name="T1" fmla="*/ 28 h 55"/>
                <a:gd name="T2" fmla="*/ 56 w 56"/>
                <a:gd name="T3" fmla="*/ 28 h 55"/>
                <a:gd name="T4" fmla="*/ 56 w 56"/>
                <a:gd name="T5" fmla="*/ 33 h 55"/>
                <a:gd name="T6" fmla="*/ 54 w 56"/>
                <a:gd name="T7" fmla="*/ 39 h 55"/>
                <a:gd name="T8" fmla="*/ 46 w 56"/>
                <a:gd name="T9" fmla="*/ 48 h 55"/>
                <a:gd name="T10" fmla="*/ 39 w 56"/>
                <a:gd name="T11" fmla="*/ 54 h 55"/>
                <a:gd name="T12" fmla="*/ 33 w 56"/>
                <a:gd name="T13" fmla="*/ 55 h 55"/>
                <a:gd name="T14" fmla="*/ 28 w 56"/>
                <a:gd name="T15" fmla="*/ 55 h 55"/>
                <a:gd name="T16" fmla="*/ 28 w 56"/>
                <a:gd name="T17" fmla="*/ 55 h 55"/>
                <a:gd name="T18" fmla="*/ 22 w 56"/>
                <a:gd name="T19" fmla="*/ 55 h 55"/>
                <a:gd name="T20" fmla="*/ 17 w 56"/>
                <a:gd name="T21" fmla="*/ 54 h 55"/>
                <a:gd name="T22" fmla="*/ 9 w 56"/>
                <a:gd name="T23" fmla="*/ 48 h 55"/>
                <a:gd name="T24" fmla="*/ 2 w 56"/>
                <a:gd name="T25" fmla="*/ 39 h 55"/>
                <a:gd name="T26" fmla="*/ 0 w 56"/>
                <a:gd name="T27" fmla="*/ 33 h 55"/>
                <a:gd name="T28" fmla="*/ 0 w 56"/>
                <a:gd name="T29" fmla="*/ 28 h 55"/>
                <a:gd name="T30" fmla="*/ 0 w 56"/>
                <a:gd name="T31" fmla="*/ 28 h 55"/>
                <a:gd name="T32" fmla="*/ 0 w 56"/>
                <a:gd name="T33" fmla="*/ 22 h 55"/>
                <a:gd name="T34" fmla="*/ 2 w 56"/>
                <a:gd name="T35" fmla="*/ 16 h 55"/>
                <a:gd name="T36" fmla="*/ 9 w 56"/>
                <a:gd name="T37" fmla="*/ 9 h 55"/>
                <a:gd name="T38" fmla="*/ 17 w 56"/>
                <a:gd name="T39" fmla="*/ 2 h 55"/>
                <a:gd name="T40" fmla="*/ 22 w 56"/>
                <a:gd name="T41" fmla="*/ 2 h 55"/>
                <a:gd name="T42" fmla="*/ 28 w 56"/>
                <a:gd name="T43" fmla="*/ 0 h 55"/>
                <a:gd name="T44" fmla="*/ 28 w 56"/>
                <a:gd name="T45" fmla="*/ 0 h 55"/>
                <a:gd name="T46" fmla="*/ 33 w 56"/>
                <a:gd name="T47" fmla="*/ 2 h 55"/>
                <a:gd name="T48" fmla="*/ 39 w 56"/>
                <a:gd name="T49" fmla="*/ 2 h 55"/>
                <a:gd name="T50" fmla="*/ 46 w 56"/>
                <a:gd name="T51" fmla="*/ 9 h 55"/>
                <a:gd name="T52" fmla="*/ 54 w 56"/>
                <a:gd name="T53" fmla="*/ 16 h 55"/>
                <a:gd name="T54" fmla="*/ 56 w 56"/>
                <a:gd name="T55" fmla="*/ 22 h 55"/>
                <a:gd name="T56" fmla="*/ 56 w 56"/>
                <a:gd name="T57" fmla="*/ 28 h 55"/>
                <a:gd name="T58" fmla="*/ 56 w 56"/>
                <a:gd name="T59"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 h="55">
                  <a:moveTo>
                    <a:pt x="56" y="28"/>
                  </a:moveTo>
                  <a:lnTo>
                    <a:pt x="56" y="28"/>
                  </a:lnTo>
                  <a:lnTo>
                    <a:pt x="56" y="33"/>
                  </a:lnTo>
                  <a:lnTo>
                    <a:pt x="54" y="39"/>
                  </a:lnTo>
                  <a:lnTo>
                    <a:pt x="46" y="48"/>
                  </a:lnTo>
                  <a:lnTo>
                    <a:pt x="39" y="54"/>
                  </a:lnTo>
                  <a:lnTo>
                    <a:pt x="33" y="55"/>
                  </a:lnTo>
                  <a:lnTo>
                    <a:pt x="28" y="55"/>
                  </a:lnTo>
                  <a:lnTo>
                    <a:pt x="28" y="55"/>
                  </a:lnTo>
                  <a:lnTo>
                    <a:pt x="22" y="55"/>
                  </a:lnTo>
                  <a:lnTo>
                    <a:pt x="17" y="54"/>
                  </a:lnTo>
                  <a:lnTo>
                    <a:pt x="9" y="48"/>
                  </a:lnTo>
                  <a:lnTo>
                    <a:pt x="2" y="39"/>
                  </a:lnTo>
                  <a:lnTo>
                    <a:pt x="0" y="33"/>
                  </a:lnTo>
                  <a:lnTo>
                    <a:pt x="0" y="28"/>
                  </a:lnTo>
                  <a:lnTo>
                    <a:pt x="0" y="28"/>
                  </a:lnTo>
                  <a:lnTo>
                    <a:pt x="0" y="22"/>
                  </a:lnTo>
                  <a:lnTo>
                    <a:pt x="2" y="16"/>
                  </a:lnTo>
                  <a:lnTo>
                    <a:pt x="9" y="9"/>
                  </a:lnTo>
                  <a:lnTo>
                    <a:pt x="17" y="2"/>
                  </a:lnTo>
                  <a:lnTo>
                    <a:pt x="22" y="2"/>
                  </a:lnTo>
                  <a:lnTo>
                    <a:pt x="28" y="0"/>
                  </a:lnTo>
                  <a:lnTo>
                    <a:pt x="28" y="0"/>
                  </a:lnTo>
                  <a:lnTo>
                    <a:pt x="33" y="2"/>
                  </a:lnTo>
                  <a:lnTo>
                    <a:pt x="39" y="2"/>
                  </a:lnTo>
                  <a:lnTo>
                    <a:pt x="46" y="9"/>
                  </a:lnTo>
                  <a:lnTo>
                    <a:pt x="54" y="16"/>
                  </a:lnTo>
                  <a:lnTo>
                    <a:pt x="56" y="22"/>
                  </a:lnTo>
                  <a:lnTo>
                    <a:pt x="56" y="28"/>
                  </a:lnTo>
                  <a:lnTo>
                    <a:pt x="56"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57" name="Freeform 52">
              <a:extLst>
                <a:ext uri="{FF2B5EF4-FFF2-40B4-BE49-F238E27FC236}">
                  <a16:creationId xmlns:a16="http://schemas.microsoft.com/office/drawing/2014/main" id="{F24AE494-EBF3-4316-ADFA-54DA49FA03DF}"/>
                </a:ext>
              </a:extLst>
            </p:cNvPr>
            <p:cNvSpPr>
              <a:spLocks noEditPoints="1"/>
            </p:cNvSpPr>
            <p:nvPr/>
          </p:nvSpPr>
          <p:spPr bwMode="auto">
            <a:xfrm>
              <a:off x="9099551" y="836613"/>
              <a:ext cx="530225" cy="528638"/>
            </a:xfrm>
            <a:custGeom>
              <a:avLst/>
              <a:gdLst>
                <a:gd name="T0" fmla="*/ 167 w 334"/>
                <a:gd name="T1" fmla="*/ 333 h 333"/>
                <a:gd name="T2" fmla="*/ 148 w 334"/>
                <a:gd name="T3" fmla="*/ 311 h 333"/>
                <a:gd name="T4" fmla="*/ 189 w 334"/>
                <a:gd name="T5" fmla="*/ 331 h 333"/>
                <a:gd name="T6" fmla="*/ 204 w 334"/>
                <a:gd name="T7" fmla="*/ 307 h 333"/>
                <a:gd name="T8" fmla="*/ 189 w 334"/>
                <a:gd name="T9" fmla="*/ 331 h 333"/>
                <a:gd name="T10" fmla="*/ 124 w 334"/>
                <a:gd name="T11" fmla="*/ 328 h 333"/>
                <a:gd name="T12" fmla="*/ 111 w 334"/>
                <a:gd name="T13" fmla="*/ 302 h 333"/>
                <a:gd name="T14" fmla="*/ 232 w 334"/>
                <a:gd name="T15" fmla="*/ 320 h 333"/>
                <a:gd name="T16" fmla="*/ 239 w 334"/>
                <a:gd name="T17" fmla="*/ 293 h 333"/>
                <a:gd name="T18" fmla="*/ 232 w 334"/>
                <a:gd name="T19" fmla="*/ 320 h 333"/>
                <a:gd name="T20" fmla="*/ 83 w 334"/>
                <a:gd name="T21" fmla="*/ 311 h 333"/>
                <a:gd name="T22" fmla="*/ 78 w 334"/>
                <a:gd name="T23" fmla="*/ 283 h 333"/>
                <a:gd name="T24" fmla="*/ 269 w 334"/>
                <a:gd name="T25" fmla="*/ 300 h 333"/>
                <a:gd name="T26" fmla="*/ 271 w 334"/>
                <a:gd name="T27" fmla="*/ 270 h 333"/>
                <a:gd name="T28" fmla="*/ 269 w 334"/>
                <a:gd name="T29" fmla="*/ 300 h 333"/>
                <a:gd name="T30" fmla="*/ 48 w 334"/>
                <a:gd name="T31" fmla="*/ 285 h 333"/>
                <a:gd name="T32" fmla="*/ 52 w 334"/>
                <a:gd name="T33" fmla="*/ 256 h 333"/>
                <a:gd name="T34" fmla="*/ 298 w 334"/>
                <a:gd name="T35" fmla="*/ 268 h 333"/>
                <a:gd name="T36" fmla="*/ 293 w 334"/>
                <a:gd name="T37" fmla="*/ 241 h 333"/>
                <a:gd name="T38" fmla="*/ 298 w 334"/>
                <a:gd name="T39" fmla="*/ 268 h 333"/>
                <a:gd name="T40" fmla="*/ 22 w 334"/>
                <a:gd name="T41" fmla="*/ 250 h 333"/>
                <a:gd name="T42" fmla="*/ 32 w 334"/>
                <a:gd name="T43" fmla="*/ 222 h 333"/>
                <a:gd name="T44" fmla="*/ 321 w 334"/>
                <a:gd name="T45" fmla="*/ 231 h 333"/>
                <a:gd name="T46" fmla="*/ 308 w 334"/>
                <a:gd name="T47" fmla="*/ 206 h 333"/>
                <a:gd name="T48" fmla="*/ 321 w 334"/>
                <a:gd name="T49" fmla="*/ 231 h 333"/>
                <a:gd name="T50" fmla="*/ 6 w 334"/>
                <a:gd name="T51" fmla="*/ 211 h 333"/>
                <a:gd name="T52" fmla="*/ 22 w 334"/>
                <a:gd name="T53" fmla="*/ 187 h 333"/>
                <a:gd name="T54" fmla="*/ 332 w 334"/>
                <a:gd name="T55" fmla="*/ 189 h 333"/>
                <a:gd name="T56" fmla="*/ 313 w 334"/>
                <a:gd name="T57" fmla="*/ 167 h 333"/>
                <a:gd name="T58" fmla="*/ 334 w 334"/>
                <a:gd name="T59" fmla="*/ 167 h 333"/>
                <a:gd name="T60" fmla="*/ 332 w 334"/>
                <a:gd name="T61" fmla="*/ 189 h 333"/>
                <a:gd name="T62" fmla="*/ 0 w 334"/>
                <a:gd name="T63" fmla="*/ 167 h 333"/>
                <a:gd name="T64" fmla="*/ 22 w 334"/>
                <a:gd name="T65" fmla="*/ 148 h 333"/>
                <a:gd name="T66" fmla="*/ 311 w 334"/>
                <a:gd name="T67" fmla="*/ 148 h 333"/>
                <a:gd name="T68" fmla="*/ 328 w 334"/>
                <a:gd name="T69" fmla="*/ 122 h 333"/>
                <a:gd name="T70" fmla="*/ 311 w 334"/>
                <a:gd name="T71" fmla="*/ 148 h 333"/>
                <a:gd name="T72" fmla="*/ 6 w 334"/>
                <a:gd name="T73" fmla="*/ 124 h 333"/>
                <a:gd name="T74" fmla="*/ 32 w 334"/>
                <a:gd name="T75" fmla="*/ 111 h 333"/>
                <a:gd name="T76" fmla="*/ 302 w 334"/>
                <a:gd name="T77" fmla="*/ 111 h 333"/>
                <a:gd name="T78" fmla="*/ 311 w 334"/>
                <a:gd name="T79" fmla="*/ 83 h 333"/>
                <a:gd name="T80" fmla="*/ 302 w 334"/>
                <a:gd name="T81" fmla="*/ 111 h 333"/>
                <a:gd name="T82" fmla="*/ 22 w 334"/>
                <a:gd name="T83" fmla="*/ 83 h 333"/>
                <a:gd name="T84" fmla="*/ 50 w 334"/>
                <a:gd name="T85" fmla="*/ 78 h 333"/>
                <a:gd name="T86" fmla="*/ 282 w 334"/>
                <a:gd name="T87" fmla="*/ 78 h 333"/>
                <a:gd name="T88" fmla="*/ 284 w 334"/>
                <a:gd name="T89" fmla="*/ 48 h 333"/>
                <a:gd name="T90" fmla="*/ 282 w 334"/>
                <a:gd name="T91" fmla="*/ 78 h 333"/>
                <a:gd name="T92" fmla="*/ 48 w 334"/>
                <a:gd name="T93" fmla="*/ 50 h 333"/>
                <a:gd name="T94" fmla="*/ 78 w 334"/>
                <a:gd name="T95" fmla="*/ 52 h 333"/>
                <a:gd name="T96" fmla="*/ 256 w 334"/>
                <a:gd name="T97" fmla="*/ 50 h 333"/>
                <a:gd name="T98" fmla="*/ 250 w 334"/>
                <a:gd name="T99" fmla="*/ 22 h 333"/>
                <a:gd name="T100" fmla="*/ 256 w 334"/>
                <a:gd name="T101" fmla="*/ 50 h 333"/>
                <a:gd name="T102" fmla="*/ 83 w 334"/>
                <a:gd name="T103" fmla="*/ 22 h 333"/>
                <a:gd name="T104" fmla="*/ 111 w 334"/>
                <a:gd name="T105" fmla="*/ 31 h 333"/>
                <a:gd name="T106" fmla="*/ 222 w 334"/>
                <a:gd name="T107" fmla="*/ 31 h 333"/>
                <a:gd name="T108" fmla="*/ 209 w 334"/>
                <a:gd name="T109" fmla="*/ 5 h 333"/>
                <a:gd name="T110" fmla="*/ 222 w 334"/>
                <a:gd name="T111" fmla="*/ 31 h 333"/>
                <a:gd name="T112" fmla="*/ 122 w 334"/>
                <a:gd name="T113" fmla="*/ 5 h 333"/>
                <a:gd name="T114" fmla="*/ 146 w 334"/>
                <a:gd name="T115" fmla="*/ 22 h 333"/>
                <a:gd name="T116" fmla="*/ 185 w 334"/>
                <a:gd name="T117" fmla="*/ 22 h 333"/>
                <a:gd name="T118" fmla="*/ 167 w 334"/>
                <a:gd name="T119" fmla="*/ 0 h 333"/>
                <a:gd name="T120" fmla="*/ 187 w 334"/>
                <a:gd name="T121" fmla="*/ 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4" h="333">
                  <a:moveTo>
                    <a:pt x="167" y="333"/>
                  </a:moveTo>
                  <a:lnTo>
                    <a:pt x="167" y="333"/>
                  </a:lnTo>
                  <a:lnTo>
                    <a:pt x="167" y="333"/>
                  </a:lnTo>
                  <a:lnTo>
                    <a:pt x="145" y="331"/>
                  </a:lnTo>
                  <a:lnTo>
                    <a:pt x="148" y="311"/>
                  </a:lnTo>
                  <a:lnTo>
                    <a:pt x="148" y="311"/>
                  </a:lnTo>
                  <a:lnTo>
                    <a:pt x="167" y="313"/>
                  </a:lnTo>
                  <a:lnTo>
                    <a:pt x="167" y="333"/>
                  </a:lnTo>
                  <a:close/>
                  <a:moveTo>
                    <a:pt x="189" y="331"/>
                  </a:moveTo>
                  <a:lnTo>
                    <a:pt x="185" y="311"/>
                  </a:lnTo>
                  <a:lnTo>
                    <a:pt x="185" y="311"/>
                  </a:lnTo>
                  <a:lnTo>
                    <a:pt x="204" y="307"/>
                  </a:lnTo>
                  <a:lnTo>
                    <a:pt x="209" y="328"/>
                  </a:lnTo>
                  <a:lnTo>
                    <a:pt x="209" y="328"/>
                  </a:lnTo>
                  <a:lnTo>
                    <a:pt x="189" y="331"/>
                  </a:lnTo>
                  <a:lnTo>
                    <a:pt x="189" y="331"/>
                  </a:lnTo>
                  <a:close/>
                  <a:moveTo>
                    <a:pt x="124" y="328"/>
                  </a:moveTo>
                  <a:lnTo>
                    <a:pt x="124" y="328"/>
                  </a:lnTo>
                  <a:lnTo>
                    <a:pt x="104" y="320"/>
                  </a:lnTo>
                  <a:lnTo>
                    <a:pt x="111" y="302"/>
                  </a:lnTo>
                  <a:lnTo>
                    <a:pt x="111" y="302"/>
                  </a:lnTo>
                  <a:lnTo>
                    <a:pt x="130" y="307"/>
                  </a:lnTo>
                  <a:lnTo>
                    <a:pt x="124" y="328"/>
                  </a:lnTo>
                  <a:close/>
                  <a:moveTo>
                    <a:pt x="232" y="320"/>
                  </a:moveTo>
                  <a:lnTo>
                    <a:pt x="222" y="302"/>
                  </a:lnTo>
                  <a:lnTo>
                    <a:pt x="222" y="302"/>
                  </a:lnTo>
                  <a:lnTo>
                    <a:pt x="239" y="293"/>
                  </a:lnTo>
                  <a:lnTo>
                    <a:pt x="250" y="311"/>
                  </a:lnTo>
                  <a:lnTo>
                    <a:pt x="250" y="311"/>
                  </a:lnTo>
                  <a:lnTo>
                    <a:pt x="232" y="320"/>
                  </a:lnTo>
                  <a:lnTo>
                    <a:pt x="232" y="320"/>
                  </a:lnTo>
                  <a:close/>
                  <a:moveTo>
                    <a:pt x="83" y="311"/>
                  </a:moveTo>
                  <a:lnTo>
                    <a:pt x="83" y="311"/>
                  </a:lnTo>
                  <a:lnTo>
                    <a:pt x="65" y="300"/>
                  </a:lnTo>
                  <a:lnTo>
                    <a:pt x="78" y="283"/>
                  </a:lnTo>
                  <a:lnTo>
                    <a:pt x="78" y="283"/>
                  </a:lnTo>
                  <a:lnTo>
                    <a:pt x="95" y="293"/>
                  </a:lnTo>
                  <a:lnTo>
                    <a:pt x="83" y="311"/>
                  </a:lnTo>
                  <a:close/>
                  <a:moveTo>
                    <a:pt x="269" y="300"/>
                  </a:moveTo>
                  <a:lnTo>
                    <a:pt x="256" y="283"/>
                  </a:lnTo>
                  <a:lnTo>
                    <a:pt x="256" y="283"/>
                  </a:lnTo>
                  <a:lnTo>
                    <a:pt x="271" y="270"/>
                  </a:lnTo>
                  <a:lnTo>
                    <a:pt x="285" y="285"/>
                  </a:lnTo>
                  <a:lnTo>
                    <a:pt x="285" y="285"/>
                  </a:lnTo>
                  <a:lnTo>
                    <a:pt x="269" y="300"/>
                  </a:lnTo>
                  <a:lnTo>
                    <a:pt x="269" y="300"/>
                  </a:lnTo>
                  <a:close/>
                  <a:moveTo>
                    <a:pt x="48" y="285"/>
                  </a:moveTo>
                  <a:lnTo>
                    <a:pt x="48" y="285"/>
                  </a:lnTo>
                  <a:lnTo>
                    <a:pt x="35" y="268"/>
                  </a:lnTo>
                  <a:lnTo>
                    <a:pt x="52" y="256"/>
                  </a:lnTo>
                  <a:lnTo>
                    <a:pt x="52" y="256"/>
                  </a:lnTo>
                  <a:lnTo>
                    <a:pt x="63" y="270"/>
                  </a:lnTo>
                  <a:lnTo>
                    <a:pt x="48" y="285"/>
                  </a:lnTo>
                  <a:close/>
                  <a:moveTo>
                    <a:pt x="298" y="268"/>
                  </a:moveTo>
                  <a:lnTo>
                    <a:pt x="284" y="256"/>
                  </a:lnTo>
                  <a:lnTo>
                    <a:pt x="284" y="256"/>
                  </a:lnTo>
                  <a:lnTo>
                    <a:pt x="293" y="241"/>
                  </a:lnTo>
                  <a:lnTo>
                    <a:pt x="311" y="250"/>
                  </a:lnTo>
                  <a:lnTo>
                    <a:pt x="311" y="250"/>
                  </a:lnTo>
                  <a:lnTo>
                    <a:pt x="298" y="268"/>
                  </a:lnTo>
                  <a:lnTo>
                    <a:pt x="298" y="268"/>
                  </a:lnTo>
                  <a:close/>
                  <a:moveTo>
                    <a:pt x="22" y="250"/>
                  </a:moveTo>
                  <a:lnTo>
                    <a:pt x="22" y="250"/>
                  </a:lnTo>
                  <a:lnTo>
                    <a:pt x="13" y="231"/>
                  </a:lnTo>
                  <a:lnTo>
                    <a:pt x="32" y="222"/>
                  </a:lnTo>
                  <a:lnTo>
                    <a:pt x="32" y="222"/>
                  </a:lnTo>
                  <a:lnTo>
                    <a:pt x="41" y="241"/>
                  </a:lnTo>
                  <a:lnTo>
                    <a:pt x="22" y="250"/>
                  </a:lnTo>
                  <a:close/>
                  <a:moveTo>
                    <a:pt x="321" y="231"/>
                  </a:moveTo>
                  <a:lnTo>
                    <a:pt x="302" y="222"/>
                  </a:lnTo>
                  <a:lnTo>
                    <a:pt x="302" y="222"/>
                  </a:lnTo>
                  <a:lnTo>
                    <a:pt x="308" y="206"/>
                  </a:lnTo>
                  <a:lnTo>
                    <a:pt x="328" y="209"/>
                  </a:lnTo>
                  <a:lnTo>
                    <a:pt x="328" y="209"/>
                  </a:lnTo>
                  <a:lnTo>
                    <a:pt x="321" y="231"/>
                  </a:lnTo>
                  <a:lnTo>
                    <a:pt x="321" y="231"/>
                  </a:lnTo>
                  <a:close/>
                  <a:moveTo>
                    <a:pt x="6" y="211"/>
                  </a:moveTo>
                  <a:lnTo>
                    <a:pt x="6" y="211"/>
                  </a:lnTo>
                  <a:lnTo>
                    <a:pt x="2" y="189"/>
                  </a:lnTo>
                  <a:lnTo>
                    <a:pt x="22" y="187"/>
                  </a:lnTo>
                  <a:lnTo>
                    <a:pt x="22" y="187"/>
                  </a:lnTo>
                  <a:lnTo>
                    <a:pt x="26" y="206"/>
                  </a:lnTo>
                  <a:lnTo>
                    <a:pt x="6" y="211"/>
                  </a:lnTo>
                  <a:close/>
                  <a:moveTo>
                    <a:pt x="332" y="189"/>
                  </a:moveTo>
                  <a:lnTo>
                    <a:pt x="311" y="185"/>
                  </a:lnTo>
                  <a:lnTo>
                    <a:pt x="311" y="185"/>
                  </a:lnTo>
                  <a:lnTo>
                    <a:pt x="313" y="167"/>
                  </a:lnTo>
                  <a:lnTo>
                    <a:pt x="313" y="167"/>
                  </a:lnTo>
                  <a:lnTo>
                    <a:pt x="334" y="167"/>
                  </a:lnTo>
                  <a:lnTo>
                    <a:pt x="334" y="167"/>
                  </a:lnTo>
                  <a:lnTo>
                    <a:pt x="334" y="167"/>
                  </a:lnTo>
                  <a:lnTo>
                    <a:pt x="332" y="189"/>
                  </a:lnTo>
                  <a:lnTo>
                    <a:pt x="332" y="189"/>
                  </a:lnTo>
                  <a:close/>
                  <a:moveTo>
                    <a:pt x="4" y="167"/>
                  </a:moveTo>
                  <a:lnTo>
                    <a:pt x="0" y="167"/>
                  </a:lnTo>
                  <a:lnTo>
                    <a:pt x="0" y="167"/>
                  </a:lnTo>
                  <a:lnTo>
                    <a:pt x="2" y="146"/>
                  </a:lnTo>
                  <a:lnTo>
                    <a:pt x="22" y="148"/>
                  </a:lnTo>
                  <a:lnTo>
                    <a:pt x="22" y="148"/>
                  </a:lnTo>
                  <a:lnTo>
                    <a:pt x="20" y="167"/>
                  </a:lnTo>
                  <a:lnTo>
                    <a:pt x="4" y="167"/>
                  </a:lnTo>
                  <a:close/>
                  <a:moveTo>
                    <a:pt x="311" y="148"/>
                  </a:moveTo>
                  <a:lnTo>
                    <a:pt x="311" y="148"/>
                  </a:lnTo>
                  <a:lnTo>
                    <a:pt x="308" y="128"/>
                  </a:lnTo>
                  <a:lnTo>
                    <a:pt x="328" y="122"/>
                  </a:lnTo>
                  <a:lnTo>
                    <a:pt x="328" y="122"/>
                  </a:lnTo>
                  <a:lnTo>
                    <a:pt x="332" y="144"/>
                  </a:lnTo>
                  <a:lnTo>
                    <a:pt x="311" y="148"/>
                  </a:lnTo>
                  <a:close/>
                  <a:moveTo>
                    <a:pt x="26" y="130"/>
                  </a:moveTo>
                  <a:lnTo>
                    <a:pt x="6" y="124"/>
                  </a:lnTo>
                  <a:lnTo>
                    <a:pt x="6" y="124"/>
                  </a:lnTo>
                  <a:lnTo>
                    <a:pt x="13" y="104"/>
                  </a:lnTo>
                  <a:lnTo>
                    <a:pt x="32" y="111"/>
                  </a:lnTo>
                  <a:lnTo>
                    <a:pt x="32" y="111"/>
                  </a:lnTo>
                  <a:lnTo>
                    <a:pt x="26" y="130"/>
                  </a:lnTo>
                  <a:lnTo>
                    <a:pt x="26" y="130"/>
                  </a:lnTo>
                  <a:close/>
                  <a:moveTo>
                    <a:pt x="302" y="111"/>
                  </a:moveTo>
                  <a:lnTo>
                    <a:pt x="302" y="111"/>
                  </a:lnTo>
                  <a:lnTo>
                    <a:pt x="293" y="92"/>
                  </a:lnTo>
                  <a:lnTo>
                    <a:pt x="311" y="83"/>
                  </a:lnTo>
                  <a:lnTo>
                    <a:pt x="311" y="83"/>
                  </a:lnTo>
                  <a:lnTo>
                    <a:pt x="321" y="102"/>
                  </a:lnTo>
                  <a:lnTo>
                    <a:pt x="302" y="111"/>
                  </a:lnTo>
                  <a:close/>
                  <a:moveTo>
                    <a:pt x="41" y="94"/>
                  </a:moveTo>
                  <a:lnTo>
                    <a:pt x="22" y="83"/>
                  </a:lnTo>
                  <a:lnTo>
                    <a:pt x="22" y="83"/>
                  </a:lnTo>
                  <a:lnTo>
                    <a:pt x="33" y="65"/>
                  </a:lnTo>
                  <a:lnTo>
                    <a:pt x="50" y="78"/>
                  </a:lnTo>
                  <a:lnTo>
                    <a:pt x="50" y="78"/>
                  </a:lnTo>
                  <a:lnTo>
                    <a:pt x="41" y="94"/>
                  </a:lnTo>
                  <a:lnTo>
                    <a:pt x="41" y="94"/>
                  </a:lnTo>
                  <a:close/>
                  <a:moveTo>
                    <a:pt x="282" y="78"/>
                  </a:moveTo>
                  <a:lnTo>
                    <a:pt x="282" y="78"/>
                  </a:lnTo>
                  <a:lnTo>
                    <a:pt x="271" y="63"/>
                  </a:lnTo>
                  <a:lnTo>
                    <a:pt x="284" y="48"/>
                  </a:lnTo>
                  <a:lnTo>
                    <a:pt x="284" y="48"/>
                  </a:lnTo>
                  <a:lnTo>
                    <a:pt x="298" y="65"/>
                  </a:lnTo>
                  <a:lnTo>
                    <a:pt x="282" y="78"/>
                  </a:lnTo>
                  <a:close/>
                  <a:moveTo>
                    <a:pt x="63" y="65"/>
                  </a:moveTo>
                  <a:lnTo>
                    <a:pt x="48" y="50"/>
                  </a:lnTo>
                  <a:lnTo>
                    <a:pt x="48" y="50"/>
                  </a:lnTo>
                  <a:lnTo>
                    <a:pt x="65" y="35"/>
                  </a:lnTo>
                  <a:lnTo>
                    <a:pt x="78" y="52"/>
                  </a:lnTo>
                  <a:lnTo>
                    <a:pt x="78" y="52"/>
                  </a:lnTo>
                  <a:lnTo>
                    <a:pt x="63" y="65"/>
                  </a:lnTo>
                  <a:lnTo>
                    <a:pt x="63" y="65"/>
                  </a:lnTo>
                  <a:close/>
                  <a:moveTo>
                    <a:pt x="256" y="50"/>
                  </a:moveTo>
                  <a:lnTo>
                    <a:pt x="256" y="50"/>
                  </a:lnTo>
                  <a:lnTo>
                    <a:pt x="239" y="41"/>
                  </a:lnTo>
                  <a:lnTo>
                    <a:pt x="250" y="22"/>
                  </a:lnTo>
                  <a:lnTo>
                    <a:pt x="250" y="22"/>
                  </a:lnTo>
                  <a:lnTo>
                    <a:pt x="269" y="35"/>
                  </a:lnTo>
                  <a:lnTo>
                    <a:pt x="256" y="50"/>
                  </a:lnTo>
                  <a:close/>
                  <a:moveTo>
                    <a:pt x="93" y="41"/>
                  </a:moveTo>
                  <a:lnTo>
                    <a:pt x="83" y="22"/>
                  </a:lnTo>
                  <a:lnTo>
                    <a:pt x="83" y="22"/>
                  </a:lnTo>
                  <a:lnTo>
                    <a:pt x="102" y="13"/>
                  </a:lnTo>
                  <a:lnTo>
                    <a:pt x="111" y="31"/>
                  </a:lnTo>
                  <a:lnTo>
                    <a:pt x="111" y="31"/>
                  </a:lnTo>
                  <a:lnTo>
                    <a:pt x="93" y="41"/>
                  </a:lnTo>
                  <a:lnTo>
                    <a:pt x="93" y="41"/>
                  </a:lnTo>
                  <a:close/>
                  <a:moveTo>
                    <a:pt x="222" y="31"/>
                  </a:moveTo>
                  <a:lnTo>
                    <a:pt x="222" y="31"/>
                  </a:lnTo>
                  <a:lnTo>
                    <a:pt x="204" y="26"/>
                  </a:lnTo>
                  <a:lnTo>
                    <a:pt x="209" y="5"/>
                  </a:lnTo>
                  <a:lnTo>
                    <a:pt x="209" y="5"/>
                  </a:lnTo>
                  <a:lnTo>
                    <a:pt x="230" y="13"/>
                  </a:lnTo>
                  <a:lnTo>
                    <a:pt x="222" y="31"/>
                  </a:lnTo>
                  <a:close/>
                  <a:moveTo>
                    <a:pt x="128" y="26"/>
                  </a:moveTo>
                  <a:lnTo>
                    <a:pt x="122" y="5"/>
                  </a:lnTo>
                  <a:lnTo>
                    <a:pt x="122" y="5"/>
                  </a:lnTo>
                  <a:lnTo>
                    <a:pt x="145" y="2"/>
                  </a:lnTo>
                  <a:lnTo>
                    <a:pt x="146" y="22"/>
                  </a:lnTo>
                  <a:lnTo>
                    <a:pt x="146" y="22"/>
                  </a:lnTo>
                  <a:lnTo>
                    <a:pt x="128" y="26"/>
                  </a:lnTo>
                  <a:lnTo>
                    <a:pt x="128" y="26"/>
                  </a:lnTo>
                  <a:close/>
                  <a:moveTo>
                    <a:pt x="185" y="22"/>
                  </a:moveTo>
                  <a:lnTo>
                    <a:pt x="185" y="22"/>
                  </a:lnTo>
                  <a:lnTo>
                    <a:pt x="167" y="20"/>
                  </a:lnTo>
                  <a:lnTo>
                    <a:pt x="167" y="0"/>
                  </a:lnTo>
                  <a:lnTo>
                    <a:pt x="167" y="0"/>
                  </a:lnTo>
                  <a:lnTo>
                    <a:pt x="167" y="0"/>
                  </a:lnTo>
                  <a:lnTo>
                    <a:pt x="187" y="2"/>
                  </a:lnTo>
                  <a:lnTo>
                    <a:pt x="18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grpSp>
          <p:nvGrpSpPr>
            <p:cNvPr id="58" name="Group 3">
              <a:extLst>
                <a:ext uri="{FF2B5EF4-FFF2-40B4-BE49-F238E27FC236}">
                  <a16:creationId xmlns:a16="http://schemas.microsoft.com/office/drawing/2014/main" id="{06B573E4-7696-42A0-A1A4-2F0CC41E5482}"/>
                </a:ext>
              </a:extLst>
            </p:cNvPr>
            <p:cNvGrpSpPr/>
            <p:nvPr/>
          </p:nvGrpSpPr>
          <p:grpSpPr>
            <a:xfrm>
              <a:off x="7058026" y="1851026"/>
              <a:ext cx="2755900" cy="3967163"/>
              <a:chOff x="7058026" y="1851026"/>
              <a:chExt cx="2755900" cy="3967163"/>
            </a:xfrm>
          </p:grpSpPr>
          <p:sp>
            <p:nvSpPr>
              <p:cNvPr id="145" name="Freeform 55">
                <a:extLst>
                  <a:ext uri="{FF2B5EF4-FFF2-40B4-BE49-F238E27FC236}">
                    <a16:creationId xmlns:a16="http://schemas.microsoft.com/office/drawing/2014/main" id="{4E176818-7EDB-4077-BF46-C46EEAAD7029}"/>
                  </a:ext>
                </a:extLst>
              </p:cNvPr>
              <p:cNvSpPr>
                <a:spLocks/>
              </p:cNvSpPr>
              <p:nvPr/>
            </p:nvSpPr>
            <p:spPr bwMode="auto">
              <a:xfrm>
                <a:off x="7058026" y="185102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grpSp>
            <p:nvGrpSpPr>
              <p:cNvPr id="146" name="Group 223">
                <a:extLst>
                  <a:ext uri="{FF2B5EF4-FFF2-40B4-BE49-F238E27FC236}">
                    <a16:creationId xmlns:a16="http://schemas.microsoft.com/office/drawing/2014/main" id="{7E04E39E-D5F6-4839-83A2-B0046ADAA69C}"/>
                  </a:ext>
                </a:extLst>
              </p:cNvPr>
              <p:cNvGrpSpPr/>
              <p:nvPr/>
            </p:nvGrpSpPr>
            <p:grpSpPr>
              <a:xfrm>
                <a:off x="7651751" y="2178051"/>
                <a:ext cx="1833563" cy="3140075"/>
                <a:chOff x="7651751" y="2178051"/>
                <a:chExt cx="1833563" cy="3140075"/>
              </a:xfrm>
            </p:grpSpPr>
            <p:sp>
              <p:nvSpPr>
                <p:cNvPr id="147" name="Rectangle 56">
                  <a:extLst>
                    <a:ext uri="{FF2B5EF4-FFF2-40B4-BE49-F238E27FC236}">
                      <a16:creationId xmlns:a16="http://schemas.microsoft.com/office/drawing/2014/main" id="{302C857B-0908-483F-B4E5-8A3D5113359D}"/>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48" name="Rectangle 57">
                  <a:extLst>
                    <a:ext uri="{FF2B5EF4-FFF2-40B4-BE49-F238E27FC236}">
                      <a16:creationId xmlns:a16="http://schemas.microsoft.com/office/drawing/2014/main" id="{A0998CED-2E89-4999-8070-9BCA68111115}"/>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49" name="Rectangle 58">
                  <a:extLst>
                    <a:ext uri="{FF2B5EF4-FFF2-40B4-BE49-F238E27FC236}">
                      <a16:creationId xmlns:a16="http://schemas.microsoft.com/office/drawing/2014/main" id="{404F5361-2ED7-4A30-8BB2-4536B1EF5FD2}"/>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0" name="Rectangle 59">
                  <a:extLst>
                    <a:ext uri="{FF2B5EF4-FFF2-40B4-BE49-F238E27FC236}">
                      <a16:creationId xmlns:a16="http://schemas.microsoft.com/office/drawing/2014/main" id="{CF0FB92B-696D-4105-8590-31E1BC5F3D9C}"/>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1" name="Rectangle 60">
                  <a:extLst>
                    <a:ext uri="{FF2B5EF4-FFF2-40B4-BE49-F238E27FC236}">
                      <a16:creationId xmlns:a16="http://schemas.microsoft.com/office/drawing/2014/main" id="{F6BE4FE5-6365-43C8-847D-90E5415C6609}"/>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2" name="Rectangle 61">
                  <a:extLst>
                    <a:ext uri="{FF2B5EF4-FFF2-40B4-BE49-F238E27FC236}">
                      <a16:creationId xmlns:a16="http://schemas.microsoft.com/office/drawing/2014/main" id="{08B7A5F3-E97E-4BC5-A830-EB19C87FB8EA}"/>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3" name="Rectangle 62">
                  <a:extLst>
                    <a:ext uri="{FF2B5EF4-FFF2-40B4-BE49-F238E27FC236}">
                      <a16:creationId xmlns:a16="http://schemas.microsoft.com/office/drawing/2014/main" id="{71319A7B-4C5B-4258-9B49-3B2B0521D34A}"/>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4" name="Rectangle 63">
                  <a:extLst>
                    <a:ext uri="{FF2B5EF4-FFF2-40B4-BE49-F238E27FC236}">
                      <a16:creationId xmlns:a16="http://schemas.microsoft.com/office/drawing/2014/main" id="{27038AAA-93D7-429A-B2CF-59D196B1B1D3}"/>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5" name="Rectangle 64">
                  <a:extLst>
                    <a:ext uri="{FF2B5EF4-FFF2-40B4-BE49-F238E27FC236}">
                      <a16:creationId xmlns:a16="http://schemas.microsoft.com/office/drawing/2014/main" id="{405355B4-1B84-4D20-A1A1-BA9A3BA10955}"/>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6" name="Freeform 65">
                  <a:extLst>
                    <a:ext uri="{FF2B5EF4-FFF2-40B4-BE49-F238E27FC236}">
                      <a16:creationId xmlns:a16="http://schemas.microsoft.com/office/drawing/2014/main" id="{90125F69-C9B0-4936-AA0B-611076F1F082}"/>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0121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7" name="Freeform 66">
                  <a:extLst>
                    <a:ext uri="{FF2B5EF4-FFF2-40B4-BE49-F238E27FC236}">
                      <a16:creationId xmlns:a16="http://schemas.microsoft.com/office/drawing/2014/main" id="{D859904C-237F-4F97-87F2-E3CEB0281A1D}"/>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8" name="Rectangle 67">
                  <a:extLst>
                    <a:ext uri="{FF2B5EF4-FFF2-40B4-BE49-F238E27FC236}">
                      <a16:creationId xmlns:a16="http://schemas.microsoft.com/office/drawing/2014/main" id="{3469A5D2-F727-46D5-B0AF-5F2B6B05AB1C}"/>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59" name="Rectangle 68">
                  <a:extLst>
                    <a:ext uri="{FF2B5EF4-FFF2-40B4-BE49-F238E27FC236}">
                      <a16:creationId xmlns:a16="http://schemas.microsoft.com/office/drawing/2014/main" id="{878D56CC-6CF5-4503-9027-4810358D5853}"/>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0" name="Rectangle 69">
                  <a:extLst>
                    <a:ext uri="{FF2B5EF4-FFF2-40B4-BE49-F238E27FC236}">
                      <a16:creationId xmlns:a16="http://schemas.microsoft.com/office/drawing/2014/main" id="{A4510928-A9EF-42B1-A37B-0A707A7B236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1" name="Rectangle 70">
                  <a:extLst>
                    <a:ext uri="{FF2B5EF4-FFF2-40B4-BE49-F238E27FC236}">
                      <a16:creationId xmlns:a16="http://schemas.microsoft.com/office/drawing/2014/main" id="{1897912B-95CA-40C3-B408-91EEDC99CEB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2" name="Freeform 71">
                  <a:extLst>
                    <a:ext uri="{FF2B5EF4-FFF2-40B4-BE49-F238E27FC236}">
                      <a16:creationId xmlns:a16="http://schemas.microsoft.com/office/drawing/2014/main" id="{566F6128-1A3A-4EC4-9629-6A691F0CE3C3}"/>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3" name="Rectangle 72">
                  <a:extLst>
                    <a:ext uri="{FF2B5EF4-FFF2-40B4-BE49-F238E27FC236}">
                      <a16:creationId xmlns:a16="http://schemas.microsoft.com/office/drawing/2014/main" id="{471C3693-353D-4C36-80F5-0E9AF64A8A22}"/>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4" name="Freeform 73">
                  <a:extLst>
                    <a:ext uri="{FF2B5EF4-FFF2-40B4-BE49-F238E27FC236}">
                      <a16:creationId xmlns:a16="http://schemas.microsoft.com/office/drawing/2014/main" id="{C96C03C3-2A9F-4122-A774-4148EEE72F0A}"/>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5" name="Freeform 74">
                  <a:extLst>
                    <a:ext uri="{FF2B5EF4-FFF2-40B4-BE49-F238E27FC236}">
                      <a16:creationId xmlns:a16="http://schemas.microsoft.com/office/drawing/2014/main" id="{F2F17B16-B406-4781-B6D0-E461C3D8DAF9}"/>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6" name="Freeform 75">
                  <a:extLst>
                    <a:ext uri="{FF2B5EF4-FFF2-40B4-BE49-F238E27FC236}">
                      <a16:creationId xmlns:a16="http://schemas.microsoft.com/office/drawing/2014/main" id="{32385CCE-F26B-4092-8A82-A86CD32AAD93}"/>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7" name="Freeform 76">
                  <a:extLst>
                    <a:ext uri="{FF2B5EF4-FFF2-40B4-BE49-F238E27FC236}">
                      <a16:creationId xmlns:a16="http://schemas.microsoft.com/office/drawing/2014/main" id="{05695539-6645-4293-BCD7-EA73E2C6AD3A}"/>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8" name="Rectangle 77">
                  <a:extLst>
                    <a:ext uri="{FF2B5EF4-FFF2-40B4-BE49-F238E27FC236}">
                      <a16:creationId xmlns:a16="http://schemas.microsoft.com/office/drawing/2014/main" id="{2861317A-AC30-4458-A5B1-24C9A0783C16}"/>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69" name="Freeform 78">
                  <a:extLst>
                    <a:ext uri="{FF2B5EF4-FFF2-40B4-BE49-F238E27FC236}">
                      <a16:creationId xmlns:a16="http://schemas.microsoft.com/office/drawing/2014/main" id="{58710C3C-8B84-4F74-A0B4-5306ECF02721}"/>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0" name="Freeform 79">
                  <a:extLst>
                    <a:ext uri="{FF2B5EF4-FFF2-40B4-BE49-F238E27FC236}">
                      <a16:creationId xmlns:a16="http://schemas.microsoft.com/office/drawing/2014/main" id="{1807BECA-44F2-48EA-9646-FE06B6160D94}"/>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1" name="Freeform 80">
                  <a:extLst>
                    <a:ext uri="{FF2B5EF4-FFF2-40B4-BE49-F238E27FC236}">
                      <a16:creationId xmlns:a16="http://schemas.microsoft.com/office/drawing/2014/main" id="{0C1F6F11-84F9-4C58-AA43-997AFFF92BF5}"/>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2" name="Freeform 81">
                  <a:extLst>
                    <a:ext uri="{FF2B5EF4-FFF2-40B4-BE49-F238E27FC236}">
                      <a16:creationId xmlns:a16="http://schemas.microsoft.com/office/drawing/2014/main" id="{476E4D06-B87A-46CC-A6DD-F5F21E7280F0}"/>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3" name="Freeform 82">
                  <a:extLst>
                    <a:ext uri="{FF2B5EF4-FFF2-40B4-BE49-F238E27FC236}">
                      <a16:creationId xmlns:a16="http://schemas.microsoft.com/office/drawing/2014/main" id="{EA5987FD-590A-469A-86D2-09C1E2B9EA89}"/>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4" name="Freeform 83">
                  <a:extLst>
                    <a:ext uri="{FF2B5EF4-FFF2-40B4-BE49-F238E27FC236}">
                      <a16:creationId xmlns:a16="http://schemas.microsoft.com/office/drawing/2014/main" id="{FA458BD3-BA84-4153-B79B-015F169D9EB1}"/>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5" name="Freeform 84">
                  <a:extLst>
                    <a:ext uri="{FF2B5EF4-FFF2-40B4-BE49-F238E27FC236}">
                      <a16:creationId xmlns:a16="http://schemas.microsoft.com/office/drawing/2014/main" id="{85ABF0E5-63C2-454B-9626-EB5016285E3B}"/>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6" name="Freeform 85">
                  <a:extLst>
                    <a:ext uri="{FF2B5EF4-FFF2-40B4-BE49-F238E27FC236}">
                      <a16:creationId xmlns:a16="http://schemas.microsoft.com/office/drawing/2014/main" id="{995820E5-472F-4AF0-8EE5-91C3D5576748}"/>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7" name="Freeform 86">
                  <a:extLst>
                    <a:ext uri="{FF2B5EF4-FFF2-40B4-BE49-F238E27FC236}">
                      <a16:creationId xmlns:a16="http://schemas.microsoft.com/office/drawing/2014/main" id="{6971E81B-0543-4C50-B9B0-A19B9678C68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8" name="Freeform 87">
                  <a:extLst>
                    <a:ext uri="{FF2B5EF4-FFF2-40B4-BE49-F238E27FC236}">
                      <a16:creationId xmlns:a16="http://schemas.microsoft.com/office/drawing/2014/main" id="{647C10F3-208B-41DD-B64C-BC8B4E2C7092}"/>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79" name="Freeform 88">
                  <a:extLst>
                    <a:ext uri="{FF2B5EF4-FFF2-40B4-BE49-F238E27FC236}">
                      <a16:creationId xmlns:a16="http://schemas.microsoft.com/office/drawing/2014/main" id="{0B2A254C-0468-46A5-BA7F-2EC63A008AA1}"/>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0" name="Freeform 89">
                  <a:extLst>
                    <a:ext uri="{FF2B5EF4-FFF2-40B4-BE49-F238E27FC236}">
                      <a16:creationId xmlns:a16="http://schemas.microsoft.com/office/drawing/2014/main" id="{22B5ACD7-38EB-4D3C-8FF6-3B4E7AA7E253}"/>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1" name="Freeform 90">
                  <a:extLst>
                    <a:ext uri="{FF2B5EF4-FFF2-40B4-BE49-F238E27FC236}">
                      <a16:creationId xmlns:a16="http://schemas.microsoft.com/office/drawing/2014/main" id="{9BAD596A-B293-4F2E-91EA-3704C8A740FB}"/>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2" name="Freeform 91">
                  <a:extLst>
                    <a:ext uri="{FF2B5EF4-FFF2-40B4-BE49-F238E27FC236}">
                      <a16:creationId xmlns:a16="http://schemas.microsoft.com/office/drawing/2014/main" id="{E97BE08C-9202-4EF8-898C-139E747A7105}"/>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3" name="Freeform 92">
                  <a:extLst>
                    <a:ext uri="{FF2B5EF4-FFF2-40B4-BE49-F238E27FC236}">
                      <a16:creationId xmlns:a16="http://schemas.microsoft.com/office/drawing/2014/main" id="{589B803B-CBE4-4F23-BDD5-2C47BAF6178E}"/>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4" name="Freeform 93">
                  <a:extLst>
                    <a:ext uri="{FF2B5EF4-FFF2-40B4-BE49-F238E27FC236}">
                      <a16:creationId xmlns:a16="http://schemas.microsoft.com/office/drawing/2014/main" id="{76B072EE-1CED-4DFA-84CC-942A368D6BD1}"/>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5" name="Freeform 94">
                  <a:extLst>
                    <a:ext uri="{FF2B5EF4-FFF2-40B4-BE49-F238E27FC236}">
                      <a16:creationId xmlns:a16="http://schemas.microsoft.com/office/drawing/2014/main" id="{C8A6EA51-A7A6-4422-80BA-4EFF5382E0ED}"/>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6" name="Freeform 95">
                  <a:extLst>
                    <a:ext uri="{FF2B5EF4-FFF2-40B4-BE49-F238E27FC236}">
                      <a16:creationId xmlns:a16="http://schemas.microsoft.com/office/drawing/2014/main" id="{A0C8B8E1-5E52-45C6-A168-40BBD455161B}"/>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7" name="Freeform 96">
                  <a:extLst>
                    <a:ext uri="{FF2B5EF4-FFF2-40B4-BE49-F238E27FC236}">
                      <a16:creationId xmlns:a16="http://schemas.microsoft.com/office/drawing/2014/main" id="{1AAC5821-D3E1-489D-80DC-8739B68A0055}"/>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8" name="Freeform 97">
                  <a:extLst>
                    <a:ext uri="{FF2B5EF4-FFF2-40B4-BE49-F238E27FC236}">
                      <a16:creationId xmlns:a16="http://schemas.microsoft.com/office/drawing/2014/main" id="{4E0F781D-7375-4116-A0B6-C42C6220C65A}"/>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89" name="Freeform 98">
                  <a:extLst>
                    <a:ext uri="{FF2B5EF4-FFF2-40B4-BE49-F238E27FC236}">
                      <a16:creationId xmlns:a16="http://schemas.microsoft.com/office/drawing/2014/main" id="{819BB819-235A-492C-83E4-F8D7845A73DE}"/>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90" name="Freeform 99">
                  <a:extLst>
                    <a:ext uri="{FF2B5EF4-FFF2-40B4-BE49-F238E27FC236}">
                      <a16:creationId xmlns:a16="http://schemas.microsoft.com/office/drawing/2014/main" id="{EB720D63-0798-4569-9153-5174A0B12502}"/>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91" name="Freeform 100">
                  <a:extLst>
                    <a:ext uri="{FF2B5EF4-FFF2-40B4-BE49-F238E27FC236}">
                      <a16:creationId xmlns:a16="http://schemas.microsoft.com/office/drawing/2014/main" id="{8FC54B83-726D-409E-80B7-1A4741DAC193}"/>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92" name="Freeform 101">
                  <a:extLst>
                    <a:ext uri="{FF2B5EF4-FFF2-40B4-BE49-F238E27FC236}">
                      <a16:creationId xmlns:a16="http://schemas.microsoft.com/office/drawing/2014/main" id="{6C7EC04C-AF7F-4B61-96D9-5F6A9FA6B637}"/>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grpSp>
        </p:grpSp>
        <p:sp>
          <p:nvSpPr>
            <p:cNvPr id="59" name="Freeform 102">
              <a:extLst>
                <a:ext uri="{FF2B5EF4-FFF2-40B4-BE49-F238E27FC236}">
                  <a16:creationId xmlns:a16="http://schemas.microsoft.com/office/drawing/2014/main" id="{59E17E2F-3BDB-4C1C-8EB4-FDFFBB28DAD7}"/>
                </a:ext>
              </a:extLst>
            </p:cNvPr>
            <p:cNvSpPr>
              <a:spLocks/>
            </p:cNvSpPr>
            <p:nvPr/>
          </p:nvSpPr>
          <p:spPr bwMode="auto">
            <a:xfrm>
              <a:off x="7954963" y="5297488"/>
              <a:ext cx="33338" cy="23813"/>
            </a:xfrm>
            <a:custGeom>
              <a:avLst/>
              <a:gdLst>
                <a:gd name="T0" fmla="*/ 2 w 21"/>
                <a:gd name="T1" fmla="*/ 15 h 15"/>
                <a:gd name="T2" fmla="*/ 0 w 21"/>
                <a:gd name="T3" fmla="*/ 2 h 15"/>
                <a:gd name="T4" fmla="*/ 19 w 21"/>
                <a:gd name="T5" fmla="*/ 0 h 15"/>
                <a:gd name="T6" fmla="*/ 21 w 21"/>
                <a:gd name="T7" fmla="*/ 13 h 15"/>
                <a:gd name="T8" fmla="*/ 2 w 21"/>
                <a:gd name="T9" fmla="*/ 15 h 15"/>
              </a:gdLst>
              <a:ahLst/>
              <a:cxnLst>
                <a:cxn ang="0">
                  <a:pos x="T0" y="T1"/>
                </a:cxn>
                <a:cxn ang="0">
                  <a:pos x="T2" y="T3"/>
                </a:cxn>
                <a:cxn ang="0">
                  <a:pos x="T4" y="T5"/>
                </a:cxn>
                <a:cxn ang="0">
                  <a:pos x="T6" y="T7"/>
                </a:cxn>
                <a:cxn ang="0">
                  <a:pos x="T8" y="T9"/>
                </a:cxn>
              </a:cxnLst>
              <a:rect l="0" t="0" r="r" b="b"/>
              <a:pathLst>
                <a:path w="21" h="15">
                  <a:moveTo>
                    <a:pt x="2" y="15"/>
                  </a:moveTo>
                  <a:lnTo>
                    <a:pt x="0" y="2"/>
                  </a:lnTo>
                  <a:lnTo>
                    <a:pt x="19" y="0"/>
                  </a:lnTo>
                  <a:lnTo>
                    <a:pt x="21" y="13"/>
                  </a:lnTo>
                  <a:lnTo>
                    <a:pt x="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0" name="Freeform 103">
              <a:extLst>
                <a:ext uri="{FF2B5EF4-FFF2-40B4-BE49-F238E27FC236}">
                  <a16:creationId xmlns:a16="http://schemas.microsoft.com/office/drawing/2014/main" id="{8A86B922-9F2F-4A2E-82CA-4AB545835B7E}"/>
                </a:ext>
              </a:extLst>
            </p:cNvPr>
            <p:cNvSpPr>
              <a:spLocks noEditPoints="1"/>
            </p:cNvSpPr>
            <p:nvPr/>
          </p:nvSpPr>
          <p:spPr bwMode="auto">
            <a:xfrm>
              <a:off x="7940676" y="5168901"/>
              <a:ext cx="41275" cy="100013"/>
            </a:xfrm>
            <a:custGeom>
              <a:avLst/>
              <a:gdLst>
                <a:gd name="T0" fmla="*/ 7 w 26"/>
                <a:gd name="T1" fmla="*/ 63 h 63"/>
                <a:gd name="T2" fmla="*/ 4 w 26"/>
                <a:gd name="T3" fmla="*/ 42 h 63"/>
                <a:gd name="T4" fmla="*/ 22 w 26"/>
                <a:gd name="T5" fmla="*/ 41 h 63"/>
                <a:gd name="T6" fmla="*/ 26 w 26"/>
                <a:gd name="T7" fmla="*/ 61 h 63"/>
                <a:gd name="T8" fmla="*/ 7 w 26"/>
                <a:gd name="T9" fmla="*/ 63 h 63"/>
                <a:gd name="T10" fmla="*/ 2 w 26"/>
                <a:gd name="T11" fmla="*/ 22 h 63"/>
                <a:gd name="T12" fmla="*/ 0 w 26"/>
                <a:gd name="T13" fmla="*/ 2 h 63"/>
                <a:gd name="T14" fmla="*/ 17 w 26"/>
                <a:gd name="T15" fmla="*/ 0 h 63"/>
                <a:gd name="T16" fmla="*/ 20 w 26"/>
                <a:gd name="T17" fmla="*/ 20 h 63"/>
                <a:gd name="T18" fmla="*/ 2 w 26"/>
                <a:gd name="T19"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3">
                  <a:moveTo>
                    <a:pt x="7" y="63"/>
                  </a:moveTo>
                  <a:lnTo>
                    <a:pt x="4" y="42"/>
                  </a:lnTo>
                  <a:lnTo>
                    <a:pt x="22" y="41"/>
                  </a:lnTo>
                  <a:lnTo>
                    <a:pt x="26" y="61"/>
                  </a:lnTo>
                  <a:lnTo>
                    <a:pt x="7" y="63"/>
                  </a:lnTo>
                  <a:close/>
                  <a:moveTo>
                    <a:pt x="2" y="22"/>
                  </a:moveTo>
                  <a:lnTo>
                    <a:pt x="0" y="2"/>
                  </a:lnTo>
                  <a:lnTo>
                    <a:pt x="17" y="0"/>
                  </a:lnTo>
                  <a:lnTo>
                    <a:pt x="20" y="20"/>
                  </a:lnTo>
                  <a:lnTo>
                    <a:pt x="2"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1" name="Freeform 104">
              <a:extLst>
                <a:ext uri="{FF2B5EF4-FFF2-40B4-BE49-F238E27FC236}">
                  <a16:creationId xmlns:a16="http://schemas.microsoft.com/office/drawing/2014/main" id="{1992C3B5-9D7A-4F00-8F88-37453E40D489}"/>
                </a:ext>
              </a:extLst>
            </p:cNvPr>
            <p:cNvSpPr>
              <a:spLocks noEditPoints="1"/>
            </p:cNvSpPr>
            <p:nvPr/>
          </p:nvSpPr>
          <p:spPr bwMode="auto">
            <a:xfrm>
              <a:off x="7913688" y="4972051"/>
              <a:ext cx="50800" cy="166688"/>
            </a:xfrm>
            <a:custGeom>
              <a:avLst/>
              <a:gdLst>
                <a:gd name="T0" fmla="*/ 13 w 32"/>
                <a:gd name="T1" fmla="*/ 105 h 105"/>
                <a:gd name="T2" fmla="*/ 11 w 32"/>
                <a:gd name="T3" fmla="*/ 85 h 105"/>
                <a:gd name="T4" fmla="*/ 30 w 32"/>
                <a:gd name="T5" fmla="*/ 81 h 105"/>
                <a:gd name="T6" fmla="*/ 32 w 32"/>
                <a:gd name="T7" fmla="*/ 103 h 105"/>
                <a:gd name="T8" fmla="*/ 13 w 32"/>
                <a:gd name="T9" fmla="*/ 105 h 105"/>
                <a:gd name="T10" fmla="*/ 8 w 32"/>
                <a:gd name="T11" fmla="*/ 65 h 105"/>
                <a:gd name="T12" fmla="*/ 6 w 32"/>
                <a:gd name="T13" fmla="*/ 42 h 105"/>
                <a:gd name="T14" fmla="*/ 24 w 32"/>
                <a:gd name="T15" fmla="*/ 40 h 105"/>
                <a:gd name="T16" fmla="*/ 26 w 32"/>
                <a:gd name="T17" fmla="*/ 61 h 105"/>
                <a:gd name="T18" fmla="*/ 8 w 32"/>
                <a:gd name="T19" fmla="*/ 65 h 105"/>
                <a:gd name="T20" fmla="*/ 2 w 32"/>
                <a:gd name="T21" fmla="*/ 22 h 105"/>
                <a:gd name="T22" fmla="*/ 0 w 32"/>
                <a:gd name="T23" fmla="*/ 2 h 105"/>
                <a:gd name="T24" fmla="*/ 19 w 32"/>
                <a:gd name="T25" fmla="*/ 0 h 105"/>
                <a:gd name="T26" fmla="*/ 21 w 32"/>
                <a:gd name="T27" fmla="*/ 20 h 105"/>
                <a:gd name="T28" fmla="*/ 2 w 32"/>
                <a:gd name="T29" fmla="*/ 2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05">
                  <a:moveTo>
                    <a:pt x="13" y="105"/>
                  </a:moveTo>
                  <a:lnTo>
                    <a:pt x="11" y="85"/>
                  </a:lnTo>
                  <a:lnTo>
                    <a:pt x="30" y="81"/>
                  </a:lnTo>
                  <a:lnTo>
                    <a:pt x="32" y="103"/>
                  </a:lnTo>
                  <a:lnTo>
                    <a:pt x="13" y="105"/>
                  </a:lnTo>
                  <a:close/>
                  <a:moveTo>
                    <a:pt x="8" y="65"/>
                  </a:moveTo>
                  <a:lnTo>
                    <a:pt x="6" y="42"/>
                  </a:lnTo>
                  <a:lnTo>
                    <a:pt x="24" y="40"/>
                  </a:lnTo>
                  <a:lnTo>
                    <a:pt x="26" y="61"/>
                  </a:lnTo>
                  <a:lnTo>
                    <a:pt x="8" y="65"/>
                  </a:lnTo>
                  <a:close/>
                  <a:moveTo>
                    <a:pt x="2" y="22"/>
                  </a:moveTo>
                  <a:lnTo>
                    <a:pt x="0" y="2"/>
                  </a:lnTo>
                  <a:lnTo>
                    <a:pt x="19" y="0"/>
                  </a:lnTo>
                  <a:lnTo>
                    <a:pt x="21" y="20"/>
                  </a:lnTo>
                  <a:lnTo>
                    <a:pt x="2"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2" name="Freeform 105">
              <a:extLst>
                <a:ext uri="{FF2B5EF4-FFF2-40B4-BE49-F238E27FC236}">
                  <a16:creationId xmlns:a16="http://schemas.microsoft.com/office/drawing/2014/main" id="{6BD680AB-A3BB-45C4-8E02-DB4CDFAEA451}"/>
                </a:ext>
              </a:extLst>
            </p:cNvPr>
            <p:cNvSpPr>
              <a:spLocks/>
            </p:cNvSpPr>
            <p:nvPr/>
          </p:nvSpPr>
          <p:spPr bwMode="auto">
            <a:xfrm>
              <a:off x="7899401" y="4903788"/>
              <a:ext cx="38100" cy="38100"/>
            </a:xfrm>
            <a:custGeom>
              <a:avLst/>
              <a:gdLst>
                <a:gd name="T0" fmla="*/ 6 w 24"/>
                <a:gd name="T1" fmla="*/ 24 h 24"/>
                <a:gd name="T2" fmla="*/ 6 w 24"/>
                <a:gd name="T3" fmla="*/ 21 h 24"/>
                <a:gd name="T4" fmla="*/ 2 w 24"/>
                <a:gd name="T5" fmla="*/ 22 h 24"/>
                <a:gd name="T6" fmla="*/ 0 w 24"/>
                <a:gd name="T7" fmla="*/ 4 h 24"/>
                <a:gd name="T8" fmla="*/ 22 w 24"/>
                <a:gd name="T9" fmla="*/ 0 h 24"/>
                <a:gd name="T10" fmla="*/ 24 w 24"/>
                <a:gd name="T11" fmla="*/ 22 h 24"/>
                <a:gd name="T12" fmla="*/ 6 w 2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6" y="24"/>
                  </a:moveTo>
                  <a:lnTo>
                    <a:pt x="6" y="21"/>
                  </a:lnTo>
                  <a:lnTo>
                    <a:pt x="2" y="22"/>
                  </a:lnTo>
                  <a:lnTo>
                    <a:pt x="0" y="4"/>
                  </a:lnTo>
                  <a:lnTo>
                    <a:pt x="22" y="0"/>
                  </a:lnTo>
                  <a:lnTo>
                    <a:pt x="24" y="22"/>
                  </a:lnTo>
                  <a:lnTo>
                    <a:pt x="6"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3" name="Freeform 106">
              <a:extLst>
                <a:ext uri="{FF2B5EF4-FFF2-40B4-BE49-F238E27FC236}">
                  <a16:creationId xmlns:a16="http://schemas.microsoft.com/office/drawing/2014/main" id="{597AF062-C544-49AC-9E24-E6B5EDD98311}"/>
                </a:ext>
              </a:extLst>
            </p:cNvPr>
            <p:cNvSpPr>
              <a:spLocks noEditPoints="1"/>
            </p:cNvSpPr>
            <p:nvPr/>
          </p:nvSpPr>
          <p:spPr bwMode="auto">
            <a:xfrm>
              <a:off x="7751763" y="4913313"/>
              <a:ext cx="115888" cy="41275"/>
            </a:xfrm>
            <a:custGeom>
              <a:avLst/>
              <a:gdLst>
                <a:gd name="T0" fmla="*/ 2 w 73"/>
                <a:gd name="T1" fmla="*/ 26 h 26"/>
                <a:gd name="T2" fmla="*/ 0 w 73"/>
                <a:gd name="T3" fmla="*/ 7 h 26"/>
                <a:gd name="T4" fmla="*/ 23 w 73"/>
                <a:gd name="T5" fmla="*/ 5 h 26"/>
                <a:gd name="T6" fmla="*/ 26 w 73"/>
                <a:gd name="T7" fmla="*/ 24 h 26"/>
                <a:gd name="T8" fmla="*/ 2 w 73"/>
                <a:gd name="T9" fmla="*/ 26 h 26"/>
                <a:gd name="T10" fmla="*/ 49 w 73"/>
                <a:gd name="T11" fmla="*/ 20 h 26"/>
                <a:gd name="T12" fmla="*/ 47 w 73"/>
                <a:gd name="T13" fmla="*/ 3 h 26"/>
                <a:gd name="T14" fmla="*/ 71 w 73"/>
                <a:gd name="T15" fmla="*/ 0 h 26"/>
                <a:gd name="T16" fmla="*/ 73 w 73"/>
                <a:gd name="T17" fmla="*/ 18 h 26"/>
                <a:gd name="T18" fmla="*/ 49 w 73"/>
                <a:gd name="T19"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6">
                  <a:moveTo>
                    <a:pt x="2" y="26"/>
                  </a:moveTo>
                  <a:lnTo>
                    <a:pt x="0" y="7"/>
                  </a:lnTo>
                  <a:lnTo>
                    <a:pt x="23" y="5"/>
                  </a:lnTo>
                  <a:lnTo>
                    <a:pt x="26" y="24"/>
                  </a:lnTo>
                  <a:lnTo>
                    <a:pt x="2" y="26"/>
                  </a:lnTo>
                  <a:close/>
                  <a:moveTo>
                    <a:pt x="49" y="20"/>
                  </a:moveTo>
                  <a:lnTo>
                    <a:pt x="47" y="3"/>
                  </a:lnTo>
                  <a:lnTo>
                    <a:pt x="71" y="0"/>
                  </a:lnTo>
                  <a:lnTo>
                    <a:pt x="73" y="18"/>
                  </a:lnTo>
                  <a:lnTo>
                    <a:pt x="4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4" name="Freeform 107">
              <a:extLst>
                <a:ext uri="{FF2B5EF4-FFF2-40B4-BE49-F238E27FC236}">
                  <a16:creationId xmlns:a16="http://schemas.microsoft.com/office/drawing/2014/main" id="{E177F4EC-F7CB-4EA1-8B93-044EB2ADFAED}"/>
                </a:ext>
              </a:extLst>
            </p:cNvPr>
            <p:cNvSpPr>
              <a:spLocks noEditPoints="1"/>
            </p:cNvSpPr>
            <p:nvPr/>
          </p:nvSpPr>
          <p:spPr bwMode="auto">
            <a:xfrm>
              <a:off x="7529513" y="4930776"/>
              <a:ext cx="187325" cy="49213"/>
            </a:xfrm>
            <a:custGeom>
              <a:avLst/>
              <a:gdLst>
                <a:gd name="T0" fmla="*/ 1 w 118"/>
                <a:gd name="T1" fmla="*/ 31 h 31"/>
                <a:gd name="T2" fmla="*/ 0 w 118"/>
                <a:gd name="T3" fmla="*/ 13 h 31"/>
                <a:gd name="T4" fmla="*/ 24 w 118"/>
                <a:gd name="T5" fmla="*/ 11 h 31"/>
                <a:gd name="T6" fmla="*/ 26 w 118"/>
                <a:gd name="T7" fmla="*/ 29 h 31"/>
                <a:gd name="T8" fmla="*/ 1 w 118"/>
                <a:gd name="T9" fmla="*/ 31 h 31"/>
                <a:gd name="T10" fmla="*/ 50 w 118"/>
                <a:gd name="T11" fmla="*/ 26 h 31"/>
                <a:gd name="T12" fmla="*/ 46 w 118"/>
                <a:gd name="T13" fmla="*/ 7 h 31"/>
                <a:gd name="T14" fmla="*/ 70 w 118"/>
                <a:gd name="T15" fmla="*/ 5 h 31"/>
                <a:gd name="T16" fmla="*/ 72 w 118"/>
                <a:gd name="T17" fmla="*/ 24 h 31"/>
                <a:gd name="T18" fmla="*/ 50 w 118"/>
                <a:gd name="T19" fmla="*/ 26 h 31"/>
                <a:gd name="T20" fmla="*/ 96 w 118"/>
                <a:gd name="T21" fmla="*/ 20 h 31"/>
                <a:gd name="T22" fmla="*/ 94 w 118"/>
                <a:gd name="T23" fmla="*/ 2 h 31"/>
                <a:gd name="T24" fmla="*/ 116 w 118"/>
                <a:gd name="T25" fmla="*/ 0 h 31"/>
                <a:gd name="T26" fmla="*/ 118 w 118"/>
                <a:gd name="T27" fmla="*/ 18 h 31"/>
                <a:gd name="T28" fmla="*/ 96 w 118"/>
                <a:gd name="T29"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31">
                  <a:moveTo>
                    <a:pt x="1" y="31"/>
                  </a:moveTo>
                  <a:lnTo>
                    <a:pt x="0" y="13"/>
                  </a:lnTo>
                  <a:lnTo>
                    <a:pt x="24" y="11"/>
                  </a:lnTo>
                  <a:lnTo>
                    <a:pt x="26" y="29"/>
                  </a:lnTo>
                  <a:lnTo>
                    <a:pt x="1" y="31"/>
                  </a:lnTo>
                  <a:close/>
                  <a:moveTo>
                    <a:pt x="50" y="26"/>
                  </a:moveTo>
                  <a:lnTo>
                    <a:pt x="46" y="7"/>
                  </a:lnTo>
                  <a:lnTo>
                    <a:pt x="70" y="5"/>
                  </a:lnTo>
                  <a:lnTo>
                    <a:pt x="72" y="24"/>
                  </a:lnTo>
                  <a:lnTo>
                    <a:pt x="50" y="26"/>
                  </a:lnTo>
                  <a:close/>
                  <a:moveTo>
                    <a:pt x="96" y="20"/>
                  </a:moveTo>
                  <a:lnTo>
                    <a:pt x="94" y="2"/>
                  </a:lnTo>
                  <a:lnTo>
                    <a:pt x="116" y="0"/>
                  </a:lnTo>
                  <a:lnTo>
                    <a:pt x="118" y="18"/>
                  </a:lnTo>
                  <a:lnTo>
                    <a:pt x="9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5" name="Freeform 108">
              <a:extLst>
                <a:ext uri="{FF2B5EF4-FFF2-40B4-BE49-F238E27FC236}">
                  <a16:creationId xmlns:a16="http://schemas.microsoft.com/office/drawing/2014/main" id="{CCBD2FE5-CE62-42E7-9DA2-AC55FF934846}"/>
                </a:ext>
              </a:extLst>
            </p:cNvPr>
            <p:cNvSpPr>
              <a:spLocks/>
            </p:cNvSpPr>
            <p:nvPr/>
          </p:nvSpPr>
          <p:spPr bwMode="auto">
            <a:xfrm>
              <a:off x="7472363" y="4956176"/>
              <a:ext cx="23813" cy="30163"/>
            </a:xfrm>
            <a:custGeom>
              <a:avLst/>
              <a:gdLst>
                <a:gd name="T0" fmla="*/ 2 w 15"/>
                <a:gd name="T1" fmla="*/ 19 h 19"/>
                <a:gd name="T2" fmla="*/ 0 w 15"/>
                <a:gd name="T3" fmla="*/ 0 h 19"/>
                <a:gd name="T4" fmla="*/ 13 w 15"/>
                <a:gd name="T5" fmla="*/ 0 h 19"/>
                <a:gd name="T6" fmla="*/ 15 w 15"/>
                <a:gd name="T7" fmla="*/ 19 h 19"/>
                <a:gd name="T8" fmla="*/ 2 w 15"/>
                <a:gd name="T9" fmla="*/ 19 h 19"/>
              </a:gdLst>
              <a:ahLst/>
              <a:cxnLst>
                <a:cxn ang="0">
                  <a:pos x="T0" y="T1"/>
                </a:cxn>
                <a:cxn ang="0">
                  <a:pos x="T2" y="T3"/>
                </a:cxn>
                <a:cxn ang="0">
                  <a:pos x="T4" y="T5"/>
                </a:cxn>
                <a:cxn ang="0">
                  <a:pos x="T6" y="T7"/>
                </a:cxn>
                <a:cxn ang="0">
                  <a:pos x="T8" y="T9"/>
                </a:cxn>
              </a:cxnLst>
              <a:rect l="0" t="0" r="r" b="b"/>
              <a:pathLst>
                <a:path w="15" h="19">
                  <a:moveTo>
                    <a:pt x="2" y="19"/>
                  </a:moveTo>
                  <a:lnTo>
                    <a:pt x="0" y="0"/>
                  </a:lnTo>
                  <a:lnTo>
                    <a:pt x="13" y="0"/>
                  </a:lnTo>
                  <a:lnTo>
                    <a:pt x="15" y="19"/>
                  </a:lnTo>
                  <a:lnTo>
                    <a:pt x="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6" name="Freeform 109">
              <a:extLst>
                <a:ext uri="{FF2B5EF4-FFF2-40B4-BE49-F238E27FC236}">
                  <a16:creationId xmlns:a16="http://schemas.microsoft.com/office/drawing/2014/main" id="{D10D2E6D-549E-4D21-8536-12FCB24EFB44}"/>
                </a:ext>
              </a:extLst>
            </p:cNvPr>
            <p:cNvSpPr>
              <a:spLocks/>
            </p:cNvSpPr>
            <p:nvPr/>
          </p:nvSpPr>
          <p:spPr bwMode="auto">
            <a:xfrm>
              <a:off x="7264401" y="4921251"/>
              <a:ext cx="149225" cy="150813"/>
            </a:xfrm>
            <a:custGeom>
              <a:avLst/>
              <a:gdLst>
                <a:gd name="T0" fmla="*/ 94 w 94"/>
                <a:gd name="T1" fmla="*/ 48 h 95"/>
                <a:gd name="T2" fmla="*/ 94 w 94"/>
                <a:gd name="T3" fmla="*/ 48 h 95"/>
                <a:gd name="T4" fmla="*/ 93 w 94"/>
                <a:gd name="T5" fmla="*/ 58 h 95"/>
                <a:gd name="T6" fmla="*/ 91 w 94"/>
                <a:gd name="T7" fmla="*/ 65 h 95"/>
                <a:gd name="T8" fmla="*/ 85 w 94"/>
                <a:gd name="T9" fmla="*/ 74 h 95"/>
                <a:gd name="T10" fmla="*/ 80 w 94"/>
                <a:gd name="T11" fmla="*/ 80 h 95"/>
                <a:gd name="T12" fmla="*/ 72 w 94"/>
                <a:gd name="T13" fmla="*/ 85 h 95"/>
                <a:gd name="T14" fmla="*/ 65 w 94"/>
                <a:gd name="T15" fmla="*/ 91 h 95"/>
                <a:gd name="T16" fmla="*/ 55 w 94"/>
                <a:gd name="T17" fmla="*/ 93 h 95"/>
                <a:gd name="T18" fmla="*/ 46 w 94"/>
                <a:gd name="T19" fmla="*/ 95 h 95"/>
                <a:gd name="T20" fmla="*/ 46 w 94"/>
                <a:gd name="T21" fmla="*/ 95 h 95"/>
                <a:gd name="T22" fmla="*/ 37 w 94"/>
                <a:gd name="T23" fmla="*/ 93 h 95"/>
                <a:gd name="T24" fmla="*/ 28 w 94"/>
                <a:gd name="T25" fmla="*/ 91 h 95"/>
                <a:gd name="T26" fmla="*/ 20 w 94"/>
                <a:gd name="T27" fmla="*/ 85 h 95"/>
                <a:gd name="T28" fmla="*/ 13 w 94"/>
                <a:gd name="T29" fmla="*/ 80 h 95"/>
                <a:gd name="T30" fmla="*/ 7 w 94"/>
                <a:gd name="T31" fmla="*/ 74 h 95"/>
                <a:gd name="T32" fmla="*/ 4 w 94"/>
                <a:gd name="T33" fmla="*/ 65 h 95"/>
                <a:gd name="T34" fmla="*/ 2 w 94"/>
                <a:gd name="T35" fmla="*/ 58 h 95"/>
                <a:gd name="T36" fmla="*/ 0 w 94"/>
                <a:gd name="T37" fmla="*/ 48 h 95"/>
                <a:gd name="T38" fmla="*/ 0 w 94"/>
                <a:gd name="T39" fmla="*/ 48 h 95"/>
                <a:gd name="T40" fmla="*/ 2 w 94"/>
                <a:gd name="T41" fmla="*/ 37 h 95"/>
                <a:gd name="T42" fmla="*/ 4 w 94"/>
                <a:gd name="T43" fmla="*/ 30 h 95"/>
                <a:gd name="T44" fmla="*/ 7 w 94"/>
                <a:gd name="T45" fmla="*/ 21 h 95"/>
                <a:gd name="T46" fmla="*/ 13 w 94"/>
                <a:gd name="T47" fmla="*/ 15 h 95"/>
                <a:gd name="T48" fmla="*/ 20 w 94"/>
                <a:gd name="T49" fmla="*/ 10 h 95"/>
                <a:gd name="T50" fmla="*/ 28 w 94"/>
                <a:gd name="T51" fmla="*/ 4 h 95"/>
                <a:gd name="T52" fmla="*/ 37 w 94"/>
                <a:gd name="T53" fmla="*/ 2 h 95"/>
                <a:gd name="T54" fmla="*/ 46 w 94"/>
                <a:gd name="T55" fmla="*/ 0 h 95"/>
                <a:gd name="T56" fmla="*/ 46 w 94"/>
                <a:gd name="T57" fmla="*/ 0 h 95"/>
                <a:gd name="T58" fmla="*/ 55 w 94"/>
                <a:gd name="T59" fmla="*/ 2 h 95"/>
                <a:gd name="T60" fmla="*/ 65 w 94"/>
                <a:gd name="T61" fmla="*/ 4 h 95"/>
                <a:gd name="T62" fmla="*/ 72 w 94"/>
                <a:gd name="T63" fmla="*/ 10 h 95"/>
                <a:gd name="T64" fmla="*/ 80 w 94"/>
                <a:gd name="T65" fmla="*/ 15 h 95"/>
                <a:gd name="T66" fmla="*/ 85 w 94"/>
                <a:gd name="T67" fmla="*/ 21 h 95"/>
                <a:gd name="T68" fmla="*/ 91 w 94"/>
                <a:gd name="T69" fmla="*/ 30 h 95"/>
                <a:gd name="T70" fmla="*/ 93 w 94"/>
                <a:gd name="T71" fmla="*/ 37 h 95"/>
                <a:gd name="T72" fmla="*/ 94 w 94"/>
                <a:gd name="T73" fmla="*/ 48 h 95"/>
                <a:gd name="T74" fmla="*/ 94 w 94"/>
                <a:gd name="T75" fmla="*/ 4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4" h="95">
                  <a:moveTo>
                    <a:pt x="94" y="48"/>
                  </a:moveTo>
                  <a:lnTo>
                    <a:pt x="94" y="48"/>
                  </a:lnTo>
                  <a:lnTo>
                    <a:pt x="93" y="58"/>
                  </a:lnTo>
                  <a:lnTo>
                    <a:pt x="91" y="65"/>
                  </a:lnTo>
                  <a:lnTo>
                    <a:pt x="85" y="74"/>
                  </a:lnTo>
                  <a:lnTo>
                    <a:pt x="80" y="80"/>
                  </a:lnTo>
                  <a:lnTo>
                    <a:pt x="72" y="85"/>
                  </a:lnTo>
                  <a:lnTo>
                    <a:pt x="65" y="91"/>
                  </a:lnTo>
                  <a:lnTo>
                    <a:pt x="55" y="93"/>
                  </a:lnTo>
                  <a:lnTo>
                    <a:pt x="46" y="95"/>
                  </a:lnTo>
                  <a:lnTo>
                    <a:pt x="46" y="95"/>
                  </a:lnTo>
                  <a:lnTo>
                    <a:pt x="37" y="93"/>
                  </a:lnTo>
                  <a:lnTo>
                    <a:pt x="28" y="91"/>
                  </a:lnTo>
                  <a:lnTo>
                    <a:pt x="20" y="85"/>
                  </a:lnTo>
                  <a:lnTo>
                    <a:pt x="13" y="80"/>
                  </a:lnTo>
                  <a:lnTo>
                    <a:pt x="7" y="74"/>
                  </a:lnTo>
                  <a:lnTo>
                    <a:pt x="4" y="65"/>
                  </a:lnTo>
                  <a:lnTo>
                    <a:pt x="2" y="58"/>
                  </a:lnTo>
                  <a:lnTo>
                    <a:pt x="0" y="48"/>
                  </a:lnTo>
                  <a:lnTo>
                    <a:pt x="0" y="48"/>
                  </a:lnTo>
                  <a:lnTo>
                    <a:pt x="2" y="37"/>
                  </a:lnTo>
                  <a:lnTo>
                    <a:pt x="4" y="30"/>
                  </a:lnTo>
                  <a:lnTo>
                    <a:pt x="7" y="21"/>
                  </a:lnTo>
                  <a:lnTo>
                    <a:pt x="13" y="15"/>
                  </a:lnTo>
                  <a:lnTo>
                    <a:pt x="20" y="10"/>
                  </a:lnTo>
                  <a:lnTo>
                    <a:pt x="28" y="4"/>
                  </a:lnTo>
                  <a:lnTo>
                    <a:pt x="37" y="2"/>
                  </a:lnTo>
                  <a:lnTo>
                    <a:pt x="46" y="0"/>
                  </a:lnTo>
                  <a:lnTo>
                    <a:pt x="46" y="0"/>
                  </a:lnTo>
                  <a:lnTo>
                    <a:pt x="55" y="2"/>
                  </a:lnTo>
                  <a:lnTo>
                    <a:pt x="65" y="4"/>
                  </a:lnTo>
                  <a:lnTo>
                    <a:pt x="72" y="10"/>
                  </a:lnTo>
                  <a:lnTo>
                    <a:pt x="80" y="15"/>
                  </a:lnTo>
                  <a:lnTo>
                    <a:pt x="85" y="21"/>
                  </a:lnTo>
                  <a:lnTo>
                    <a:pt x="91" y="30"/>
                  </a:lnTo>
                  <a:lnTo>
                    <a:pt x="93" y="37"/>
                  </a:lnTo>
                  <a:lnTo>
                    <a:pt x="94" y="48"/>
                  </a:lnTo>
                  <a:lnTo>
                    <a:pt x="94" y="48"/>
                  </a:lnTo>
                  <a:close/>
                </a:path>
              </a:pathLst>
            </a:custGeom>
            <a:solidFill>
              <a:srgbClr val="FDD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7" name="Freeform 110">
              <a:extLst>
                <a:ext uri="{FF2B5EF4-FFF2-40B4-BE49-F238E27FC236}">
                  <a16:creationId xmlns:a16="http://schemas.microsoft.com/office/drawing/2014/main" id="{9A4BCE8E-B0F2-4588-B5A5-9CE38C4FBE77}"/>
                </a:ext>
              </a:extLst>
            </p:cNvPr>
            <p:cNvSpPr>
              <a:spLocks/>
            </p:cNvSpPr>
            <p:nvPr/>
          </p:nvSpPr>
          <p:spPr bwMode="auto">
            <a:xfrm>
              <a:off x="7485063" y="5395913"/>
              <a:ext cx="87313" cy="87313"/>
            </a:xfrm>
            <a:custGeom>
              <a:avLst/>
              <a:gdLst>
                <a:gd name="T0" fmla="*/ 55 w 55"/>
                <a:gd name="T1" fmla="*/ 27 h 55"/>
                <a:gd name="T2" fmla="*/ 55 w 55"/>
                <a:gd name="T3" fmla="*/ 27 h 55"/>
                <a:gd name="T4" fmla="*/ 55 w 55"/>
                <a:gd name="T5" fmla="*/ 33 h 55"/>
                <a:gd name="T6" fmla="*/ 54 w 55"/>
                <a:gd name="T7" fmla="*/ 38 h 55"/>
                <a:gd name="T8" fmla="*/ 48 w 55"/>
                <a:gd name="T9" fmla="*/ 46 h 55"/>
                <a:gd name="T10" fmla="*/ 39 w 55"/>
                <a:gd name="T11" fmla="*/ 53 h 55"/>
                <a:gd name="T12" fmla="*/ 33 w 55"/>
                <a:gd name="T13" fmla="*/ 53 h 55"/>
                <a:gd name="T14" fmla="*/ 28 w 55"/>
                <a:gd name="T15" fmla="*/ 55 h 55"/>
                <a:gd name="T16" fmla="*/ 28 w 55"/>
                <a:gd name="T17" fmla="*/ 55 h 55"/>
                <a:gd name="T18" fmla="*/ 22 w 55"/>
                <a:gd name="T19" fmla="*/ 53 h 55"/>
                <a:gd name="T20" fmla="*/ 17 w 55"/>
                <a:gd name="T21" fmla="*/ 53 h 55"/>
                <a:gd name="T22" fmla="*/ 9 w 55"/>
                <a:gd name="T23" fmla="*/ 46 h 55"/>
                <a:gd name="T24" fmla="*/ 4 w 55"/>
                <a:gd name="T25" fmla="*/ 38 h 55"/>
                <a:gd name="T26" fmla="*/ 2 w 55"/>
                <a:gd name="T27" fmla="*/ 33 h 55"/>
                <a:gd name="T28" fmla="*/ 0 w 55"/>
                <a:gd name="T29" fmla="*/ 27 h 55"/>
                <a:gd name="T30" fmla="*/ 0 w 55"/>
                <a:gd name="T31" fmla="*/ 27 h 55"/>
                <a:gd name="T32" fmla="*/ 2 w 55"/>
                <a:gd name="T33" fmla="*/ 22 h 55"/>
                <a:gd name="T34" fmla="*/ 4 w 55"/>
                <a:gd name="T35" fmla="*/ 16 h 55"/>
                <a:gd name="T36" fmla="*/ 9 w 55"/>
                <a:gd name="T37" fmla="*/ 9 h 55"/>
                <a:gd name="T38" fmla="*/ 17 w 55"/>
                <a:gd name="T39" fmla="*/ 1 h 55"/>
                <a:gd name="T40" fmla="*/ 22 w 55"/>
                <a:gd name="T41" fmla="*/ 1 h 55"/>
                <a:gd name="T42" fmla="*/ 28 w 55"/>
                <a:gd name="T43" fmla="*/ 0 h 55"/>
                <a:gd name="T44" fmla="*/ 28 w 55"/>
                <a:gd name="T45" fmla="*/ 0 h 55"/>
                <a:gd name="T46" fmla="*/ 33 w 55"/>
                <a:gd name="T47" fmla="*/ 1 h 55"/>
                <a:gd name="T48" fmla="*/ 39 w 55"/>
                <a:gd name="T49" fmla="*/ 1 h 55"/>
                <a:gd name="T50" fmla="*/ 48 w 55"/>
                <a:gd name="T51" fmla="*/ 9 h 55"/>
                <a:gd name="T52" fmla="*/ 54 w 55"/>
                <a:gd name="T53" fmla="*/ 16 h 55"/>
                <a:gd name="T54" fmla="*/ 55 w 55"/>
                <a:gd name="T55" fmla="*/ 22 h 55"/>
                <a:gd name="T56" fmla="*/ 55 w 55"/>
                <a:gd name="T57" fmla="*/ 27 h 55"/>
                <a:gd name="T58" fmla="*/ 55 w 55"/>
                <a:gd name="T59"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 h="55">
                  <a:moveTo>
                    <a:pt x="55" y="27"/>
                  </a:moveTo>
                  <a:lnTo>
                    <a:pt x="55" y="27"/>
                  </a:lnTo>
                  <a:lnTo>
                    <a:pt x="55" y="33"/>
                  </a:lnTo>
                  <a:lnTo>
                    <a:pt x="54" y="38"/>
                  </a:lnTo>
                  <a:lnTo>
                    <a:pt x="48" y="46"/>
                  </a:lnTo>
                  <a:lnTo>
                    <a:pt x="39" y="53"/>
                  </a:lnTo>
                  <a:lnTo>
                    <a:pt x="33" y="53"/>
                  </a:lnTo>
                  <a:lnTo>
                    <a:pt x="28" y="55"/>
                  </a:lnTo>
                  <a:lnTo>
                    <a:pt x="28" y="55"/>
                  </a:lnTo>
                  <a:lnTo>
                    <a:pt x="22" y="53"/>
                  </a:lnTo>
                  <a:lnTo>
                    <a:pt x="17" y="53"/>
                  </a:lnTo>
                  <a:lnTo>
                    <a:pt x="9" y="46"/>
                  </a:lnTo>
                  <a:lnTo>
                    <a:pt x="4" y="38"/>
                  </a:lnTo>
                  <a:lnTo>
                    <a:pt x="2" y="33"/>
                  </a:lnTo>
                  <a:lnTo>
                    <a:pt x="0" y="27"/>
                  </a:lnTo>
                  <a:lnTo>
                    <a:pt x="0" y="27"/>
                  </a:lnTo>
                  <a:lnTo>
                    <a:pt x="2" y="22"/>
                  </a:lnTo>
                  <a:lnTo>
                    <a:pt x="4" y="16"/>
                  </a:lnTo>
                  <a:lnTo>
                    <a:pt x="9" y="9"/>
                  </a:lnTo>
                  <a:lnTo>
                    <a:pt x="17" y="1"/>
                  </a:lnTo>
                  <a:lnTo>
                    <a:pt x="22" y="1"/>
                  </a:lnTo>
                  <a:lnTo>
                    <a:pt x="28" y="0"/>
                  </a:lnTo>
                  <a:lnTo>
                    <a:pt x="28" y="0"/>
                  </a:lnTo>
                  <a:lnTo>
                    <a:pt x="33" y="1"/>
                  </a:lnTo>
                  <a:lnTo>
                    <a:pt x="39" y="1"/>
                  </a:lnTo>
                  <a:lnTo>
                    <a:pt x="48" y="9"/>
                  </a:lnTo>
                  <a:lnTo>
                    <a:pt x="54" y="16"/>
                  </a:lnTo>
                  <a:lnTo>
                    <a:pt x="55" y="22"/>
                  </a:lnTo>
                  <a:lnTo>
                    <a:pt x="55" y="27"/>
                  </a:lnTo>
                  <a:lnTo>
                    <a:pt x="55" y="27"/>
                  </a:lnTo>
                  <a:close/>
                </a:path>
              </a:pathLst>
            </a:custGeom>
            <a:solidFill>
              <a:srgbClr val="FDD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8" name="Freeform 111">
              <a:extLst>
                <a:ext uri="{FF2B5EF4-FFF2-40B4-BE49-F238E27FC236}">
                  <a16:creationId xmlns:a16="http://schemas.microsoft.com/office/drawing/2014/main" id="{3D60E68F-FC3D-40E2-8AFF-9BD6B127651D}"/>
                </a:ext>
              </a:extLst>
            </p:cNvPr>
            <p:cNvSpPr>
              <a:spLocks/>
            </p:cNvSpPr>
            <p:nvPr/>
          </p:nvSpPr>
          <p:spPr bwMode="auto">
            <a:xfrm>
              <a:off x="7470776" y="1203326"/>
              <a:ext cx="438150" cy="438150"/>
            </a:xfrm>
            <a:custGeom>
              <a:avLst/>
              <a:gdLst>
                <a:gd name="T0" fmla="*/ 276 w 276"/>
                <a:gd name="T1" fmla="*/ 139 h 276"/>
                <a:gd name="T2" fmla="*/ 272 w 276"/>
                <a:gd name="T3" fmla="*/ 167 h 276"/>
                <a:gd name="T4" fmla="*/ 265 w 276"/>
                <a:gd name="T5" fmla="*/ 193 h 276"/>
                <a:gd name="T6" fmla="*/ 252 w 276"/>
                <a:gd name="T7" fmla="*/ 215 h 276"/>
                <a:gd name="T8" fmla="*/ 235 w 276"/>
                <a:gd name="T9" fmla="*/ 236 h 276"/>
                <a:gd name="T10" fmla="*/ 214 w 276"/>
                <a:gd name="T11" fmla="*/ 252 h 276"/>
                <a:gd name="T12" fmla="*/ 190 w 276"/>
                <a:gd name="T13" fmla="*/ 265 h 276"/>
                <a:gd name="T14" fmla="*/ 164 w 276"/>
                <a:gd name="T15" fmla="*/ 275 h 276"/>
                <a:gd name="T16" fmla="*/ 137 w 276"/>
                <a:gd name="T17" fmla="*/ 276 h 276"/>
                <a:gd name="T18" fmla="*/ 124 w 276"/>
                <a:gd name="T19" fmla="*/ 276 h 276"/>
                <a:gd name="T20" fmla="*/ 96 w 276"/>
                <a:gd name="T21" fmla="*/ 271 h 276"/>
                <a:gd name="T22" fmla="*/ 72 w 276"/>
                <a:gd name="T23" fmla="*/ 260 h 276"/>
                <a:gd name="T24" fmla="*/ 50 w 276"/>
                <a:gd name="T25" fmla="*/ 245 h 276"/>
                <a:gd name="T26" fmla="*/ 31 w 276"/>
                <a:gd name="T27" fmla="*/ 226 h 276"/>
                <a:gd name="T28" fmla="*/ 16 w 276"/>
                <a:gd name="T29" fmla="*/ 204 h 276"/>
                <a:gd name="T30" fmla="*/ 5 w 276"/>
                <a:gd name="T31" fmla="*/ 180 h 276"/>
                <a:gd name="T32" fmla="*/ 0 w 276"/>
                <a:gd name="T33" fmla="*/ 152 h 276"/>
                <a:gd name="T34" fmla="*/ 0 w 276"/>
                <a:gd name="T35" fmla="*/ 139 h 276"/>
                <a:gd name="T36" fmla="*/ 1 w 276"/>
                <a:gd name="T37" fmla="*/ 112 h 276"/>
                <a:gd name="T38" fmla="*/ 9 w 276"/>
                <a:gd name="T39" fmla="*/ 86 h 276"/>
                <a:gd name="T40" fmla="*/ 22 w 276"/>
                <a:gd name="T41" fmla="*/ 62 h 276"/>
                <a:gd name="T42" fmla="*/ 38 w 276"/>
                <a:gd name="T43" fmla="*/ 41 h 276"/>
                <a:gd name="T44" fmla="*/ 59 w 276"/>
                <a:gd name="T45" fmla="*/ 25 h 276"/>
                <a:gd name="T46" fmla="*/ 83 w 276"/>
                <a:gd name="T47" fmla="*/ 12 h 276"/>
                <a:gd name="T48" fmla="*/ 109 w 276"/>
                <a:gd name="T49" fmla="*/ 4 h 276"/>
                <a:gd name="T50" fmla="*/ 137 w 276"/>
                <a:gd name="T51" fmla="*/ 0 h 276"/>
                <a:gd name="T52" fmla="*/ 151 w 276"/>
                <a:gd name="T53" fmla="*/ 0 h 276"/>
                <a:gd name="T54" fmla="*/ 177 w 276"/>
                <a:gd name="T55" fmla="*/ 6 h 276"/>
                <a:gd name="T56" fmla="*/ 203 w 276"/>
                <a:gd name="T57" fmla="*/ 17 h 276"/>
                <a:gd name="T58" fmla="*/ 226 w 276"/>
                <a:gd name="T59" fmla="*/ 32 h 276"/>
                <a:gd name="T60" fmla="*/ 244 w 276"/>
                <a:gd name="T61" fmla="*/ 50 h 276"/>
                <a:gd name="T62" fmla="*/ 259 w 276"/>
                <a:gd name="T63" fmla="*/ 73 h 276"/>
                <a:gd name="T64" fmla="*/ 268 w 276"/>
                <a:gd name="T65" fmla="*/ 97 h 276"/>
                <a:gd name="T66" fmla="*/ 274 w 276"/>
                <a:gd name="T67" fmla="*/ 125 h 276"/>
                <a:gd name="T68" fmla="*/ 276 w 276"/>
                <a:gd name="T69" fmla="*/ 13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6" h="276">
                  <a:moveTo>
                    <a:pt x="276" y="139"/>
                  </a:moveTo>
                  <a:lnTo>
                    <a:pt x="276" y="139"/>
                  </a:lnTo>
                  <a:lnTo>
                    <a:pt x="274" y="152"/>
                  </a:lnTo>
                  <a:lnTo>
                    <a:pt x="272" y="167"/>
                  </a:lnTo>
                  <a:lnTo>
                    <a:pt x="268" y="180"/>
                  </a:lnTo>
                  <a:lnTo>
                    <a:pt x="265" y="193"/>
                  </a:lnTo>
                  <a:lnTo>
                    <a:pt x="259" y="204"/>
                  </a:lnTo>
                  <a:lnTo>
                    <a:pt x="252" y="215"/>
                  </a:lnTo>
                  <a:lnTo>
                    <a:pt x="244" y="226"/>
                  </a:lnTo>
                  <a:lnTo>
                    <a:pt x="235" y="236"/>
                  </a:lnTo>
                  <a:lnTo>
                    <a:pt x="226" y="245"/>
                  </a:lnTo>
                  <a:lnTo>
                    <a:pt x="214" y="252"/>
                  </a:lnTo>
                  <a:lnTo>
                    <a:pt x="203" y="260"/>
                  </a:lnTo>
                  <a:lnTo>
                    <a:pt x="190" y="265"/>
                  </a:lnTo>
                  <a:lnTo>
                    <a:pt x="177" y="271"/>
                  </a:lnTo>
                  <a:lnTo>
                    <a:pt x="164" y="275"/>
                  </a:lnTo>
                  <a:lnTo>
                    <a:pt x="151" y="276"/>
                  </a:lnTo>
                  <a:lnTo>
                    <a:pt x="137" y="276"/>
                  </a:lnTo>
                  <a:lnTo>
                    <a:pt x="137" y="276"/>
                  </a:lnTo>
                  <a:lnTo>
                    <a:pt x="124" y="276"/>
                  </a:lnTo>
                  <a:lnTo>
                    <a:pt x="109" y="275"/>
                  </a:lnTo>
                  <a:lnTo>
                    <a:pt x="96" y="271"/>
                  </a:lnTo>
                  <a:lnTo>
                    <a:pt x="83" y="265"/>
                  </a:lnTo>
                  <a:lnTo>
                    <a:pt x="72" y="260"/>
                  </a:lnTo>
                  <a:lnTo>
                    <a:pt x="59" y="252"/>
                  </a:lnTo>
                  <a:lnTo>
                    <a:pt x="50" y="245"/>
                  </a:lnTo>
                  <a:lnTo>
                    <a:pt x="38" y="236"/>
                  </a:lnTo>
                  <a:lnTo>
                    <a:pt x="31" y="226"/>
                  </a:lnTo>
                  <a:lnTo>
                    <a:pt x="22" y="215"/>
                  </a:lnTo>
                  <a:lnTo>
                    <a:pt x="16" y="204"/>
                  </a:lnTo>
                  <a:lnTo>
                    <a:pt x="9" y="193"/>
                  </a:lnTo>
                  <a:lnTo>
                    <a:pt x="5" y="180"/>
                  </a:lnTo>
                  <a:lnTo>
                    <a:pt x="1" y="167"/>
                  </a:lnTo>
                  <a:lnTo>
                    <a:pt x="0" y="152"/>
                  </a:lnTo>
                  <a:lnTo>
                    <a:pt x="0" y="139"/>
                  </a:lnTo>
                  <a:lnTo>
                    <a:pt x="0" y="139"/>
                  </a:lnTo>
                  <a:lnTo>
                    <a:pt x="0" y="125"/>
                  </a:lnTo>
                  <a:lnTo>
                    <a:pt x="1" y="112"/>
                  </a:lnTo>
                  <a:lnTo>
                    <a:pt x="5" y="97"/>
                  </a:lnTo>
                  <a:lnTo>
                    <a:pt x="9" y="86"/>
                  </a:lnTo>
                  <a:lnTo>
                    <a:pt x="16" y="73"/>
                  </a:lnTo>
                  <a:lnTo>
                    <a:pt x="22" y="62"/>
                  </a:lnTo>
                  <a:lnTo>
                    <a:pt x="31" y="50"/>
                  </a:lnTo>
                  <a:lnTo>
                    <a:pt x="38" y="41"/>
                  </a:lnTo>
                  <a:lnTo>
                    <a:pt x="50" y="32"/>
                  </a:lnTo>
                  <a:lnTo>
                    <a:pt x="59" y="25"/>
                  </a:lnTo>
                  <a:lnTo>
                    <a:pt x="72" y="17"/>
                  </a:lnTo>
                  <a:lnTo>
                    <a:pt x="83" y="12"/>
                  </a:lnTo>
                  <a:lnTo>
                    <a:pt x="96" y="6"/>
                  </a:lnTo>
                  <a:lnTo>
                    <a:pt x="109" y="4"/>
                  </a:lnTo>
                  <a:lnTo>
                    <a:pt x="124" y="0"/>
                  </a:lnTo>
                  <a:lnTo>
                    <a:pt x="137" y="0"/>
                  </a:lnTo>
                  <a:lnTo>
                    <a:pt x="137" y="0"/>
                  </a:lnTo>
                  <a:lnTo>
                    <a:pt x="151" y="0"/>
                  </a:lnTo>
                  <a:lnTo>
                    <a:pt x="164" y="4"/>
                  </a:lnTo>
                  <a:lnTo>
                    <a:pt x="177" y="6"/>
                  </a:lnTo>
                  <a:lnTo>
                    <a:pt x="190" y="12"/>
                  </a:lnTo>
                  <a:lnTo>
                    <a:pt x="203" y="17"/>
                  </a:lnTo>
                  <a:lnTo>
                    <a:pt x="214" y="25"/>
                  </a:lnTo>
                  <a:lnTo>
                    <a:pt x="226" y="32"/>
                  </a:lnTo>
                  <a:lnTo>
                    <a:pt x="235" y="41"/>
                  </a:lnTo>
                  <a:lnTo>
                    <a:pt x="244" y="50"/>
                  </a:lnTo>
                  <a:lnTo>
                    <a:pt x="252" y="62"/>
                  </a:lnTo>
                  <a:lnTo>
                    <a:pt x="259" y="73"/>
                  </a:lnTo>
                  <a:lnTo>
                    <a:pt x="265" y="86"/>
                  </a:lnTo>
                  <a:lnTo>
                    <a:pt x="268" y="97"/>
                  </a:lnTo>
                  <a:lnTo>
                    <a:pt x="272" y="112"/>
                  </a:lnTo>
                  <a:lnTo>
                    <a:pt x="274" y="125"/>
                  </a:lnTo>
                  <a:lnTo>
                    <a:pt x="276" y="139"/>
                  </a:lnTo>
                  <a:lnTo>
                    <a:pt x="276" y="139"/>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69" name="Freeform 112">
              <a:extLst>
                <a:ext uri="{FF2B5EF4-FFF2-40B4-BE49-F238E27FC236}">
                  <a16:creationId xmlns:a16="http://schemas.microsoft.com/office/drawing/2014/main" id="{8BD158C6-0417-4E3B-AB92-C3048F3A2C78}"/>
                </a:ext>
              </a:extLst>
            </p:cNvPr>
            <p:cNvSpPr>
              <a:spLocks noEditPoints="1"/>
            </p:cNvSpPr>
            <p:nvPr/>
          </p:nvSpPr>
          <p:spPr bwMode="auto">
            <a:xfrm>
              <a:off x="7602538" y="1285876"/>
              <a:ext cx="155575" cy="258763"/>
            </a:xfrm>
            <a:custGeom>
              <a:avLst/>
              <a:gdLst>
                <a:gd name="T0" fmla="*/ 98 w 98"/>
                <a:gd name="T1" fmla="*/ 108 h 163"/>
                <a:gd name="T2" fmla="*/ 94 w 98"/>
                <a:gd name="T3" fmla="*/ 121 h 163"/>
                <a:gd name="T4" fmla="*/ 87 w 98"/>
                <a:gd name="T5" fmla="*/ 132 h 163"/>
                <a:gd name="T6" fmla="*/ 80 w 98"/>
                <a:gd name="T7" fmla="*/ 136 h 163"/>
                <a:gd name="T8" fmla="*/ 65 w 98"/>
                <a:gd name="T9" fmla="*/ 141 h 163"/>
                <a:gd name="T10" fmla="*/ 56 w 98"/>
                <a:gd name="T11" fmla="*/ 163 h 163"/>
                <a:gd name="T12" fmla="*/ 43 w 98"/>
                <a:gd name="T13" fmla="*/ 143 h 163"/>
                <a:gd name="T14" fmla="*/ 20 w 98"/>
                <a:gd name="T15" fmla="*/ 141 h 163"/>
                <a:gd name="T16" fmla="*/ 0 w 98"/>
                <a:gd name="T17" fmla="*/ 110 h 163"/>
                <a:gd name="T18" fmla="*/ 20 w 98"/>
                <a:gd name="T19" fmla="*/ 117 h 163"/>
                <a:gd name="T20" fmla="*/ 43 w 98"/>
                <a:gd name="T21" fmla="*/ 121 h 163"/>
                <a:gd name="T22" fmla="*/ 35 w 98"/>
                <a:gd name="T23" fmla="*/ 87 h 163"/>
                <a:gd name="T24" fmla="*/ 18 w 98"/>
                <a:gd name="T25" fmla="*/ 80 h 163"/>
                <a:gd name="T26" fmla="*/ 9 w 98"/>
                <a:gd name="T27" fmla="*/ 71 h 163"/>
                <a:gd name="T28" fmla="*/ 2 w 98"/>
                <a:gd name="T29" fmla="*/ 61 h 163"/>
                <a:gd name="T30" fmla="*/ 0 w 98"/>
                <a:gd name="T31" fmla="*/ 50 h 163"/>
                <a:gd name="T32" fmla="*/ 4 w 98"/>
                <a:gd name="T33" fmla="*/ 37 h 163"/>
                <a:gd name="T34" fmla="*/ 11 w 98"/>
                <a:gd name="T35" fmla="*/ 26 h 163"/>
                <a:gd name="T36" fmla="*/ 17 w 98"/>
                <a:gd name="T37" fmla="*/ 23 h 163"/>
                <a:gd name="T38" fmla="*/ 43 w 98"/>
                <a:gd name="T39" fmla="*/ 15 h 163"/>
                <a:gd name="T40" fmla="*/ 56 w 98"/>
                <a:gd name="T41" fmla="*/ 0 h 163"/>
                <a:gd name="T42" fmla="*/ 56 w 98"/>
                <a:gd name="T43" fmla="*/ 15 h 163"/>
                <a:gd name="T44" fmla="*/ 94 w 98"/>
                <a:gd name="T45" fmla="*/ 24 h 163"/>
                <a:gd name="T46" fmla="*/ 87 w 98"/>
                <a:gd name="T47" fmla="*/ 47 h 163"/>
                <a:gd name="T48" fmla="*/ 56 w 98"/>
                <a:gd name="T49" fmla="*/ 39 h 163"/>
                <a:gd name="T50" fmla="*/ 56 w 98"/>
                <a:gd name="T51" fmla="*/ 67 h 163"/>
                <a:gd name="T52" fmla="*/ 81 w 98"/>
                <a:gd name="T53" fmla="*/ 80 h 163"/>
                <a:gd name="T54" fmla="*/ 89 w 98"/>
                <a:gd name="T55" fmla="*/ 86 h 163"/>
                <a:gd name="T56" fmla="*/ 94 w 98"/>
                <a:gd name="T57" fmla="*/ 93 h 163"/>
                <a:gd name="T58" fmla="*/ 98 w 98"/>
                <a:gd name="T59" fmla="*/ 108 h 163"/>
                <a:gd name="T60" fmla="*/ 30 w 98"/>
                <a:gd name="T61" fmla="*/ 50 h 163"/>
                <a:gd name="T62" fmla="*/ 30 w 98"/>
                <a:gd name="T63" fmla="*/ 54 h 163"/>
                <a:gd name="T64" fmla="*/ 33 w 98"/>
                <a:gd name="T65" fmla="*/ 56 h 163"/>
                <a:gd name="T66" fmla="*/ 43 w 98"/>
                <a:gd name="T67" fmla="*/ 39 h 163"/>
                <a:gd name="T68" fmla="*/ 37 w 98"/>
                <a:gd name="T69" fmla="*/ 41 h 163"/>
                <a:gd name="T70" fmla="*/ 30 w 98"/>
                <a:gd name="T71" fmla="*/ 47 h 163"/>
                <a:gd name="T72" fmla="*/ 30 w 98"/>
                <a:gd name="T73" fmla="*/ 50 h 163"/>
                <a:gd name="T74" fmla="*/ 68 w 98"/>
                <a:gd name="T75" fmla="*/ 108 h 163"/>
                <a:gd name="T76" fmla="*/ 65 w 98"/>
                <a:gd name="T77" fmla="*/ 102 h 163"/>
                <a:gd name="T78" fmla="*/ 56 w 98"/>
                <a:gd name="T79" fmla="*/ 95 h 163"/>
                <a:gd name="T80" fmla="*/ 56 w 98"/>
                <a:gd name="T81" fmla="*/ 119 h 163"/>
                <a:gd name="T82" fmla="*/ 65 w 98"/>
                <a:gd name="T83" fmla="*/ 115 h 163"/>
                <a:gd name="T84" fmla="*/ 68 w 98"/>
                <a:gd name="T85" fmla="*/ 10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 h="163">
                  <a:moveTo>
                    <a:pt x="98" y="108"/>
                  </a:moveTo>
                  <a:lnTo>
                    <a:pt x="98" y="108"/>
                  </a:lnTo>
                  <a:lnTo>
                    <a:pt x="96" y="113"/>
                  </a:lnTo>
                  <a:lnTo>
                    <a:pt x="94" y="121"/>
                  </a:lnTo>
                  <a:lnTo>
                    <a:pt x="91" y="126"/>
                  </a:lnTo>
                  <a:lnTo>
                    <a:pt x="87" y="132"/>
                  </a:lnTo>
                  <a:lnTo>
                    <a:pt x="87" y="132"/>
                  </a:lnTo>
                  <a:lnTo>
                    <a:pt x="80" y="136"/>
                  </a:lnTo>
                  <a:lnTo>
                    <a:pt x="72" y="139"/>
                  </a:lnTo>
                  <a:lnTo>
                    <a:pt x="65" y="141"/>
                  </a:lnTo>
                  <a:lnTo>
                    <a:pt x="56" y="143"/>
                  </a:lnTo>
                  <a:lnTo>
                    <a:pt x="56" y="163"/>
                  </a:lnTo>
                  <a:lnTo>
                    <a:pt x="43" y="163"/>
                  </a:lnTo>
                  <a:lnTo>
                    <a:pt x="43" y="143"/>
                  </a:lnTo>
                  <a:lnTo>
                    <a:pt x="43" y="143"/>
                  </a:lnTo>
                  <a:lnTo>
                    <a:pt x="20" y="141"/>
                  </a:lnTo>
                  <a:lnTo>
                    <a:pt x="0" y="136"/>
                  </a:lnTo>
                  <a:lnTo>
                    <a:pt x="0" y="110"/>
                  </a:lnTo>
                  <a:lnTo>
                    <a:pt x="0" y="110"/>
                  </a:lnTo>
                  <a:lnTo>
                    <a:pt x="20" y="117"/>
                  </a:lnTo>
                  <a:lnTo>
                    <a:pt x="20" y="117"/>
                  </a:lnTo>
                  <a:lnTo>
                    <a:pt x="43" y="121"/>
                  </a:lnTo>
                  <a:lnTo>
                    <a:pt x="43" y="91"/>
                  </a:lnTo>
                  <a:lnTo>
                    <a:pt x="35" y="87"/>
                  </a:lnTo>
                  <a:lnTo>
                    <a:pt x="35" y="87"/>
                  </a:lnTo>
                  <a:lnTo>
                    <a:pt x="18" y="80"/>
                  </a:lnTo>
                  <a:lnTo>
                    <a:pt x="9" y="71"/>
                  </a:lnTo>
                  <a:lnTo>
                    <a:pt x="9" y="71"/>
                  </a:lnTo>
                  <a:lnTo>
                    <a:pt x="6" y="67"/>
                  </a:lnTo>
                  <a:lnTo>
                    <a:pt x="2" y="61"/>
                  </a:lnTo>
                  <a:lnTo>
                    <a:pt x="0" y="50"/>
                  </a:lnTo>
                  <a:lnTo>
                    <a:pt x="0" y="50"/>
                  </a:lnTo>
                  <a:lnTo>
                    <a:pt x="2" y="43"/>
                  </a:lnTo>
                  <a:lnTo>
                    <a:pt x="4" y="37"/>
                  </a:lnTo>
                  <a:lnTo>
                    <a:pt x="7" y="32"/>
                  </a:lnTo>
                  <a:lnTo>
                    <a:pt x="11" y="26"/>
                  </a:lnTo>
                  <a:lnTo>
                    <a:pt x="11" y="26"/>
                  </a:lnTo>
                  <a:lnTo>
                    <a:pt x="17" y="23"/>
                  </a:lnTo>
                  <a:lnTo>
                    <a:pt x="24" y="19"/>
                  </a:lnTo>
                  <a:lnTo>
                    <a:pt x="43" y="15"/>
                  </a:lnTo>
                  <a:lnTo>
                    <a:pt x="43" y="0"/>
                  </a:lnTo>
                  <a:lnTo>
                    <a:pt x="56" y="0"/>
                  </a:lnTo>
                  <a:lnTo>
                    <a:pt x="56" y="15"/>
                  </a:lnTo>
                  <a:lnTo>
                    <a:pt x="56" y="15"/>
                  </a:lnTo>
                  <a:lnTo>
                    <a:pt x="76" y="19"/>
                  </a:lnTo>
                  <a:lnTo>
                    <a:pt x="94" y="24"/>
                  </a:lnTo>
                  <a:lnTo>
                    <a:pt x="87" y="47"/>
                  </a:lnTo>
                  <a:lnTo>
                    <a:pt x="87" y="47"/>
                  </a:lnTo>
                  <a:lnTo>
                    <a:pt x="70" y="41"/>
                  </a:lnTo>
                  <a:lnTo>
                    <a:pt x="56" y="39"/>
                  </a:lnTo>
                  <a:lnTo>
                    <a:pt x="56" y="67"/>
                  </a:lnTo>
                  <a:lnTo>
                    <a:pt x="56" y="67"/>
                  </a:lnTo>
                  <a:lnTo>
                    <a:pt x="72" y="74"/>
                  </a:lnTo>
                  <a:lnTo>
                    <a:pt x="81" y="80"/>
                  </a:lnTo>
                  <a:lnTo>
                    <a:pt x="81" y="80"/>
                  </a:lnTo>
                  <a:lnTo>
                    <a:pt x="89" y="86"/>
                  </a:lnTo>
                  <a:lnTo>
                    <a:pt x="94" y="93"/>
                  </a:lnTo>
                  <a:lnTo>
                    <a:pt x="94" y="93"/>
                  </a:lnTo>
                  <a:lnTo>
                    <a:pt x="96" y="99"/>
                  </a:lnTo>
                  <a:lnTo>
                    <a:pt x="98" y="108"/>
                  </a:lnTo>
                  <a:lnTo>
                    <a:pt x="98" y="108"/>
                  </a:lnTo>
                  <a:close/>
                  <a:moveTo>
                    <a:pt x="30" y="50"/>
                  </a:moveTo>
                  <a:lnTo>
                    <a:pt x="30" y="50"/>
                  </a:lnTo>
                  <a:lnTo>
                    <a:pt x="30" y="54"/>
                  </a:lnTo>
                  <a:lnTo>
                    <a:pt x="33" y="56"/>
                  </a:lnTo>
                  <a:lnTo>
                    <a:pt x="33" y="56"/>
                  </a:lnTo>
                  <a:lnTo>
                    <a:pt x="43" y="63"/>
                  </a:lnTo>
                  <a:lnTo>
                    <a:pt x="43" y="39"/>
                  </a:lnTo>
                  <a:lnTo>
                    <a:pt x="43" y="39"/>
                  </a:lnTo>
                  <a:lnTo>
                    <a:pt x="37" y="41"/>
                  </a:lnTo>
                  <a:lnTo>
                    <a:pt x="33" y="43"/>
                  </a:lnTo>
                  <a:lnTo>
                    <a:pt x="30" y="47"/>
                  </a:lnTo>
                  <a:lnTo>
                    <a:pt x="30" y="50"/>
                  </a:lnTo>
                  <a:lnTo>
                    <a:pt x="30" y="50"/>
                  </a:lnTo>
                  <a:close/>
                  <a:moveTo>
                    <a:pt x="68" y="108"/>
                  </a:moveTo>
                  <a:lnTo>
                    <a:pt x="68" y="108"/>
                  </a:lnTo>
                  <a:lnTo>
                    <a:pt x="67" y="104"/>
                  </a:lnTo>
                  <a:lnTo>
                    <a:pt x="65" y="102"/>
                  </a:lnTo>
                  <a:lnTo>
                    <a:pt x="65" y="102"/>
                  </a:lnTo>
                  <a:lnTo>
                    <a:pt x="56" y="95"/>
                  </a:lnTo>
                  <a:lnTo>
                    <a:pt x="56" y="119"/>
                  </a:lnTo>
                  <a:lnTo>
                    <a:pt x="56" y="119"/>
                  </a:lnTo>
                  <a:lnTo>
                    <a:pt x="61" y="119"/>
                  </a:lnTo>
                  <a:lnTo>
                    <a:pt x="65" y="115"/>
                  </a:lnTo>
                  <a:lnTo>
                    <a:pt x="67" y="113"/>
                  </a:lnTo>
                  <a:lnTo>
                    <a:pt x="68" y="108"/>
                  </a:lnTo>
                  <a:lnTo>
                    <a:pt x="68" y="1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0" name="Freeform 113">
              <a:extLst>
                <a:ext uri="{FF2B5EF4-FFF2-40B4-BE49-F238E27FC236}">
                  <a16:creationId xmlns:a16="http://schemas.microsoft.com/office/drawing/2014/main" id="{D75F3807-2388-4887-A9E7-5F32CD928920}"/>
                </a:ext>
              </a:extLst>
            </p:cNvPr>
            <p:cNvSpPr>
              <a:spLocks noEditPoints="1"/>
            </p:cNvSpPr>
            <p:nvPr/>
          </p:nvSpPr>
          <p:spPr bwMode="auto">
            <a:xfrm>
              <a:off x="10261601" y="3930651"/>
              <a:ext cx="238125" cy="31750"/>
            </a:xfrm>
            <a:custGeom>
              <a:avLst/>
              <a:gdLst>
                <a:gd name="T0" fmla="*/ 0 w 150"/>
                <a:gd name="T1" fmla="*/ 20 h 20"/>
                <a:gd name="T2" fmla="*/ 0 w 150"/>
                <a:gd name="T3" fmla="*/ 2 h 20"/>
                <a:gd name="T4" fmla="*/ 17 w 150"/>
                <a:gd name="T5" fmla="*/ 2 h 20"/>
                <a:gd name="T6" fmla="*/ 17 w 150"/>
                <a:gd name="T7" fmla="*/ 20 h 20"/>
                <a:gd name="T8" fmla="*/ 0 w 150"/>
                <a:gd name="T9" fmla="*/ 20 h 20"/>
                <a:gd name="T10" fmla="*/ 33 w 150"/>
                <a:gd name="T11" fmla="*/ 20 h 20"/>
                <a:gd name="T12" fmla="*/ 33 w 150"/>
                <a:gd name="T13" fmla="*/ 2 h 20"/>
                <a:gd name="T14" fmla="*/ 50 w 150"/>
                <a:gd name="T15" fmla="*/ 2 h 20"/>
                <a:gd name="T16" fmla="*/ 50 w 150"/>
                <a:gd name="T17" fmla="*/ 20 h 20"/>
                <a:gd name="T18" fmla="*/ 33 w 150"/>
                <a:gd name="T19" fmla="*/ 20 h 20"/>
                <a:gd name="T20" fmla="*/ 67 w 150"/>
                <a:gd name="T21" fmla="*/ 20 h 20"/>
                <a:gd name="T22" fmla="*/ 67 w 150"/>
                <a:gd name="T23" fmla="*/ 2 h 20"/>
                <a:gd name="T24" fmla="*/ 83 w 150"/>
                <a:gd name="T25" fmla="*/ 2 h 20"/>
                <a:gd name="T26" fmla="*/ 83 w 150"/>
                <a:gd name="T27" fmla="*/ 20 h 20"/>
                <a:gd name="T28" fmla="*/ 67 w 150"/>
                <a:gd name="T29" fmla="*/ 20 h 20"/>
                <a:gd name="T30" fmla="*/ 100 w 150"/>
                <a:gd name="T31" fmla="*/ 20 h 20"/>
                <a:gd name="T32" fmla="*/ 100 w 150"/>
                <a:gd name="T33" fmla="*/ 2 h 20"/>
                <a:gd name="T34" fmla="*/ 117 w 150"/>
                <a:gd name="T35" fmla="*/ 2 h 20"/>
                <a:gd name="T36" fmla="*/ 117 w 150"/>
                <a:gd name="T37" fmla="*/ 20 h 20"/>
                <a:gd name="T38" fmla="*/ 100 w 150"/>
                <a:gd name="T39" fmla="*/ 20 h 20"/>
                <a:gd name="T40" fmla="*/ 133 w 150"/>
                <a:gd name="T41" fmla="*/ 20 h 20"/>
                <a:gd name="T42" fmla="*/ 131 w 150"/>
                <a:gd name="T43" fmla="*/ 2 h 20"/>
                <a:gd name="T44" fmla="*/ 148 w 150"/>
                <a:gd name="T45" fmla="*/ 0 h 20"/>
                <a:gd name="T46" fmla="*/ 150 w 150"/>
                <a:gd name="T47" fmla="*/ 18 h 20"/>
                <a:gd name="T48" fmla="*/ 133 w 150"/>
                <a:gd name="T4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 h="20">
                  <a:moveTo>
                    <a:pt x="0" y="20"/>
                  </a:moveTo>
                  <a:lnTo>
                    <a:pt x="0" y="2"/>
                  </a:lnTo>
                  <a:lnTo>
                    <a:pt x="17" y="2"/>
                  </a:lnTo>
                  <a:lnTo>
                    <a:pt x="17" y="20"/>
                  </a:lnTo>
                  <a:lnTo>
                    <a:pt x="0" y="20"/>
                  </a:lnTo>
                  <a:close/>
                  <a:moveTo>
                    <a:pt x="33" y="20"/>
                  </a:moveTo>
                  <a:lnTo>
                    <a:pt x="33" y="2"/>
                  </a:lnTo>
                  <a:lnTo>
                    <a:pt x="50" y="2"/>
                  </a:lnTo>
                  <a:lnTo>
                    <a:pt x="50" y="20"/>
                  </a:lnTo>
                  <a:lnTo>
                    <a:pt x="33" y="20"/>
                  </a:lnTo>
                  <a:close/>
                  <a:moveTo>
                    <a:pt x="67" y="20"/>
                  </a:moveTo>
                  <a:lnTo>
                    <a:pt x="67" y="2"/>
                  </a:lnTo>
                  <a:lnTo>
                    <a:pt x="83" y="2"/>
                  </a:lnTo>
                  <a:lnTo>
                    <a:pt x="83" y="20"/>
                  </a:lnTo>
                  <a:lnTo>
                    <a:pt x="67" y="20"/>
                  </a:lnTo>
                  <a:close/>
                  <a:moveTo>
                    <a:pt x="100" y="20"/>
                  </a:moveTo>
                  <a:lnTo>
                    <a:pt x="100" y="2"/>
                  </a:lnTo>
                  <a:lnTo>
                    <a:pt x="117" y="2"/>
                  </a:lnTo>
                  <a:lnTo>
                    <a:pt x="117" y="20"/>
                  </a:lnTo>
                  <a:lnTo>
                    <a:pt x="100" y="20"/>
                  </a:lnTo>
                  <a:close/>
                  <a:moveTo>
                    <a:pt x="133" y="20"/>
                  </a:moveTo>
                  <a:lnTo>
                    <a:pt x="131" y="2"/>
                  </a:lnTo>
                  <a:lnTo>
                    <a:pt x="148" y="0"/>
                  </a:lnTo>
                  <a:lnTo>
                    <a:pt x="150" y="18"/>
                  </a:lnTo>
                  <a:lnTo>
                    <a:pt x="133"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1" name="Freeform 114">
              <a:extLst>
                <a:ext uri="{FF2B5EF4-FFF2-40B4-BE49-F238E27FC236}">
                  <a16:creationId xmlns:a16="http://schemas.microsoft.com/office/drawing/2014/main" id="{C895E909-6856-4BC8-8BAE-6D5EF39FCD37}"/>
                </a:ext>
              </a:extLst>
            </p:cNvPr>
            <p:cNvSpPr>
              <a:spLocks noEditPoints="1"/>
            </p:cNvSpPr>
            <p:nvPr/>
          </p:nvSpPr>
          <p:spPr bwMode="auto">
            <a:xfrm>
              <a:off x="10388601" y="4059238"/>
              <a:ext cx="234950" cy="33338"/>
            </a:xfrm>
            <a:custGeom>
              <a:avLst/>
              <a:gdLst>
                <a:gd name="T0" fmla="*/ 0 w 148"/>
                <a:gd name="T1" fmla="*/ 21 h 21"/>
                <a:gd name="T2" fmla="*/ 0 w 148"/>
                <a:gd name="T3" fmla="*/ 2 h 21"/>
                <a:gd name="T4" fmla="*/ 16 w 148"/>
                <a:gd name="T5" fmla="*/ 2 h 21"/>
                <a:gd name="T6" fmla="*/ 16 w 148"/>
                <a:gd name="T7" fmla="*/ 21 h 21"/>
                <a:gd name="T8" fmla="*/ 0 w 148"/>
                <a:gd name="T9" fmla="*/ 21 h 21"/>
                <a:gd name="T10" fmla="*/ 33 w 148"/>
                <a:gd name="T11" fmla="*/ 21 h 21"/>
                <a:gd name="T12" fmla="*/ 33 w 148"/>
                <a:gd name="T13" fmla="*/ 2 h 21"/>
                <a:gd name="T14" fmla="*/ 50 w 148"/>
                <a:gd name="T15" fmla="*/ 2 h 21"/>
                <a:gd name="T16" fmla="*/ 50 w 148"/>
                <a:gd name="T17" fmla="*/ 21 h 21"/>
                <a:gd name="T18" fmla="*/ 33 w 148"/>
                <a:gd name="T19" fmla="*/ 21 h 21"/>
                <a:gd name="T20" fmla="*/ 66 w 148"/>
                <a:gd name="T21" fmla="*/ 19 h 21"/>
                <a:gd name="T22" fmla="*/ 66 w 148"/>
                <a:gd name="T23" fmla="*/ 0 h 21"/>
                <a:gd name="T24" fmla="*/ 83 w 148"/>
                <a:gd name="T25" fmla="*/ 0 h 21"/>
                <a:gd name="T26" fmla="*/ 83 w 148"/>
                <a:gd name="T27" fmla="*/ 19 h 21"/>
                <a:gd name="T28" fmla="*/ 66 w 148"/>
                <a:gd name="T29" fmla="*/ 19 h 21"/>
                <a:gd name="T30" fmla="*/ 100 w 148"/>
                <a:gd name="T31" fmla="*/ 19 h 21"/>
                <a:gd name="T32" fmla="*/ 100 w 148"/>
                <a:gd name="T33" fmla="*/ 0 h 21"/>
                <a:gd name="T34" fmla="*/ 116 w 148"/>
                <a:gd name="T35" fmla="*/ 0 h 21"/>
                <a:gd name="T36" fmla="*/ 116 w 148"/>
                <a:gd name="T37" fmla="*/ 19 h 21"/>
                <a:gd name="T38" fmla="*/ 100 w 148"/>
                <a:gd name="T39" fmla="*/ 19 h 21"/>
                <a:gd name="T40" fmla="*/ 133 w 148"/>
                <a:gd name="T41" fmla="*/ 19 h 21"/>
                <a:gd name="T42" fmla="*/ 131 w 148"/>
                <a:gd name="T43" fmla="*/ 0 h 21"/>
                <a:gd name="T44" fmla="*/ 148 w 148"/>
                <a:gd name="T45" fmla="*/ 0 h 21"/>
                <a:gd name="T46" fmla="*/ 148 w 148"/>
                <a:gd name="T47" fmla="*/ 19 h 21"/>
                <a:gd name="T48" fmla="*/ 133 w 148"/>
                <a:gd name="T4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 h="21">
                  <a:moveTo>
                    <a:pt x="0" y="21"/>
                  </a:moveTo>
                  <a:lnTo>
                    <a:pt x="0" y="2"/>
                  </a:lnTo>
                  <a:lnTo>
                    <a:pt x="16" y="2"/>
                  </a:lnTo>
                  <a:lnTo>
                    <a:pt x="16" y="21"/>
                  </a:lnTo>
                  <a:lnTo>
                    <a:pt x="0" y="21"/>
                  </a:lnTo>
                  <a:close/>
                  <a:moveTo>
                    <a:pt x="33" y="21"/>
                  </a:moveTo>
                  <a:lnTo>
                    <a:pt x="33" y="2"/>
                  </a:lnTo>
                  <a:lnTo>
                    <a:pt x="50" y="2"/>
                  </a:lnTo>
                  <a:lnTo>
                    <a:pt x="50" y="21"/>
                  </a:lnTo>
                  <a:lnTo>
                    <a:pt x="33" y="21"/>
                  </a:lnTo>
                  <a:close/>
                  <a:moveTo>
                    <a:pt x="66" y="19"/>
                  </a:moveTo>
                  <a:lnTo>
                    <a:pt x="66" y="0"/>
                  </a:lnTo>
                  <a:lnTo>
                    <a:pt x="83" y="0"/>
                  </a:lnTo>
                  <a:lnTo>
                    <a:pt x="83" y="19"/>
                  </a:lnTo>
                  <a:lnTo>
                    <a:pt x="66" y="19"/>
                  </a:lnTo>
                  <a:close/>
                  <a:moveTo>
                    <a:pt x="100" y="19"/>
                  </a:moveTo>
                  <a:lnTo>
                    <a:pt x="100" y="0"/>
                  </a:lnTo>
                  <a:lnTo>
                    <a:pt x="116" y="0"/>
                  </a:lnTo>
                  <a:lnTo>
                    <a:pt x="116" y="19"/>
                  </a:lnTo>
                  <a:lnTo>
                    <a:pt x="100" y="19"/>
                  </a:lnTo>
                  <a:close/>
                  <a:moveTo>
                    <a:pt x="133" y="19"/>
                  </a:moveTo>
                  <a:lnTo>
                    <a:pt x="131" y="0"/>
                  </a:lnTo>
                  <a:lnTo>
                    <a:pt x="148" y="0"/>
                  </a:lnTo>
                  <a:lnTo>
                    <a:pt x="148" y="19"/>
                  </a:lnTo>
                  <a:lnTo>
                    <a:pt x="133"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2" name="Freeform 115">
              <a:extLst>
                <a:ext uri="{FF2B5EF4-FFF2-40B4-BE49-F238E27FC236}">
                  <a16:creationId xmlns:a16="http://schemas.microsoft.com/office/drawing/2014/main" id="{8F7D7F8A-223F-4779-8C80-738F2EAE7408}"/>
                </a:ext>
              </a:extLst>
            </p:cNvPr>
            <p:cNvSpPr>
              <a:spLocks noEditPoints="1"/>
            </p:cNvSpPr>
            <p:nvPr/>
          </p:nvSpPr>
          <p:spPr bwMode="auto">
            <a:xfrm>
              <a:off x="10264776" y="4183063"/>
              <a:ext cx="234950" cy="33338"/>
            </a:xfrm>
            <a:custGeom>
              <a:avLst/>
              <a:gdLst>
                <a:gd name="T0" fmla="*/ 0 w 148"/>
                <a:gd name="T1" fmla="*/ 21 h 21"/>
                <a:gd name="T2" fmla="*/ 0 w 148"/>
                <a:gd name="T3" fmla="*/ 2 h 21"/>
                <a:gd name="T4" fmla="*/ 16 w 148"/>
                <a:gd name="T5" fmla="*/ 2 h 21"/>
                <a:gd name="T6" fmla="*/ 16 w 148"/>
                <a:gd name="T7" fmla="*/ 21 h 21"/>
                <a:gd name="T8" fmla="*/ 0 w 148"/>
                <a:gd name="T9" fmla="*/ 21 h 21"/>
                <a:gd name="T10" fmla="*/ 33 w 148"/>
                <a:gd name="T11" fmla="*/ 21 h 21"/>
                <a:gd name="T12" fmla="*/ 33 w 148"/>
                <a:gd name="T13" fmla="*/ 2 h 21"/>
                <a:gd name="T14" fmla="*/ 50 w 148"/>
                <a:gd name="T15" fmla="*/ 2 h 21"/>
                <a:gd name="T16" fmla="*/ 50 w 148"/>
                <a:gd name="T17" fmla="*/ 21 h 21"/>
                <a:gd name="T18" fmla="*/ 33 w 148"/>
                <a:gd name="T19" fmla="*/ 21 h 21"/>
                <a:gd name="T20" fmla="*/ 66 w 148"/>
                <a:gd name="T21" fmla="*/ 21 h 21"/>
                <a:gd name="T22" fmla="*/ 65 w 148"/>
                <a:gd name="T23" fmla="*/ 2 h 21"/>
                <a:gd name="T24" fmla="*/ 81 w 148"/>
                <a:gd name="T25" fmla="*/ 2 h 21"/>
                <a:gd name="T26" fmla="*/ 81 w 148"/>
                <a:gd name="T27" fmla="*/ 21 h 21"/>
                <a:gd name="T28" fmla="*/ 66 w 148"/>
                <a:gd name="T29" fmla="*/ 21 h 21"/>
                <a:gd name="T30" fmla="*/ 98 w 148"/>
                <a:gd name="T31" fmla="*/ 21 h 21"/>
                <a:gd name="T32" fmla="*/ 98 w 148"/>
                <a:gd name="T33" fmla="*/ 2 h 21"/>
                <a:gd name="T34" fmla="*/ 115 w 148"/>
                <a:gd name="T35" fmla="*/ 2 h 21"/>
                <a:gd name="T36" fmla="*/ 115 w 148"/>
                <a:gd name="T37" fmla="*/ 21 h 21"/>
                <a:gd name="T38" fmla="*/ 98 w 148"/>
                <a:gd name="T39" fmla="*/ 21 h 21"/>
                <a:gd name="T40" fmla="*/ 131 w 148"/>
                <a:gd name="T41" fmla="*/ 21 h 21"/>
                <a:gd name="T42" fmla="*/ 131 w 148"/>
                <a:gd name="T43" fmla="*/ 2 h 21"/>
                <a:gd name="T44" fmla="*/ 148 w 148"/>
                <a:gd name="T45" fmla="*/ 0 h 21"/>
                <a:gd name="T46" fmla="*/ 148 w 148"/>
                <a:gd name="T47" fmla="*/ 19 h 21"/>
                <a:gd name="T48" fmla="*/ 131 w 148"/>
                <a:gd name="T4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 h="21">
                  <a:moveTo>
                    <a:pt x="0" y="21"/>
                  </a:moveTo>
                  <a:lnTo>
                    <a:pt x="0" y="2"/>
                  </a:lnTo>
                  <a:lnTo>
                    <a:pt x="16" y="2"/>
                  </a:lnTo>
                  <a:lnTo>
                    <a:pt x="16" y="21"/>
                  </a:lnTo>
                  <a:lnTo>
                    <a:pt x="0" y="21"/>
                  </a:lnTo>
                  <a:close/>
                  <a:moveTo>
                    <a:pt x="33" y="21"/>
                  </a:moveTo>
                  <a:lnTo>
                    <a:pt x="33" y="2"/>
                  </a:lnTo>
                  <a:lnTo>
                    <a:pt x="50" y="2"/>
                  </a:lnTo>
                  <a:lnTo>
                    <a:pt x="50" y="21"/>
                  </a:lnTo>
                  <a:lnTo>
                    <a:pt x="33" y="21"/>
                  </a:lnTo>
                  <a:close/>
                  <a:moveTo>
                    <a:pt x="66" y="21"/>
                  </a:moveTo>
                  <a:lnTo>
                    <a:pt x="65" y="2"/>
                  </a:lnTo>
                  <a:lnTo>
                    <a:pt x="81" y="2"/>
                  </a:lnTo>
                  <a:lnTo>
                    <a:pt x="81" y="21"/>
                  </a:lnTo>
                  <a:lnTo>
                    <a:pt x="66" y="21"/>
                  </a:lnTo>
                  <a:close/>
                  <a:moveTo>
                    <a:pt x="98" y="21"/>
                  </a:moveTo>
                  <a:lnTo>
                    <a:pt x="98" y="2"/>
                  </a:lnTo>
                  <a:lnTo>
                    <a:pt x="115" y="2"/>
                  </a:lnTo>
                  <a:lnTo>
                    <a:pt x="115" y="21"/>
                  </a:lnTo>
                  <a:lnTo>
                    <a:pt x="98" y="21"/>
                  </a:lnTo>
                  <a:close/>
                  <a:moveTo>
                    <a:pt x="131" y="21"/>
                  </a:moveTo>
                  <a:lnTo>
                    <a:pt x="131" y="2"/>
                  </a:lnTo>
                  <a:lnTo>
                    <a:pt x="148" y="0"/>
                  </a:lnTo>
                  <a:lnTo>
                    <a:pt x="148" y="19"/>
                  </a:lnTo>
                  <a:lnTo>
                    <a:pt x="131"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3" name="Freeform 116">
              <a:extLst>
                <a:ext uri="{FF2B5EF4-FFF2-40B4-BE49-F238E27FC236}">
                  <a16:creationId xmlns:a16="http://schemas.microsoft.com/office/drawing/2014/main" id="{A16D5F1B-D26C-4326-9AE9-19BD14F2FB8E}"/>
                </a:ext>
              </a:extLst>
            </p:cNvPr>
            <p:cNvSpPr>
              <a:spLocks/>
            </p:cNvSpPr>
            <p:nvPr/>
          </p:nvSpPr>
          <p:spPr bwMode="auto">
            <a:xfrm>
              <a:off x="9750426" y="3930651"/>
              <a:ext cx="422275" cy="200025"/>
            </a:xfrm>
            <a:custGeom>
              <a:avLst/>
              <a:gdLst>
                <a:gd name="T0" fmla="*/ 137 w 266"/>
                <a:gd name="T1" fmla="*/ 126 h 126"/>
                <a:gd name="T2" fmla="*/ 0 w 266"/>
                <a:gd name="T3" fmla="*/ 17 h 126"/>
                <a:gd name="T4" fmla="*/ 11 w 266"/>
                <a:gd name="T5" fmla="*/ 2 h 126"/>
                <a:gd name="T6" fmla="*/ 137 w 266"/>
                <a:gd name="T7" fmla="*/ 102 h 126"/>
                <a:gd name="T8" fmla="*/ 255 w 266"/>
                <a:gd name="T9" fmla="*/ 0 h 126"/>
                <a:gd name="T10" fmla="*/ 266 w 266"/>
                <a:gd name="T11" fmla="*/ 15 h 126"/>
                <a:gd name="T12" fmla="*/ 137 w 266"/>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266" h="126">
                  <a:moveTo>
                    <a:pt x="137" y="126"/>
                  </a:moveTo>
                  <a:lnTo>
                    <a:pt x="0" y="17"/>
                  </a:lnTo>
                  <a:lnTo>
                    <a:pt x="11" y="2"/>
                  </a:lnTo>
                  <a:lnTo>
                    <a:pt x="137" y="102"/>
                  </a:lnTo>
                  <a:lnTo>
                    <a:pt x="255" y="0"/>
                  </a:lnTo>
                  <a:lnTo>
                    <a:pt x="266" y="15"/>
                  </a:lnTo>
                  <a:lnTo>
                    <a:pt x="137" y="1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4" name="Freeform 117">
              <a:extLst>
                <a:ext uri="{FF2B5EF4-FFF2-40B4-BE49-F238E27FC236}">
                  <a16:creationId xmlns:a16="http://schemas.microsoft.com/office/drawing/2014/main" id="{15D306CF-6BA8-4902-8C81-52FCCDA1476A}"/>
                </a:ext>
              </a:extLst>
            </p:cNvPr>
            <p:cNvSpPr>
              <a:spLocks/>
            </p:cNvSpPr>
            <p:nvPr/>
          </p:nvSpPr>
          <p:spPr bwMode="auto">
            <a:xfrm>
              <a:off x="9750426" y="4071938"/>
              <a:ext cx="179388" cy="158750"/>
            </a:xfrm>
            <a:custGeom>
              <a:avLst/>
              <a:gdLst>
                <a:gd name="T0" fmla="*/ 12 w 113"/>
                <a:gd name="T1" fmla="*/ 100 h 100"/>
                <a:gd name="T2" fmla="*/ 0 w 113"/>
                <a:gd name="T3" fmla="*/ 87 h 100"/>
                <a:gd name="T4" fmla="*/ 100 w 113"/>
                <a:gd name="T5" fmla="*/ 0 h 100"/>
                <a:gd name="T6" fmla="*/ 113 w 113"/>
                <a:gd name="T7" fmla="*/ 13 h 100"/>
                <a:gd name="T8" fmla="*/ 12 w 113"/>
                <a:gd name="T9" fmla="*/ 100 h 100"/>
              </a:gdLst>
              <a:ahLst/>
              <a:cxnLst>
                <a:cxn ang="0">
                  <a:pos x="T0" y="T1"/>
                </a:cxn>
                <a:cxn ang="0">
                  <a:pos x="T2" y="T3"/>
                </a:cxn>
                <a:cxn ang="0">
                  <a:pos x="T4" y="T5"/>
                </a:cxn>
                <a:cxn ang="0">
                  <a:pos x="T6" y="T7"/>
                </a:cxn>
                <a:cxn ang="0">
                  <a:pos x="T8" y="T9"/>
                </a:cxn>
              </a:cxnLst>
              <a:rect l="0" t="0" r="r" b="b"/>
              <a:pathLst>
                <a:path w="113" h="100">
                  <a:moveTo>
                    <a:pt x="12" y="100"/>
                  </a:moveTo>
                  <a:lnTo>
                    <a:pt x="0" y="87"/>
                  </a:lnTo>
                  <a:lnTo>
                    <a:pt x="100" y="0"/>
                  </a:lnTo>
                  <a:lnTo>
                    <a:pt x="113" y="13"/>
                  </a:lnTo>
                  <a:lnTo>
                    <a:pt x="12"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5" name="Freeform 118">
              <a:extLst>
                <a:ext uri="{FF2B5EF4-FFF2-40B4-BE49-F238E27FC236}">
                  <a16:creationId xmlns:a16="http://schemas.microsoft.com/office/drawing/2014/main" id="{F0DFF950-8B8E-48F0-9ACF-A813FC4D9CA7}"/>
                </a:ext>
              </a:extLst>
            </p:cNvPr>
            <p:cNvSpPr>
              <a:spLocks/>
            </p:cNvSpPr>
            <p:nvPr/>
          </p:nvSpPr>
          <p:spPr bwMode="auto">
            <a:xfrm>
              <a:off x="10009188" y="4068763"/>
              <a:ext cx="166688" cy="158750"/>
            </a:xfrm>
            <a:custGeom>
              <a:avLst/>
              <a:gdLst>
                <a:gd name="T0" fmla="*/ 94 w 105"/>
                <a:gd name="T1" fmla="*/ 100 h 100"/>
                <a:gd name="T2" fmla="*/ 0 w 105"/>
                <a:gd name="T3" fmla="*/ 15 h 100"/>
                <a:gd name="T4" fmla="*/ 13 w 105"/>
                <a:gd name="T5" fmla="*/ 0 h 100"/>
                <a:gd name="T6" fmla="*/ 105 w 105"/>
                <a:gd name="T7" fmla="*/ 87 h 100"/>
                <a:gd name="T8" fmla="*/ 94 w 105"/>
                <a:gd name="T9" fmla="*/ 100 h 100"/>
              </a:gdLst>
              <a:ahLst/>
              <a:cxnLst>
                <a:cxn ang="0">
                  <a:pos x="T0" y="T1"/>
                </a:cxn>
                <a:cxn ang="0">
                  <a:pos x="T2" y="T3"/>
                </a:cxn>
                <a:cxn ang="0">
                  <a:pos x="T4" y="T5"/>
                </a:cxn>
                <a:cxn ang="0">
                  <a:pos x="T6" y="T7"/>
                </a:cxn>
                <a:cxn ang="0">
                  <a:pos x="T8" y="T9"/>
                </a:cxn>
              </a:cxnLst>
              <a:rect l="0" t="0" r="r" b="b"/>
              <a:pathLst>
                <a:path w="105" h="100">
                  <a:moveTo>
                    <a:pt x="94" y="100"/>
                  </a:moveTo>
                  <a:lnTo>
                    <a:pt x="0" y="15"/>
                  </a:lnTo>
                  <a:lnTo>
                    <a:pt x="13" y="0"/>
                  </a:lnTo>
                  <a:lnTo>
                    <a:pt x="105" y="87"/>
                  </a:lnTo>
                  <a:lnTo>
                    <a:pt x="94" y="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6" name="Freeform 119">
              <a:extLst>
                <a:ext uri="{FF2B5EF4-FFF2-40B4-BE49-F238E27FC236}">
                  <a16:creationId xmlns:a16="http://schemas.microsoft.com/office/drawing/2014/main" id="{A1523510-1D30-4805-A75C-6FFC0AA92DA6}"/>
                </a:ext>
              </a:extLst>
            </p:cNvPr>
            <p:cNvSpPr>
              <a:spLocks noEditPoints="1"/>
            </p:cNvSpPr>
            <p:nvPr/>
          </p:nvSpPr>
          <p:spPr bwMode="auto">
            <a:xfrm>
              <a:off x="9744076" y="3927476"/>
              <a:ext cx="438150" cy="309563"/>
            </a:xfrm>
            <a:custGeom>
              <a:avLst/>
              <a:gdLst>
                <a:gd name="T0" fmla="*/ 2 w 276"/>
                <a:gd name="T1" fmla="*/ 195 h 195"/>
                <a:gd name="T2" fmla="*/ 0 w 276"/>
                <a:gd name="T3" fmla="*/ 2 h 195"/>
                <a:gd name="T4" fmla="*/ 274 w 276"/>
                <a:gd name="T5" fmla="*/ 0 h 195"/>
                <a:gd name="T6" fmla="*/ 276 w 276"/>
                <a:gd name="T7" fmla="*/ 191 h 195"/>
                <a:gd name="T8" fmla="*/ 2 w 276"/>
                <a:gd name="T9" fmla="*/ 195 h 195"/>
                <a:gd name="T10" fmla="*/ 18 w 276"/>
                <a:gd name="T11" fmla="*/ 20 h 195"/>
                <a:gd name="T12" fmla="*/ 20 w 276"/>
                <a:gd name="T13" fmla="*/ 174 h 195"/>
                <a:gd name="T14" fmla="*/ 257 w 276"/>
                <a:gd name="T15" fmla="*/ 172 h 195"/>
                <a:gd name="T16" fmla="*/ 256 w 276"/>
                <a:gd name="T17" fmla="*/ 19 h 195"/>
                <a:gd name="T18" fmla="*/ 18 w 276"/>
                <a:gd name="T19" fmla="*/ 2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195">
                  <a:moveTo>
                    <a:pt x="2" y="195"/>
                  </a:moveTo>
                  <a:lnTo>
                    <a:pt x="0" y="2"/>
                  </a:lnTo>
                  <a:lnTo>
                    <a:pt x="274" y="0"/>
                  </a:lnTo>
                  <a:lnTo>
                    <a:pt x="276" y="191"/>
                  </a:lnTo>
                  <a:lnTo>
                    <a:pt x="2" y="195"/>
                  </a:lnTo>
                  <a:close/>
                  <a:moveTo>
                    <a:pt x="18" y="20"/>
                  </a:moveTo>
                  <a:lnTo>
                    <a:pt x="20" y="174"/>
                  </a:lnTo>
                  <a:lnTo>
                    <a:pt x="257" y="172"/>
                  </a:lnTo>
                  <a:lnTo>
                    <a:pt x="256" y="19"/>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7" name="Freeform 120">
              <a:extLst>
                <a:ext uri="{FF2B5EF4-FFF2-40B4-BE49-F238E27FC236}">
                  <a16:creationId xmlns:a16="http://schemas.microsoft.com/office/drawing/2014/main" id="{BC604B4C-7B90-4178-9682-ECDA17EADE3E}"/>
                </a:ext>
              </a:extLst>
            </p:cNvPr>
            <p:cNvSpPr>
              <a:spLocks/>
            </p:cNvSpPr>
            <p:nvPr/>
          </p:nvSpPr>
          <p:spPr bwMode="auto">
            <a:xfrm>
              <a:off x="6419851" y="3121026"/>
              <a:ext cx="71438" cy="58738"/>
            </a:xfrm>
            <a:custGeom>
              <a:avLst/>
              <a:gdLst>
                <a:gd name="T0" fmla="*/ 2 w 45"/>
                <a:gd name="T1" fmla="*/ 34 h 37"/>
                <a:gd name="T2" fmla="*/ 2 w 45"/>
                <a:gd name="T3" fmla="*/ 34 h 37"/>
                <a:gd name="T4" fmla="*/ 0 w 45"/>
                <a:gd name="T5" fmla="*/ 32 h 37"/>
                <a:gd name="T6" fmla="*/ 0 w 45"/>
                <a:gd name="T7" fmla="*/ 28 h 37"/>
                <a:gd name="T8" fmla="*/ 2 w 45"/>
                <a:gd name="T9" fmla="*/ 24 h 37"/>
                <a:gd name="T10" fmla="*/ 4 w 45"/>
                <a:gd name="T11" fmla="*/ 23 h 37"/>
                <a:gd name="T12" fmla="*/ 32 w 45"/>
                <a:gd name="T13" fmla="*/ 2 h 37"/>
                <a:gd name="T14" fmla="*/ 32 w 45"/>
                <a:gd name="T15" fmla="*/ 2 h 37"/>
                <a:gd name="T16" fmla="*/ 33 w 45"/>
                <a:gd name="T17" fmla="*/ 0 h 37"/>
                <a:gd name="T18" fmla="*/ 37 w 45"/>
                <a:gd name="T19" fmla="*/ 0 h 37"/>
                <a:gd name="T20" fmla="*/ 41 w 45"/>
                <a:gd name="T21" fmla="*/ 2 h 37"/>
                <a:gd name="T22" fmla="*/ 43 w 45"/>
                <a:gd name="T23" fmla="*/ 4 h 37"/>
                <a:gd name="T24" fmla="*/ 43 w 45"/>
                <a:gd name="T25" fmla="*/ 4 h 37"/>
                <a:gd name="T26" fmla="*/ 45 w 45"/>
                <a:gd name="T27" fmla="*/ 8 h 37"/>
                <a:gd name="T28" fmla="*/ 45 w 45"/>
                <a:gd name="T29" fmla="*/ 10 h 37"/>
                <a:gd name="T30" fmla="*/ 43 w 45"/>
                <a:gd name="T31" fmla="*/ 13 h 37"/>
                <a:gd name="T32" fmla="*/ 41 w 45"/>
                <a:gd name="T33" fmla="*/ 15 h 37"/>
                <a:gd name="T34" fmla="*/ 15 w 45"/>
                <a:gd name="T35" fmla="*/ 36 h 37"/>
                <a:gd name="T36" fmla="*/ 15 w 45"/>
                <a:gd name="T37" fmla="*/ 36 h 37"/>
                <a:gd name="T38" fmla="*/ 11 w 45"/>
                <a:gd name="T39" fmla="*/ 37 h 37"/>
                <a:gd name="T40" fmla="*/ 8 w 45"/>
                <a:gd name="T41" fmla="*/ 37 h 37"/>
                <a:gd name="T42" fmla="*/ 6 w 45"/>
                <a:gd name="T43" fmla="*/ 37 h 37"/>
                <a:gd name="T44" fmla="*/ 2 w 45"/>
                <a:gd name="T45" fmla="*/ 34 h 37"/>
                <a:gd name="T46" fmla="*/ 2 w 45"/>
                <a:gd name="T47"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37">
                  <a:moveTo>
                    <a:pt x="2" y="34"/>
                  </a:moveTo>
                  <a:lnTo>
                    <a:pt x="2" y="34"/>
                  </a:lnTo>
                  <a:lnTo>
                    <a:pt x="0" y="32"/>
                  </a:lnTo>
                  <a:lnTo>
                    <a:pt x="0" y="28"/>
                  </a:lnTo>
                  <a:lnTo>
                    <a:pt x="2" y="24"/>
                  </a:lnTo>
                  <a:lnTo>
                    <a:pt x="4" y="23"/>
                  </a:lnTo>
                  <a:lnTo>
                    <a:pt x="32" y="2"/>
                  </a:lnTo>
                  <a:lnTo>
                    <a:pt x="32" y="2"/>
                  </a:lnTo>
                  <a:lnTo>
                    <a:pt x="33" y="0"/>
                  </a:lnTo>
                  <a:lnTo>
                    <a:pt x="37" y="0"/>
                  </a:lnTo>
                  <a:lnTo>
                    <a:pt x="41" y="2"/>
                  </a:lnTo>
                  <a:lnTo>
                    <a:pt x="43" y="4"/>
                  </a:lnTo>
                  <a:lnTo>
                    <a:pt x="43" y="4"/>
                  </a:lnTo>
                  <a:lnTo>
                    <a:pt x="45" y="8"/>
                  </a:lnTo>
                  <a:lnTo>
                    <a:pt x="45" y="10"/>
                  </a:lnTo>
                  <a:lnTo>
                    <a:pt x="43" y="13"/>
                  </a:lnTo>
                  <a:lnTo>
                    <a:pt x="41" y="15"/>
                  </a:lnTo>
                  <a:lnTo>
                    <a:pt x="15" y="36"/>
                  </a:lnTo>
                  <a:lnTo>
                    <a:pt x="15" y="36"/>
                  </a:lnTo>
                  <a:lnTo>
                    <a:pt x="11" y="37"/>
                  </a:lnTo>
                  <a:lnTo>
                    <a:pt x="8" y="37"/>
                  </a:lnTo>
                  <a:lnTo>
                    <a:pt x="6" y="37"/>
                  </a:lnTo>
                  <a:lnTo>
                    <a:pt x="2" y="34"/>
                  </a:lnTo>
                  <a:lnTo>
                    <a:pt x="2" y="34"/>
                  </a:lnTo>
                  <a:close/>
                </a:path>
              </a:pathLst>
            </a:cu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8" name="Freeform 121">
              <a:extLst>
                <a:ext uri="{FF2B5EF4-FFF2-40B4-BE49-F238E27FC236}">
                  <a16:creationId xmlns:a16="http://schemas.microsoft.com/office/drawing/2014/main" id="{025C6B0A-787C-470D-8628-C85448A0C9E2}"/>
                </a:ext>
              </a:extLst>
            </p:cNvPr>
            <p:cNvSpPr>
              <a:spLocks/>
            </p:cNvSpPr>
            <p:nvPr/>
          </p:nvSpPr>
          <p:spPr bwMode="auto">
            <a:xfrm>
              <a:off x="6446838" y="3254376"/>
              <a:ext cx="79375" cy="31750"/>
            </a:xfrm>
            <a:custGeom>
              <a:avLst/>
              <a:gdLst>
                <a:gd name="T0" fmla="*/ 2 w 50"/>
                <a:gd name="T1" fmla="*/ 13 h 20"/>
                <a:gd name="T2" fmla="*/ 2 w 50"/>
                <a:gd name="T3" fmla="*/ 13 h 20"/>
                <a:gd name="T4" fmla="*/ 0 w 50"/>
                <a:gd name="T5" fmla="*/ 11 h 20"/>
                <a:gd name="T6" fmla="*/ 0 w 50"/>
                <a:gd name="T7" fmla="*/ 7 h 20"/>
                <a:gd name="T8" fmla="*/ 0 w 50"/>
                <a:gd name="T9" fmla="*/ 7 h 20"/>
                <a:gd name="T10" fmla="*/ 2 w 50"/>
                <a:gd name="T11" fmla="*/ 3 h 20"/>
                <a:gd name="T12" fmla="*/ 3 w 50"/>
                <a:gd name="T13" fmla="*/ 2 h 20"/>
                <a:gd name="T14" fmla="*/ 5 w 50"/>
                <a:gd name="T15" fmla="*/ 0 h 20"/>
                <a:gd name="T16" fmla="*/ 9 w 50"/>
                <a:gd name="T17" fmla="*/ 0 h 20"/>
                <a:gd name="T18" fmla="*/ 42 w 50"/>
                <a:gd name="T19" fmla="*/ 3 h 20"/>
                <a:gd name="T20" fmla="*/ 42 w 50"/>
                <a:gd name="T21" fmla="*/ 3 h 20"/>
                <a:gd name="T22" fmla="*/ 46 w 50"/>
                <a:gd name="T23" fmla="*/ 5 h 20"/>
                <a:gd name="T24" fmla="*/ 48 w 50"/>
                <a:gd name="T25" fmla="*/ 7 h 20"/>
                <a:gd name="T26" fmla="*/ 50 w 50"/>
                <a:gd name="T27" fmla="*/ 11 h 20"/>
                <a:gd name="T28" fmla="*/ 50 w 50"/>
                <a:gd name="T29" fmla="*/ 15 h 20"/>
                <a:gd name="T30" fmla="*/ 50 w 50"/>
                <a:gd name="T31" fmla="*/ 15 h 20"/>
                <a:gd name="T32" fmla="*/ 48 w 50"/>
                <a:gd name="T33" fmla="*/ 16 h 20"/>
                <a:gd name="T34" fmla="*/ 46 w 50"/>
                <a:gd name="T35" fmla="*/ 20 h 20"/>
                <a:gd name="T36" fmla="*/ 44 w 50"/>
                <a:gd name="T37" fmla="*/ 20 h 20"/>
                <a:gd name="T38" fmla="*/ 41 w 50"/>
                <a:gd name="T39" fmla="*/ 20 h 20"/>
                <a:gd name="T40" fmla="*/ 7 w 50"/>
                <a:gd name="T41" fmla="*/ 16 h 20"/>
                <a:gd name="T42" fmla="*/ 7 w 50"/>
                <a:gd name="T43" fmla="*/ 16 h 20"/>
                <a:gd name="T44" fmla="*/ 3 w 50"/>
                <a:gd name="T45" fmla="*/ 15 h 20"/>
                <a:gd name="T46" fmla="*/ 2 w 50"/>
                <a:gd name="T47" fmla="*/ 13 h 20"/>
                <a:gd name="T48" fmla="*/ 2 w 50"/>
                <a:gd name="T4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0">
                  <a:moveTo>
                    <a:pt x="2" y="13"/>
                  </a:moveTo>
                  <a:lnTo>
                    <a:pt x="2" y="13"/>
                  </a:lnTo>
                  <a:lnTo>
                    <a:pt x="0" y="11"/>
                  </a:lnTo>
                  <a:lnTo>
                    <a:pt x="0" y="7"/>
                  </a:lnTo>
                  <a:lnTo>
                    <a:pt x="0" y="7"/>
                  </a:lnTo>
                  <a:lnTo>
                    <a:pt x="2" y="3"/>
                  </a:lnTo>
                  <a:lnTo>
                    <a:pt x="3" y="2"/>
                  </a:lnTo>
                  <a:lnTo>
                    <a:pt x="5" y="0"/>
                  </a:lnTo>
                  <a:lnTo>
                    <a:pt x="9" y="0"/>
                  </a:lnTo>
                  <a:lnTo>
                    <a:pt x="42" y="3"/>
                  </a:lnTo>
                  <a:lnTo>
                    <a:pt x="42" y="3"/>
                  </a:lnTo>
                  <a:lnTo>
                    <a:pt x="46" y="5"/>
                  </a:lnTo>
                  <a:lnTo>
                    <a:pt x="48" y="7"/>
                  </a:lnTo>
                  <a:lnTo>
                    <a:pt x="50" y="11"/>
                  </a:lnTo>
                  <a:lnTo>
                    <a:pt x="50" y="15"/>
                  </a:lnTo>
                  <a:lnTo>
                    <a:pt x="50" y="15"/>
                  </a:lnTo>
                  <a:lnTo>
                    <a:pt x="48" y="16"/>
                  </a:lnTo>
                  <a:lnTo>
                    <a:pt x="46" y="20"/>
                  </a:lnTo>
                  <a:lnTo>
                    <a:pt x="44" y="20"/>
                  </a:lnTo>
                  <a:lnTo>
                    <a:pt x="41" y="20"/>
                  </a:lnTo>
                  <a:lnTo>
                    <a:pt x="7" y="16"/>
                  </a:lnTo>
                  <a:lnTo>
                    <a:pt x="7" y="16"/>
                  </a:lnTo>
                  <a:lnTo>
                    <a:pt x="3" y="15"/>
                  </a:lnTo>
                  <a:lnTo>
                    <a:pt x="2" y="13"/>
                  </a:lnTo>
                  <a:lnTo>
                    <a:pt x="2" y="13"/>
                  </a:lnTo>
                  <a:close/>
                </a:path>
              </a:pathLst>
            </a:cu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79" name="Freeform 122">
              <a:extLst>
                <a:ext uri="{FF2B5EF4-FFF2-40B4-BE49-F238E27FC236}">
                  <a16:creationId xmlns:a16="http://schemas.microsoft.com/office/drawing/2014/main" id="{4A312141-F51B-4A36-8E89-C488AF434E0A}"/>
                </a:ext>
              </a:extLst>
            </p:cNvPr>
            <p:cNvSpPr>
              <a:spLocks/>
            </p:cNvSpPr>
            <p:nvPr/>
          </p:nvSpPr>
          <p:spPr bwMode="auto">
            <a:xfrm>
              <a:off x="6392863" y="3341688"/>
              <a:ext cx="58738" cy="68263"/>
            </a:xfrm>
            <a:custGeom>
              <a:avLst/>
              <a:gdLst>
                <a:gd name="T0" fmla="*/ 23 w 37"/>
                <a:gd name="T1" fmla="*/ 41 h 43"/>
                <a:gd name="T2" fmla="*/ 2 w 37"/>
                <a:gd name="T3" fmla="*/ 13 h 43"/>
                <a:gd name="T4" fmla="*/ 2 w 37"/>
                <a:gd name="T5" fmla="*/ 13 h 43"/>
                <a:gd name="T6" fmla="*/ 0 w 37"/>
                <a:gd name="T7" fmla="*/ 10 h 43"/>
                <a:gd name="T8" fmla="*/ 0 w 37"/>
                <a:gd name="T9" fmla="*/ 8 h 43"/>
                <a:gd name="T10" fmla="*/ 2 w 37"/>
                <a:gd name="T11" fmla="*/ 4 h 43"/>
                <a:gd name="T12" fmla="*/ 4 w 37"/>
                <a:gd name="T13" fmla="*/ 2 h 43"/>
                <a:gd name="T14" fmla="*/ 4 w 37"/>
                <a:gd name="T15" fmla="*/ 2 h 43"/>
                <a:gd name="T16" fmla="*/ 8 w 37"/>
                <a:gd name="T17" fmla="*/ 0 h 43"/>
                <a:gd name="T18" fmla="*/ 10 w 37"/>
                <a:gd name="T19" fmla="*/ 0 h 43"/>
                <a:gd name="T20" fmla="*/ 13 w 37"/>
                <a:gd name="T21" fmla="*/ 0 h 43"/>
                <a:gd name="T22" fmla="*/ 15 w 37"/>
                <a:gd name="T23" fmla="*/ 4 h 43"/>
                <a:gd name="T24" fmla="*/ 36 w 37"/>
                <a:gd name="T25" fmla="*/ 30 h 43"/>
                <a:gd name="T26" fmla="*/ 36 w 37"/>
                <a:gd name="T27" fmla="*/ 30 h 43"/>
                <a:gd name="T28" fmla="*/ 37 w 37"/>
                <a:gd name="T29" fmla="*/ 34 h 43"/>
                <a:gd name="T30" fmla="*/ 37 w 37"/>
                <a:gd name="T31" fmla="*/ 37 h 43"/>
                <a:gd name="T32" fmla="*/ 37 w 37"/>
                <a:gd name="T33" fmla="*/ 39 h 43"/>
                <a:gd name="T34" fmla="*/ 34 w 37"/>
                <a:gd name="T35" fmla="*/ 43 h 43"/>
                <a:gd name="T36" fmla="*/ 34 w 37"/>
                <a:gd name="T37" fmla="*/ 43 h 43"/>
                <a:gd name="T38" fmla="*/ 32 w 37"/>
                <a:gd name="T39" fmla="*/ 43 h 43"/>
                <a:gd name="T40" fmla="*/ 28 w 37"/>
                <a:gd name="T41" fmla="*/ 43 h 43"/>
                <a:gd name="T42" fmla="*/ 25 w 37"/>
                <a:gd name="T43" fmla="*/ 43 h 43"/>
                <a:gd name="T44" fmla="*/ 23 w 37"/>
                <a:gd name="T45" fmla="*/ 41 h 43"/>
                <a:gd name="T46" fmla="*/ 23 w 37"/>
                <a:gd name="T47"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 h="43">
                  <a:moveTo>
                    <a:pt x="23" y="41"/>
                  </a:moveTo>
                  <a:lnTo>
                    <a:pt x="2" y="13"/>
                  </a:lnTo>
                  <a:lnTo>
                    <a:pt x="2" y="13"/>
                  </a:lnTo>
                  <a:lnTo>
                    <a:pt x="0" y="10"/>
                  </a:lnTo>
                  <a:lnTo>
                    <a:pt x="0" y="8"/>
                  </a:lnTo>
                  <a:lnTo>
                    <a:pt x="2" y="4"/>
                  </a:lnTo>
                  <a:lnTo>
                    <a:pt x="4" y="2"/>
                  </a:lnTo>
                  <a:lnTo>
                    <a:pt x="4" y="2"/>
                  </a:lnTo>
                  <a:lnTo>
                    <a:pt x="8" y="0"/>
                  </a:lnTo>
                  <a:lnTo>
                    <a:pt x="10" y="0"/>
                  </a:lnTo>
                  <a:lnTo>
                    <a:pt x="13" y="0"/>
                  </a:lnTo>
                  <a:lnTo>
                    <a:pt x="15" y="4"/>
                  </a:lnTo>
                  <a:lnTo>
                    <a:pt x="36" y="30"/>
                  </a:lnTo>
                  <a:lnTo>
                    <a:pt x="36" y="30"/>
                  </a:lnTo>
                  <a:lnTo>
                    <a:pt x="37" y="34"/>
                  </a:lnTo>
                  <a:lnTo>
                    <a:pt x="37" y="37"/>
                  </a:lnTo>
                  <a:lnTo>
                    <a:pt x="37" y="39"/>
                  </a:lnTo>
                  <a:lnTo>
                    <a:pt x="34" y="43"/>
                  </a:lnTo>
                  <a:lnTo>
                    <a:pt x="34" y="43"/>
                  </a:lnTo>
                  <a:lnTo>
                    <a:pt x="32" y="43"/>
                  </a:lnTo>
                  <a:lnTo>
                    <a:pt x="28" y="43"/>
                  </a:lnTo>
                  <a:lnTo>
                    <a:pt x="25" y="43"/>
                  </a:lnTo>
                  <a:lnTo>
                    <a:pt x="23" y="41"/>
                  </a:lnTo>
                  <a:lnTo>
                    <a:pt x="23" y="41"/>
                  </a:lnTo>
                  <a:close/>
                </a:path>
              </a:pathLst>
            </a:cu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80" name="Freeform 123">
              <a:extLst>
                <a:ext uri="{FF2B5EF4-FFF2-40B4-BE49-F238E27FC236}">
                  <a16:creationId xmlns:a16="http://schemas.microsoft.com/office/drawing/2014/main" id="{5ED3D1F3-6189-4F93-8D4A-FE7688649C8B}"/>
                </a:ext>
              </a:extLst>
            </p:cNvPr>
            <p:cNvSpPr>
              <a:spLocks/>
            </p:cNvSpPr>
            <p:nvPr/>
          </p:nvSpPr>
          <p:spPr bwMode="auto">
            <a:xfrm>
              <a:off x="6332538" y="3048001"/>
              <a:ext cx="34925" cy="79375"/>
            </a:xfrm>
            <a:custGeom>
              <a:avLst/>
              <a:gdLst>
                <a:gd name="T0" fmla="*/ 1 w 22"/>
                <a:gd name="T1" fmla="*/ 48 h 50"/>
                <a:gd name="T2" fmla="*/ 1 w 22"/>
                <a:gd name="T3" fmla="*/ 48 h 50"/>
                <a:gd name="T4" fmla="*/ 0 w 22"/>
                <a:gd name="T5" fmla="*/ 45 h 50"/>
                <a:gd name="T6" fmla="*/ 0 w 22"/>
                <a:gd name="T7" fmla="*/ 41 h 50"/>
                <a:gd name="T8" fmla="*/ 5 w 22"/>
                <a:gd name="T9" fmla="*/ 7 h 50"/>
                <a:gd name="T10" fmla="*/ 5 w 22"/>
                <a:gd name="T11" fmla="*/ 7 h 50"/>
                <a:gd name="T12" fmla="*/ 5 w 22"/>
                <a:gd name="T13" fmla="*/ 6 h 50"/>
                <a:gd name="T14" fmla="*/ 9 w 22"/>
                <a:gd name="T15" fmla="*/ 2 h 50"/>
                <a:gd name="T16" fmla="*/ 11 w 22"/>
                <a:gd name="T17" fmla="*/ 0 h 50"/>
                <a:gd name="T18" fmla="*/ 14 w 22"/>
                <a:gd name="T19" fmla="*/ 0 h 50"/>
                <a:gd name="T20" fmla="*/ 14 w 22"/>
                <a:gd name="T21" fmla="*/ 0 h 50"/>
                <a:gd name="T22" fmla="*/ 18 w 22"/>
                <a:gd name="T23" fmla="*/ 2 h 50"/>
                <a:gd name="T24" fmla="*/ 20 w 22"/>
                <a:gd name="T25" fmla="*/ 4 h 50"/>
                <a:gd name="T26" fmla="*/ 22 w 22"/>
                <a:gd name="T27" fmla="*/ 7 h 50"/>
                <a:gd name="T28" fmla="*/ 22 w 22"/>
                <a:gd name="T29" fmla="*/ 11 h 50"/>
                <a:gd name="T30" fmla="*/ 16 w 22"/>
                <a:gd name="T31" fmla="*/ 45 h 50"/>
                <a:gd name="T32" fmla="*/ 16 w 22"/>
                <a:gd name="T33" fmla="*/ 45 h 50"/>
                <a:gd name="T34" fmla="*/ 16 w 22"/>
                <a:gd name="T35" fmla="*/ 46 h 50"/>
                <a:gd name="T36" fmla="*/ 14 w 22"/>
                <a:gd name="T37" fmla="*/ 50 h 50"/>
                <a:gd name="T38" fmla="*/ 11 w 22"/>
                <a:gd name="T39" fmla="*/ 50 h 50"/>
                <a:gd name="T40" fmla="*/ 7 w 22"/>
                <a:gd name="T41" fmla="*/ 50 h 50"/>
                <a:gd name="T42" fmla="*/ 7 w 22"/>
                <a:gd name="T43" fmla="*/ 50 h 50"/>
                <a:gd name="T44" fmla="*/ 3 w 22"/>
                <a:gd name="T45" fmla="*/ 50 h 50"/>
                <a:gd name="T46" fmla="*/ 1 w 22"/>
                <a:gd name="T47" fmla="*/ 48 h 50"/>
                <a:gd name="T48" fmla="*/ 1 w 22"/>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0">
                  <a:moveTo>
                    <a:pt x="1" y="48"/>
                  </a:moveTo>
                  <a:lnTo>
                    <a:pt x="1" y="48"/>
                  </a:lnTo>
                  <a:lnTo>
                    <a:pt x="0" y="45"/>
                  </a:lnTo>
                  <a:lnTo>
                    <a:pt x="0" y="41"/>
                  </a:lnTo>
                  <a:lnTo>
                    <a:pt x="5" y="7"/>
                  </a:lnTo>
                  <a:lnTo>
                    <a:pt x="5" y="7"/>
                  </a:lnTo>
                  <a:lnTo>
                    <a:pt x="5" y="6"/>
                  </a:lnTo>
                  <a:lnTo>
                    <a:pt x="9" y="2"/>
                  </a:lnTo>
                  <a:lnTo>
                    <a:pt x="11" y="0"/>
                  </a:lnTo>
                  <a:lnTo>
                    <a:pt x="14" y="0"/>
                  </a:lnTo>
                  <a:lnTo>
                    <a:pt x="14" y="0"/>
                  </a:lnTo>
                  <a:lnTo>
                    <a:pt x="18" y="2"/>
                  </a:lnTo>
                  <a:lnTo>
                    <a:pt x="20" y="4"/>
                  </a:lnTo>
                  <a:lnTo>
                    <a:pt x="22" y="7"/>
                  </a:lnTo>
                  <a:lnTo>
                    <a:pt x="22" y="11"/>
                  </a:lnTo>
                  <a:lnTo>
                    <a:pt x="16" y="45"/>
                  </a:lnTo>
                  <a:lnTo>
                    <a:pt x="16" y="45"/>
                  </a:lnTo>
                  <a:lnTo>
                    <a:pt x="16" y="46"/>
                  </a:lnTo>
                  <a:lnTo>
                    <a:pt x="14" y="50"/>
                  </a:lnTo>
                  <a:lnTo>
                    <a:pt x="11" y="50"/>
                  </a:lnTo>
                  <a:lnTo>
                    <a:pt x="7" y="50"/>
                  </a:lnTo>
                  <a:lnTo>
                    <a:pt x="7" y="50"/>
                  </a:lnTo>
                  <a:lnTo>
                    <a:pt x="3" y="50"/>
                  </a:lnTo>
                  <a:lnTo>
                    <a:pt x="1" y="48"/>
                  </a:lnTo>
                  <a:lnTo>
                    <a:pt x="1" y="48"/>
                  </a:lnTo>
                  <a:close/>
                </a:path>
              </a:pathLst>
            </a:custGeom>
            <a:solidFill>
              <a:srgbClr val="86F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81" name="Freeform 124">
              <a:extLst>
                <a:ext uri="{FF2B5EF4-FFF2-40B4-BE49-F238E27FC236}">
                  <a16:creationId xmlns:a16="http://schemas.microsoft.com/office/drawing/2014/main" id="{50D98C6B-0680-4C27-B23D-A988D19324AD}"/>
                </a:ext>
              </a:extLst>
            </p:cNvPr>
            <p:cNvSpPr>
              <a:spLocks/>
            </p:cNvSpPr>
            <p:nvPr/>
          </p:nvSpPr>
          <p:spPr bwMode="auto">
            <a:xfrm>
              <a:off x="5822951" y="3192463"/>
              <a:ext cx="549275" cy="623888"/>
            </a:xfrm>
            <a:custGeom>
              <a:avLst/>
              <a:gdLst>
                <a:gd name="T0" fmla="*/ 313 w 346"/>
                <a:gd name="T1" fmla="*/ 254 h 393"/>
                <a:gd name="T2" fmla="*/ 298 w 346"/>
                <a:gd name="T3" fmla="*/ 243 h 393"/>
                <a:gd name="T4" fmla="*/ 283 w 346"/>
                <a:gd name="T5" fmla="*/ 243 h 393"/>
                <a:gd name="T6" fmla="*/ 282 w 346"/>
                <a:gd name="T7" fmla="*/ 243 h 393"/>
                <a:gd name="T8" fmla="*/ 282 w 346"/>
                <a:gd name="T9" fmla="*/ 239 h 393"/>
                <a:gd name="T10" fmla="*/ 291 w 346"/>
                <a:gd name="T11" fmla="*/ 222 h 393"/>
                <a:gd name="T12" fmla="*/ 285 w 346"/>
                <a:gd name="T13" fmla="*/ 204 h 393"/>
                <a:gd name="T14" fmla="*/ 282 w 346"/>
                <a:gd name="T15" fmla="*/ 198 h 393"/>
                <a:gd name="T16" fmla="*/ 269 w 346"/>
                <a:gd name="T17" fmla="*/ 193 h 393"/>
                <a:gd name="T18" fmla="*/ 252 w 346"/>
                <a:gd name="T19" fmla="*/ 193 h 393"/>
                <a:gd name="T20" fmla="*/ 250 w 346"/>
                <a:gd name="T21" fmla="*/ 191 h 393"/>
                <a:gd name="T22" fmla="*/ 250 w 346"/>
                <a:gd name="T23" fmla="*/ 189 h 393"/>
                <a:gd name="T24" fmla="*/ 261 w 346"/>
                <a:gd name="T25" fmla="*/ 172 h 393"/>
                <a:gd name="T26" fmla="*/ 261 w 346"/>
                <a:gd name="T27" fmla="*/ 161 h 393"/>
                <a:gd name="T28" fmla="*/ 256 w 346"/>
                <a:gd name="T29" fmla="*/ 150 h 393"/>
                <a:gd name="T30" fmla="*/ 248 w 346"/>
                <a:gd name="T31" fmla="*/ 143 h 393"/>
                <a:gd name="T32" fmla="*/ 233 w 346"/>
                <a:gd name="T33" fmla="*/ 139 h 393"/>
                <a:gd name="T34" fmla="*/ 226 w 346"/>
                <a:gd name="T35" fmla="*/ 139 h 393"/>
                <a:gd name="T36" fmla="*/ 226 w 346"/>
                <a:gd name="T37" fmla="*/ 135 h 393"/>
                <a:gd name="T38" fmla="*/ 335 w 346"/>
                <a:gd name="T39" fmla="*/ 54 h 393"/>
                <a:gd name="T40" fmla="*/ 343 w 346"/>
                <a:gd name="T41" fmla="*/ 44 h 393"/>
                <a:gd name="T42" fmla="*/ 346 w 346"/>
                <a:gd name="T43" fmla="*/ 24 h 393"/>
                <a:gd name="T44" fmla="*/ 343 w 346"/>
                <a:gd name="T45" fmla="*/ 13 h 393"/>
                <a:gd name="T46" fmla="*/ 339 w 346"/>
                <a:gd name="T47" fmla="*/ 7 h 393"/>
                <a:gd name="T48" fmla="*/ 330 w 346"/>
                <a:gd name="T49" fmla="*/ 2 h 393"/>
                <a:gd name="T50" fmla="*/ 317 w 346"/>
                <a:gd name="T51" fmla="*/ 0 h 393"/>
                <a:gd name="T52" fmla="*/ 306 w 346"/>
                <a:gd name="T53" fmla="*/ 2 h 393"/>
                <a:gd name="T54" fmla="*/ 135 w 346"/>
                <a:gd name="T55" fmla="*/ 130 h 393"/>
                <a:gd name="T56" fmla="*/ 133 w 346"/>
                <a:gd name="T57" fmla="*/ 131 h 393"/>
                <a:gd name="T58" fmla="*/ 126 w 346"/>
                <a:gd name="T59" fmla="*/ 130 h 393"/>
                <a:gd name="T60" fmla="*/ 124 w 346"/>
                <a:gd name="T61" fmla="*/ 128 h 393"/>
                <a:gd name="T62" fmla="*/ 122 w 346"/>
                <a:gd name="T63" fmla="*/ 122 h 393"/>
                <a:gd name="T64" fmla="*/ 126 w 346"/>
                <a:gd name="T65" fmla="*/ 117 h 393"/>
                <a:gd name="T66" fmla="*/ 143 w 346"/>
                <a:gd name="T67" fmla="*/ 81 h 393"/>
                <a:gd name="T68" fmla="*/ 135 w 346"/>
                <a:gd name="T69" fmla="*/ 76 h 393"/>
                <a:gd name="T70" fmla="*/ 117 w 346"/>
                <a:gd name="T71" fmla="*/ 72 h 393"/>
                <a:gd name="T72" fmla="*/ 59 w 346"/>
                <a:gd name="T73" fmla="*/ 113 h 393"/>
                <a:gd name="T74" fmla="*/ 54 w 346"/>
                <a:gd name="T75" fmla="*/ 118 h 393"/>
                <a:gd name="T76" fmla="*/ 41 w 346"/>
                <a:gd name="T77" fmla="*/ 139 h 393"/>
                <a:gd name="T78" fmla="*/ 28 w 346"/>
                <a:gd name="T79" fmla="*/ 174 h 393"/>
                <a:gd name="T80" fmla="*/ 17 w 346"/>
                <a:gd name="T81" fmla="*/ 207 h 393"/>
                <a:gd name="T82" fmla="*/ 6 w 346"/>
                <a:gd name="T83" fmla="*/ 226 h 393"/>
                <a:gd name="T84" fmla="*/ 122 w 346"/>
                <a:gd name="T85" fmla="*/ 393 h 393"/>
                <a:gd name="T86" fmla="*/ 304 w 346"/>
                <a:gd name="T87" fmla="*/ 293 h 393"/>
                <a:gd name="T88" fmla="*/ 313 w 346"/>
                <a:gd name="T89" fmla="*/ 285 h 393"/>
                <a:gd name="T90" fmla="*/ 319 w 346"/>
                <a:gd name="T91" fmla="*/ 274 h 393"/>
                <a:gd name="T92" fmla="*/ 319 w 346"/>
                <a:gd name="T93" fmla="*/ 263 h 393"/>
                <a:gd name="T94" fmla="*/ 313 w 346"/>
                <a:gd name="T95" fmla="*/ 25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6" h="393">
                  <a:moveTo>
                    <a:pt x="313" y="254"/>
                  </a:moveTo>
                  <a:lnTo>
                    <a:pt x="313" y="254"/>
                  </a:lnTo>
                  <a:lnTo>
                    <a:pt x="306" y="246"/>
                  </a:lnTo>
                  <a:lnTo>
                    <a:pt x="298" y="243"/>
                  </a:lnTo>
                  <a:lnTo>
                    <a:pt x="291" y="243"/>
                  </a:lnTo>
                  <a:lnTo>
                    <a:pt x="283" y="243"/>
                  </a:lnTo>
                  <a:lnTo>
                    <a:pt x="283" y="243"/>
                  </a:lnTo>
                  <a:lnTo>
                    <a:pt x="282" y="243"/>
                  </a:lnTo>
                  <a:lnTo>
                    <a:pt x="282" y="239"/>
                  </a:lnTo>
                  <a:lnTo>
                    <a:pt x="282" y="239"/>
                  </a:lnTo>
                  <a:lnTo>
                    <a:pt x="287" y="231"/>
                  </a:lnTo>
                  <a:lnTo>
                    <a:pt x="291" y="222"/>
                  </a:lnTo>
                  <a:lnTo>
                    <a:pt x="291" y="213"/>
                  </a:lnTo>
                  <a:lnTo>
                    <a:pt x="285" y="204"/>
                  </a:lnTo>
                  <a:lnTo>
                    <a:pt x="285" y="204"/>
                  </a:lnTo>
                  <a:lnTo>
                    <a:pt x="282" y="198"/>
                  </a:lnTo>
                  <a:lnTo>
                    <a:pt x="278" y="196"/>
                  </a:lnTo>
                  <a:lnTo>
                    <a:pt x="269" y="193"/>
                  </a:lnTo>
                  <a:lnTo>
                    <a:pt x="259" y="191"/>
                  </a:lnTo>
                  <a:lnTo>
                    <a:pt x="252" y="193"/>
                  </a:lnTo>
                  <a:lnTo>
                    <a:pt x="252" y="193"/>
                  </a:lnTo>
                  <a:lnTo>
                    <a:pt x="250" y="191"/>
                  </a:lnTo>
                  <a:lnTo>
                    <a:pt x="250" y="189"/>
                  </a:lnTo>
                  <a:lnTo>
                    <a:pt x="250" y="189"/>
                  </a:lnTo>
                  <a:lnTo>
                    <a:pt x="256" y="181"/>
                  </a:lnTo>
                  <a:lnTo>
                    <a:pt x="261" y="172"/>
                  </a:lnTo>
                  <a:lnTo>
                    <a:pt x="261" y="167"/>
                  </a:lnTo>
                  <a:lnTo>
                    <a:pt x="261" y="161"/>
                  </a:lnTo>
                  <a:lnTo>
                    <a:pt x="259" y="155"/>
                  </a:lnTo>
                  <a:lnTo>
                    <a:pt x="256" y="150"/>
                  </a:lnTo>
                  <a:lnTo>
                    <a:pt x="256" y="150"/>
                  </a:lnTo>
                  <a:lnTo>
                    <a:pt x="248" y="143"/>
                  </a:lnTo>
                  <a:lnTo>
                    <a:pt x="241" y="139"/>
                  </a:lnTo>
                  <a:lnTo>
                    <a:pt x="233" y="139"/>
                  </a:lnTo>
                  <a:lnTo>
                    <a:pt x="226" y="139"/>
                  </a:lnTo>
                  <a:lnTo>
                    <a:pt x="226" y="139"/>
                  </a:lnTo>
                  <a:lnTo>
                    <a:pt x="224" y="139"/>
                  </a:lnTo>
                  <a:lnTo>
                    <a:pt x="226" y="135"/>
                  </a:lnTo>
                  <a:lnTo>
                    <a:pt x="226" y="135"/>
                  </a:lnTo>
                  <a:lnTo>
                    <a:pt x="335" y="54"/>
                  </a:lnTo>
                  <a:lnTo>
                    <a:pt x="335" y="54"/>
                  </a:lnTo>
                  <a:lnTo>
                    <a:pt x="343" y="44"/>
                  </a:lnTo>
                  <a:lnTo>
                    <a:pt x="346" y="35"/>
                  </a:lnTo>
                  <a:lnTo>
                    <a:pt x="346" y="24"/>
                  </a:lnTo>
                  <a:lnTo>
                    <a:pt x="346" y="18"/>
                  </a:lnTo>
                  <a:lnTo>
                    <a:pt x="343" y="13"/>
                  </a:lnTo>
                  <a:lnTo>
                    <a:pt x="343" y="13"/>
                  </a:lnTo>
                  <a:lnTo>
                    <a:pt x="339" y="7"/>
                  </a:lnTo>
                  <a:lnTo>
                    <a:pt x="333" y="4"/>
                  </a:lnTo>
                  <a:lnTo>
                    <a:pt x="330" y="2"/>
                  </a:lnTo>
                  <a:lnTo>
                    <a:pt x="324" y="0"/>
                  </a:lnTo>
                  <a:lnTo>
                    <a:pt x="317" y="0"/>
                  </a:lnTo>
                  <a:lnTo>
                    <a:pt x="311" y="0"/>
                  </a:lnTo>
                  <a:lnTo>
                    <a:pt x="306" y="2"/>
                  </a:lnTo>
                  <a:lnTo>
                    <a:pt x="300" y="5"/>
                  </a:lnTo>
                  <a:lnTo>
                    <a:pt x="135" y="130"/>
                  </a:lnTo>
                  <a:lnTo>
                    <a:pt x="135" y="130"/>
                  </a:lnTo>
                  <a:lnTo>
                    <a:pt x="133" y="131"/>
                  </a:lnTo>
                  <a:lnTo>
                    <a:pt x="130" y="131"/>
                  </a:lnTo>
                  <a:lnTo>
                    <a:pt x="126" y="130"/>
                  </a:lnTo>
                  <a:lnTo>
                    <a:pt x="124" y="128"/>
                  </a:lnTo>
                  <a:lnTo>
                    <a:pt x="124" y="128"/>
                  </a:lnTo>
                  <a:lnTo>
                    <a:pt x="122" y="124"/>
                  </a:lnTo>
                  <a:lnTo>
                    <a:pt x="122" y="122"/>
                  </a:lnTo>
                  <a:lnTo>
                    <a:pt x="122" y="118"/>
                  </a:lnTo>
                  <a:lnTo>
                    <a:pt x="126" y="117"/>
                  </a:lnTo>
                  <a:lnTo>
                    <a:pt x="152" y="96"/>
                  </a:lnTo>
                  <a:lnTo>
                    <a:pt x="143" y="81"/>
                  </a:lnTo>
                  <a:lnTo>
                    <a:pt x="143" y="81"/>
                  </a:lnTo>
                  <a:lnTo>
                    <a:pt x="135" y="76"/>
                  </a:lnTo>
                  <a:lnTo>
                    <a:pt x="126" y="72"/>
                  </a:lnTo>
                  <a:lnTo>
                    <a:pt x="117" y="72"/>
                  </a:lnTo>
                  <a:lnTo>
                    <a:pt x="107" y="78"/>
                  </a:lnTo>
                  <a:lnTo>
                    <a:pt x="59" y="113"/>
                  </a:lnTo>
                  <a:lnTo>
                    <a:pt x="59" y="113"/>
                  </a:lnTo>
                  <a:lnTo>
                    <a:pt x="54" y="118"/>
                  </a:lnTo>
                  <a:lnTo>
                    <a:pt x="50" y="124"/>
                  </a:lnTo>
                  <a:lnTo>
                    <a:pt x="41" y="139"/>
                  </a:lnTo>
                  <a:lnTo>
                    <a:pt x="33" y="155"/>
                  </a:lnTo>
                  <a:lnTo>
                    <a:pt x="28" y="174"/>
                  </a:lnTo>
                  <a:lnTo>
                    <a:pt x="22" y="191"/>
                  </a:lnTo>
                  <a:lnTo>
                    <a:pt x="17" y="207"/>
                  </a:lnTo>
                  <a:lnTo>
                    <a:pt x="9" y="220"/>
                  </a:lnTo>
                  <a:lnTo>
                    <a:pt x="6" y="226"/>
                  </a:lnTo>
                  <a:lnTo>
                    <a:pt x="0" y="231"/>
                  </a:lnTo>
                  <a:lnTo>
                    <a:pt x="122" y="393"/>
                  </a:lnTo>
                  <a:lnTo>
                    <a:pt x="304" y="293"/>
                  </a:lnTo>
                  <a:lnTo>
                    <a:pt x="304" y="293"/>
                  </a:lnTo>
                  <a:lnTo>
                    <a:pt x="309" y="289"/>
                  </a:lnTo>
                  <a:lnTo>
                    <a:pt x="313" y="285"/>
                  </a:lnTo>
                  <a:lnTo>
                    <a:pt x="317" y="280"/>
                  </a:lnTo>
                  <a:lnTo>
                    <a:pt x="319" y="274"/>
                  </a:lnTo>
                  <a:lnTo>
                    <a:pt x="319" y="268"/>
                  </a:lnTo>
                  <a:lnTo>
                    <a:pt x="319" y="263"/>
                  </a:lnTo>
                  <a:lnTo>
                    <a:pt x="317" y="259"/>
                  </a:lnTo>
                  <a:lnTo>
                    <a:pt x="313" y="254"/>
                  </a:lnTo>
                  <a:lnTo>
                    <a:pt x="313" y="254"/>
                  </a:lnTo>
                  <a:close/>
                </a:path>
              </a:pathLst>
            </a:custGeom>
            <a:noFill/>
            <a:ln w="317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82" name="Freeform 125">
              <a:extLst>
                <a:ext uri="{FF2B5EF4-FFF2-40B4-BE49-F238E27FC236}">
                  <a16:creationId xmlns:a16="http://schemas.microsoft.com/office/drawing/2014/main" id="{6F187A45-69A5-48F5-8AD1-5FB1340B2220}"/>
                </a:ext>
              </a:extLst>
            </p:cNvPr>
            <p:cNvSpPr>
              <a:spLocks/>
            </p:cNvSpPr>
            <p:nvPr/>
          </p:nvSpPr>
          <p:spPr bwMode="auto">
            <a:xfrm>
              <a:off x="10641013" y="2298701"/>
              <a:ext cx="314325" cy="300038"/>
            </a:xfrm>
            <a:custGeom>
              <a:avLst/>
              <a:gdLst>
                <a:gd name="T0" fmla="*/ 98 w 198"/>
                <a:gd name="T1" fmla="*/ 0 h 189"/>
                <a:gd name="T2" fmla="*/ 130 w 198"/>
                <a:gd name="T3" fmla="*/ 63 h 189"/>
                <a:gd name="T4" fmla="*/ 198 w 198"/>
                <a:gd name="T5" fmla="*/ 72 h 189"/>
                <a:gd name="T6" fmla="*/ 148 w 198"/>
                <a:gd name="T7" fmla="*/ 120 h 189"/>
                <a:gd name="T8" fmla="*/ 159 w 198"/>
                <a:gd name="T9" fmla="*/ 189 h 189"/>
                <a:gd name="T10" fmla="*/ 98 w 198"/>
                <a:gd name="T11" fmla="*/ 157 h 189"/>
                <a:gd name="T12" fmla="*/ 37 w 198"/>
                <a:gd name="T13" fmla="*/ 189 h 189"/>
                <a:gd name="T14" fmla="*/ 48 w 198"/>
                <a:gd name="T15" fmla="*/ 120 h 189"/>
                <a:gd name="T16" fmla="*/ 0 w 198"/>
                <a:gd name="T17" fmla="*/ 72 h 189"/>
                <a:gd name="T18" fmla="*/ 68 w 198"/>
                <a:gd name="T19" fmla="*/ 63 h 189"/>
                <a:gd name="T20" fmla="*/ 98 w 198"/>
                <a:gd name="T21"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189">
                  <a:moveTo>
                    <a:pt x="98" y="0"/>
                  </a:moveTo>
                  <a:lnTo>
                    <a:pt x="130" y="63"/>
                  </a:lnTo>
                  <a:lnTo>
                    <a:pt x="198" y="72"/>
                  </a:lnTo>
                  <a:lnTo>
                    <a:pt x="148" y="120"/>
                  </a:lnTo>
                  <a:lnTo>
                    <a:pt x="159" y="189"/>
                  </a:lnTo>
                  <a:lnTo>
                    <a:pt x="98" y="157"/>
                  </a:lnTo>
                  <a:lnTo>
                    <a:pt x="37" y="189"/>
                  </a:lnTo>
                  <a:lnTo>
                    <a:pt x="48" y="120"/>
                  </a:lnTo>
                  <a:lnTo>
                    <a:pt x="0" y="72"/>
                  </a:lnTo>
                  <a:lnTo>
                    <a:pt x="68" y="63"/>
                  </a:lnTo>
                  <a:lnTo>
                    <a:pt x="98" y="0"/>
                  </a:lnTo>
                  <a:close/>
                </a:path>
              </a:pathLst>
            </a:custGeom>
            <a:noFill/>
            <a:ln w="349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83" name="Freeform 126">
              <a:extLst>
                <a:ext uri="{FF2B5EF4-FFF2-40B4-BE49-F238E27FC236}">
                  <a16:creationId xmlns:a16="http://schemas.microsoft.com/office/drawing/2014/main" id="{6E1C5A55-63FA-48CF-9F60-C0EA694E00B4}"/>
                </a:ext>
              </a:extLst>
            </p:cNvPr>
            <p:cNvSpPr>
              <a:spLocks/>
            </p:cNvSpPr>
            <p:nvPr/>
          </p:nvSpPr>
          <p:spPr bwMode="auto">
            <a:xfrm>
              <a:off x="10944226" y="2947988"/>
              <a:ext cx="185738" cy="176213"/>
            </a:xfrm>
            <a:custGeom>
              <a:avLst/>
              <a:gdLst>
                <a:gd name="T0" fmla="*/ 57 w 117"/>
                <a:gd name="T1" fmla="*/ 0 h 111"/>
                <a:gd name="T2" fmla="*/ 76 w 117"/>
                <a:gd name="T3" fmla="*/ 35 h 111"/>
                <a:gd name="T4" fmla="*/ 117 w 117"/>
                <a:gd name="T5" fmla="*/ 43 h 111"/>
                <a:gd name="T6" fmla="*/ 87 w 117"/>
                <a:gd name="T7" fmla="*/ 70 h 111"/>
                <a:gd name="T8" fmla="*/ 94 w 117"/>
                <a:gd name="T9" fmla="*/ 111 h 111"/>
                <a:gd name="T10" fmla="*/ 57 w 117"/>
                <a:gd name="T11" fmla="*/ 93 h 111"/>
                <a:gd name="T12" fmla="*/ 22 w 117"/>
                <a:gd name="T13" fmla="*/ 111 h 111"/>
                <a:gd name="T14" fmla="*/ 29 w 117"/>
                <a:gd name="T15" fmla="*/ 70 h 111"/>
                <a:gd name="T16" fmla="*/ 0 w 117"/>
                <a:gd name="T17" fmla="*/ 43 h 111"/>
                <a:gd name="T18" fmla="*/ 41 w 117"/>
                <a:gd name="T19" fmla="*/ 35 h 111"/>
                <a:gd name="T20" fmla="*/ 57 w 117"/>
                <a:gd name="T2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7" h="111">
                  <a:moveTo>
                    <a:pt x="57" y="0"/>
                  </a:moveTo>
                  <a:lnTo>
                    <a:pt x="76" y="35"/>
                  </a:lnTo>
                  <a:lnTo>
                    <a:pt x="117" y="43"/>
                  </a:lnTo>
                  <a:lnTo>
                    <a:pt x="87" y="70"/>
                  </a:lnTo>
                  <a:lnTo>
                    <a:pt x="94" y="111"/>
                  </a:lnTo>
                  <a:lnTo>
                    <a:pt x="57" y="93"/>
                  </a:lnTo>
                  <a:lnTo>
                    <a:pt x="22" y="111"/>
                  </a:lnTo>
                  <a:lnTo>
                    <a:pt x="29" y="70"/>
                  </a:lnTo>
                  <a:lnTo>
                    <a:pt x="0" y="43"/>
                  </a:lnTo>
                  <a:lnTo>
                    <a:pt x="41" y="35"/>
                  </a:lnTo>
                  <a:lnTo>
                    <a:pt x="57" y="0"/>
                  </a:lnTo>
                  <a:close/>
                </a:path>
              </a:pathLst>
            </a:custGeom>
            <a:noFill/>
            <a:ln w="206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84" name="Freeform 127">
              <a:extLst>
                <a:ext uri="{FF2B5EF4-FFF2-40B4-BE49-F238E27FC236}">
                  <a16:creationId xmlns:a16="http://schemas.microsoft.com/office/drawing/2014/main" id="{842C3F3B-7502-4A25-B632-C25A526930B6}"/>
                </a:ext>
              </a:extLst>
            </p:cNvPr>
            <p:cNvSpPr>
              <a:spLocks noEditPoints="1"/>
            </p:cNvSpPr>
            <p:nvPr/>
          </p:nvSpPr>
          <p:spPr bwMode="auto">
            <a:xfrm>
              <a:off x="6157913" y="4141788"/>
              <a:ext cx="1006475" cy="1006475"/>
            </a:xfrm>
            <a:custGeom>
              <a:avLst/>
              <a:gdLst>
                <a:gd name="T0" fmla="*/ 282 w 634"/>
                <a:gd name="T1" fmla="*/ 614 h 634"/>
                <a:gd name="T2" fmla="*/ 330 w 634"/>
                <a:gd name="T3" fmla="*/ 615 h 634"/>
                <a:gd name="T4" fmla="*/ 332 w 634"/>
                <a:gd name="T5" fmla="*/ 634 h 634"/>
                <a:gd name="T6" fmla="*/ 236 w 634"/>
                <a:gd name="T7" fmla="*/ 604 h 634"/>
                <a:gd name="T8" fmla="*/ 378 w 634"/>
                <a:gd name="T9" fmla="*/ 610 h 634"/>
                <a:gd name="T10" fmla="*/ 382 w 634"/>
                <a:gd name="T11" fmla="*/ 628 h 634"/>
                <a:gd name="T12" fmla="*/ 191 w 634"/>
                <a:gd name="T13" fmla="*/ 588 h 634"/>
                <a:gd name="T14" fmla="*/ 424 w 634"/>
                <a:gd name="T15" fmla="*/ 597 h 634"/>
                <a:gd name="T16" fmla="*/ 430 w 634"/>
                <a:gd name="T17" fmla="*/ 614 h 634"/>
                <a:gd name="T18" fmla="*/ 148 w 634"/>
                <a:gd name="T19" fmla="*/ 563 h 634"/>
                <a:gd name="T20" fmla="*/ 467 w 634"/>
                <a:gd name="T21" fmla="*/ 575 h 634"/>
                <a:gd name="T22" fmla="*/ 476 w 634"/>
                <a:gd name="T23" fmla="*/ 591 h 634"/>
                <a:gd name="T24" fmla="*/ 111 w 634"/>
                <a:gd name="T25" fmla="*/ 534 h 634"/>
                <a:gd name="T26" fmla="*/ 506 w 634"/>
                <a:gd name="T27" fmla="*/ 549 h 634"/>
                <a:gd name="T28" fmla="*/ 519 w 634"/>
                <a:gd name="T29" fmla="*/ 562 h 634"/>
                <a:gd name="T30" fmla="*/ 80 w 634"/>
                <a:gd name="T31" fmla="*/ 499 h 634"/>
                <a:gd name="T32" fmla="*/ 541 w 634"/>
                <a:gd name="T33" fmla="*/ 515 h 634"/>
                <a:gd name="T34" fmla="*/ 554 w 634"/>
                <a:gd name="T35" fmla="*/ 526 h 634"/>
                <a:gd name="T36" fmla="*/ 54 w 634"/>
                <a:gd name="T37" fmla="*/ 458 h 634"/>
                <a:gd name="T38" fmla="*/ 569 w 634"/>
                <a:gd name="T39" fmla="*/ 476 h 634"/>
                <a:gd name="T40" fmla="*/ 586 w 634"/>
                <a:gd name="T41" fmla="*/ 486 h 634"/>
                <a:gd name="T42" fmla="*/ 35 w 634"/>
                <a:gd name="T43" fmla="*/ 413 h 634"/>
                <a:gd name="T44" fmla="*/ 591 w 634"/>
                <a:gd name="T45" fmla="*/ 434 h 634"/>
                <a:gd name="T46" fmla="*/ 610 w 634"/>
                <a:gd name="T47" fmla="*/ 441 h 634"/>
                <a:gd name="T48" fmla="*/ 22 w 634"/>
                <a:gd name="T49" fmla="*/ 367 h 634"/>
                <a:gd name="T50" fmla="*/ 608 w 634"/>
                <a:gd name="T51" fmla="*/ 389 h 634"/>
                <a:gd name="T52" fmla="*/ 625 w 634"/>
                <a:gd name="T53" fmla="*/ 393 h 634"/>
                <a:gd name="T54" fmla="*/ 19 w 634"/>
                <a:gd name="T55" fmla="*/ 319 h 634"/>
                <a:gd name="T56" fmla="*/ 615 w 634"/>
                <a:gd name="T57" fmla="*/ 341 h 634"/>
                <a:gd name="T58" fmla="*/ 634 w 634"/>
                <a:gd name="T59" fmla="*/ 317 h 634"/>
                <a:gd name="T60" fmla="*/ 2 w 634"/>
                <a:gd name="T61" fmla="*/ 295 h 634"/>
                <a:gd name="T62" fmla="*/ 21 w 634"/>
                <a:gd name="T63" fmla="*/ 295 h 634"/>
                <a:gd name="T64" fmla="*/ 630 w 634"/>
                <a:gd name="T65" fmla="*/ 262 h 634"/>
                <a:gd name="T66" fmla="*/ 9 w 634"/>
                <a:gd name="T67" fmla="*/ 243 h 634"/>
                <a:gd name="T68" fmla="*/ 26 w 634"/>
                <a:gd name="T69" fmla="*/ 249 h 634"/>
                <a:gd name="T70" fmla="*/ 617 w 634"/>
                <a:gd name="T71" fmla="*/ 213 h 634"/>
                <a:gd name="T72" fmla="*/ 24 w 634"/>
                <a:gd name="T73" fmla="*/ 195 h 634"/>
                <a:gd name="T74" fmla="*/ 41 w 634"/>
                <a:gd name="T75" fmla="*/ 202 h 634"/>
                <a:gd name="T76" fmla="*/ 597 w 634"/>
                <a:gd name="T77" fmla="*/ 167 h 634"/>
                <a:gd name="T78" fmla="*/ 48 w 634"/>
                <a:gd name="T79" fmla="*/ 150 h 634"/>
                <a:gd name="T80" fmla="*/ 63 w 634"/>
                <a:gd name="T81" fmla="*/ 160 h 634"/>
                <a:gd name="T82" fmla="*/ 569 w 634"/>
                <a:gd name="T83" fmla="*/ 124 h 634"/>
                <a:gd name="T84" fmla="*/ 78 w 634"/>
                <a:gd name="T85" fmla="*/ 110 h 634"/>
                <a:gd name="T86" fmla="*/ 93 w 634"/>
                <a:gd name="T87" fmla="*/ 121 h 634"/>
                <a:gd name="T88" fmla="*/ 534 w 634"/>
                <a:gd name="T89" fmla="*/ 86 h 634"/>
                <a:gd name="T90" fmla="*/ 115 w 634"/>
                <a:gd name="T91" fmla="*/ 74 h 634"/>
                <a:gd name="T92" fmla="*/ 126 w 634"/>
                <a:gd name="T93" fmla="*/ 87 h 634"/>
                <a:gd name="T94" fmla="*/ 495 w 634"/>
                <a:gd name="T95" fmla="*/ 54 h 634"/>
                <a:gd name="T96" fmla="*/ 156 w 634"/>
                <a:gd name="T97" fmla="*/ 45 h 634"/>
                <a:gd name="T98" fmla="*/ 165 w 634"/>
                <a:gd name="T99" fmla="*/ 60 h 634"/>
                <a:gd name="T100" fmla="*/ 450 w 634"/>
                <a:gd name="T101" fmla="*/ 30 h 634"/>
                <a:gd name="T102" fmla="*/ 202 w 634"/>
                <a:gd name="T103" fmla="*/ 23 h 634"/>
                <a:gd name="T104" fmla="*/ 210 w 634"/>
                <a:gd name="T105" fmla="*/ 39 h 634"/>
                <a:gd name="T106" fmla="*/ 402 w 634"/>
                <a:gd name="T107" fmla="*/ 11 h 634"/>
                <a:gd name="T108" fmla="*/ 250 w 634"/>
                <a:gd name="T109" fmla="*/ 8 h 634"/>
                <a:gd name="T110" fmla="*/ 254 w 634"/>
                <a:gd name="T111" fmla="*/ 26 h 634"/>
                <a:gd name="T112" fmla="*/ 352 w 634"/>
                <a:gd name="T113" fmla="*/ 2 h 634"/>
                <a:gd name="T114" fmla="*/ 300 w 634"/>
                <a:gd name="T115" fmla="*/ 0 h 634"/>
                <a:gd name="T116" fmla="*/ 302 w 634"/>
                <a:gd name="T117" fmla="*/ 19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4" h="634">
                  <a:moveTo>
                    <a:pt x="306" y="634"/>
                  </a:moveTo>
                  <a:lnTo>
                    <a:pt x="306" y="634"/>
                  </a:lnTo>
                  <a:lnTo>
                    <a:pt x="280" y="632"/>
                  </a:lnTo>
                  <a:lnTo>
                    <a:pt x="282" y="614"/>
                  </a:lnTo>
                  <a:lnTo>
                    <a:pt x="282" y="614"/>
                  </a:lnTo>
                  <a:lnTo>
                    <a:pt x="306" y="615"/>
                  </a:lnTo>
                  <a:lnTo>
                    <a:pt x="306" y="634"/>
                  </a:lnTo>
                  <a:close/>
                  <a:moveTo>
                    <a:pt x="332" y="634"/>
                  </a:moveTo>
                  <a:lnTo>
                    <a:pt x="330" y="615"/>
                  </a:lnTo>
                  <a:lnTo>
                    <a:pt x="330" y="615"/>
                  </a:lnTo>
                  <a:lnTo>
                    <a:pt x="354" y="614"/>
                  </a:lnTo>
                  <a:lnTo>
                    <a:pt x="356" y="632"/>
                  </a:lnTo>
                  <a:lnTo>
                    <a:pt x="356" y="632"/>
                  </a:lnTo>
                  <a:lnTo>
                    <a:pt x="332" y="634"/>
                  </a:lnTo>
                  <a:lnTo>
                    <a:pt x="332" y="634"/>
                  </a:lnTo>
                  <a:close/>
                  <a:moveTo>
                    <a:pt x="256" y="628"/>
                  </a:moveTo>
                  <a:lnTo>
                    <a:pt x="256" y="628"/>
                  </a:lnTo>
                  <a:lnTo>
                    <a:pt x="230" y="623"/>
                  </a:lnTo>
                  <a:lnTo>
                    <a:pt x="236" y="604"/>
                  </a:lnTo>
                  <a:lnTo>
                    <a:pt x="236" y="604"/>
                  </a:lnTo>
                  <a:lnTo>
                    <a:pt x="260" y="610"/>
                  </a:lnTo>
                  <a:lnTo>
                    <a:pt x="256" y="628"/>
                  </a:lnTo>
                  <a:close/>
                  <a:moveTo>
                    <a:pt x="382" y="628"/>
                  </a:moveTo>
                  <a:lnTo>
                    <a:pt x="378" y="610"/>
                  </a:lnTo>
                  <a:lnTo>
                    <a:pt x="378" y="610"/>
                  </a:lnTo>
                  <a:lnTo>
                    <a:pt x="400" y="604"/>
                  </a:lnTo>
                  <a:lnTo>
                    <a:pt x="406" y="621"/>
                  </a:lnTo>
                  <a:lnTo>
                    <a:pt x="406" y="621"/>
                  </a:lnTo>
                  <a:lnTo>
                    <a:pt x="382" y="628"/>
                  </a:lnTo>
                  <a:lnTo>
                    <a:pt x="382" y="628"/>
                  </a:lnTo>
                  <a:close/>
                  <a:moveTo>
                    <a:pt x="206" y="614"/>
                  </a:moveTo>
                  <a:lnTo>
                    <a:pt x="206" y="614"/>
                  </a:lnTo>
                  <a:lnTo>
                    <a:pt x="182" y="604"/>
                  </a:lnTo>
                  <a:lnTo>
                    <a:pt x="191" y="588"/>
                  </a:lnTo>
                  <a:lnTo>
                    <a:pt x="191" y="588"/>
                  </a:lnTo>
                  <a:lnTo>
                    <a:pt x="213" y="597"/>
                  </a:lnTo>
                  <a:lnTo>
                    <a:pt x="206" y="614"/>
                  </a:lnTo>
                  <a:close/>
                  <a:moveTo>
                    <a:pt x="430" y="614"/>
                  </a:moveTo>
                  <a:lnTo>
                    <a:pt x="424" y="597"/>
                  </a:lnTo>
                  <a:lnTo>
                    <a:pt x="424" y="597"/>
                  </a:lnTo>
                  <a:lnTo>
                    <a:pt x="447" y="586"/>
                  </a:lnTo>
                  <a:lnTo>
                    <a:pt x="454" y="602"/>
                  </a:lnTo>
                  <a:lnTo>
                    <a:pt x="454" y="602"/>
                  </a:lnTo>
                  <a:lnTo>
                    <a:pt x="430" y="614"/>
                  </a:lnTo>
                  <a:lnTo>
                    <a:pt x="430" y="614"/>
                  </a:lnTo>
                  <a:close/>
                  <a:moveTo>
                    <a:pt x="160" y="593"/>
                  </a:moveTo>
                  <a:lnTo>
                    <a:pt x="160" y="593"/>
                  </a:lnTo>
                  <a:lnTo>
                    <a:pt x="139" y="578"/>
                  </a:lnTo>
                  <a:lnTo>
                    <a:pt x="148" y="563"/>
                  </a:lnTo>
                  <a:lnTo>
                    <a:pt x="148" y="563"/>
                  </a:lnTo>
                  <a:lnTo>
                    <a:pt x="169" y="576"/>
                  </a:lnTo>
                  <a:lnTo>
                    <a:pt x="160" y="593"/>
                  </a:lnTo>
                  <a:close/>
                  <a:moveTo>
                    <a:pt x="476" y="591"/>
                  </a:moveTo>
                  <a:lnTo>
                    <a:pt x="467" y="575"/>
                  </a:lnTo>
                  <a:lnTo>
                    <a:pt x="467" y="575"/>
                  </a:lnTo>
                  <a:lnTo>
                    <a:pt x="487" y="562"/>
                  </a:lnTo>
                  <a:lnTo>
                    <a:pt x="499" y="578"/>
                  </a:lnTo>
                  <a:lnTo>
                    <a:pt x="499" y="578"/>
                  </a:lnTo>
                  <a:lnTo>
                    <a:pt x="476" y="591"/>
                  </a:lnTo>
                  <a:lnTo>
                    <a:pt x="476" y="591"/>
                  </a:lnTo>
                  <a:close/>
                  <a:moveTo>
                    <a:pt x="119" y="563"/>
                  </a:moveTo>
                  <a:lnTo>
                    <a:pt x="119" y="563"/>
                  </a:lnTo>
                  <a:lnTo>
                    <a:pt x="98" y="547"/>
                  </a:lnTo>
                  <a:lnTo>
                    <a:pt x="111" y="534"/>
                  </a:lnTo>
                  <a:lnTo>
                    <a:pt x="111" y="534"/>
                  </a:lnTo>
                  <a:lnTo>
                    <a:pt x="130" y="549"/>
                  </a:lnTo>
                  <a:lnTo>
                    <a:pt x="119" y="563"/>
                  </a:lnTo>
                  <a:close/>
                  <a:moveTo>
                    <a:pt x="519" y="562"/>
                  </a:moveTo>
                  <a:lnTo>
                    <a:pt x="506" y="549"/>
                  </a:lnTo>
                  <a:lnTo>
                    <a:pt x="506" y="549"/>
                  </a:lnTo>
                  <a:lnTo>
                    <a:pt x="525" y="532"/>
                  </a:lnTo>
                  <a:lnTo>
                    <a:pt x="538" y="545"/>
                  </a:lnTo>
                  <a:lnTo>
                    <a:pt x="538" y="545"/>
                  </a:lnTo>
                  <a:lnTo>
                    <a:pt x="519" y="562"/>
                  </a:lnTo>
                  <a:lnTo>
                    <a:pt x="519" y="562"/>
                  </a:lnTo>
                  <a:close/>
                  <a:moveTo>
                    <a:pt x="82" y="528"/>
                  </a:moveTo>
                  <a:lnTo>
                    <a:pt x="82" y="528"/>
                  </a:lnTo>
                  <a:lnTo>
                    <a:pt x="65" y="510"/>
                  </a:lnTo>
                  <a:lnTo>
                    <a:pt x="80" y="499"/>
                  </a:lnTo>
                  <a:lnTo>
                    <a:pt x="80" y="499"/>
                  </a:lnTo>
                  <a:lnTo>
                    <a:pt x="95" y="515"/>
                  </a:lnTo>
                  <a:lnTo>
                    <a:pt x="82" y="528"/>
                  </a:lnTo>
                  <a:close/>
                  <a:moveTo>
                    <a:pt x="554" y="526"/>
                  </a:moveTo>
                  <a:lnTo>
                    <a:pt x="541" y="515"/>
                  </a:lnTo>
                  <a:lnTo>
                    <a:pt x="541" y="515"/>
                  </a:lnTo>
                  <a:lnTo>
                    <a:pt x="556" y="497"/>
                  </a:lnTo>
                  <a:lnTo>
                    <a:pt x="571" y="508"/>
                  </a:lnTo>
                  <a:lnTo>
                    <a:pt x="571" y="508"/>
                  </a:lnTo>
                  <a:lnTo>
                    <a:pt x="554" y="526"/>
                  </a:lnTo>
                  <a:lnTo>
                    <a:pt x="554" y="526"/>
                  </a:lnTo>
                  <a:close/>
                  <a:moveTo>
                    <a:pt x="50" y="488"/>
                  </a:moveTo>
                  <a:lnTo>
                    <a:pt x="50" y="488"/>
                  </a:lnTo>
                  <a:lnTo>
                    <a:pt x="37" y="465"/>
                  </a:lnTo>
                  <a:lnTo>
                    <a:pt x="54" y="458"/>
                  </a:lnTo>
                  <a:lnTo>
                    <a:pt x="54" y="458"/>
                  </a:lnTo>
                  <a:lnTo>
                    <a:pt x="65" y="478"/>
                  </a:lnTo>
                  <a:lnTo>
                    <a:pt x="50" y="488"/>
                  </a:lnTo>
                  <a:close/>
                  <a:moveTo>
                    <a:pt x="586" y="486"/>
                  </a:moveTo>
                  <a:lnTo>
                    <a:pt x="569" y="476"/>
                  </a:lnTo>
                  <a:lnTo>
                    <a:pt x="569" y="476"/>
                  </a:lnTo>
                  <a:lnTo>
                    <a:pt x="582" y="456"/>
                  </a:lnTo>
                  <a:lnTo>
                    <a:pt x="599" y="463"/>
                  </a:lnTo>
                  <a:lnTo>
                    <a:pt x="599" y="463"/>
                  </a:lnTo>
                  <a:lnTo>
                    <a:pt x="586" y="486"/>
                  </a:lnTo>
                  <a:lnTo>
                    <a:pt x="586" y="486"/>
                  </a:lnTo>
                  <a:close/>
                  <a:moveTo>
                    <a:pt x="26" y="443"/>
                  </a:moveTo>
                  <a:lnTo>
                    <a:pt x="26" y="443"/>
                  </a:lnTo>
                  <a:lnTo>
                    <a:pt x="17" y="419"/>
                  </a:lnTo>
                  <a:lnTo>
                    <a:pt x="35" y="413"/>
                  </a:lnTo>
                  <a:lnTo>
                    <a:pt x="35" y="413"/>
                  </a:lnTo>
                  <a:lnTo>
                    <a:pt x="43" y="436"/>
                  </a:lnTo>
                  <a:lnTo>
                    <a:pt x="26" y="443"/>
                  </a:lnTo>
                  <a:close/>
                  <a:moveTo>
                    <a:pt x="610" y="441"/>
                  </a:moveTo>
                  <a:lnTo>
                    <a:pt x="591" y="434"/>
                  </a:lnTo>
                  <a:lnTo>
                    <a:pt x="591" y="434"/>
                  </a:lnTo>
                  <a:lnTo>
                    <a:pt x="601" y="412"/>
                  </a:lnTo>
                  <a:lnTo>
                    <a:pt x="619" y="417"/>
                  </a:lnTo>
                  <a:lnTo>
                    <a:pt x="619" y="417"/>
                  </a:lnTo>
                  <a:lnTo>
                    <a:pt x="610" y="441"/>
                  </a:lnTo>
                  <a:lnTo>
                    <a:pt x="610" y="441"/>
                  </a:lnTo>
                  <a:close/>
                  <a:moveTo>
                    <a:pt x="9" y="395"/>
                  </a:moveTo>
                  <a:lnTo>
                    <a:pt x="9" y="395"/>
                  </a:lnTo>
                  <a:lnTo>
                    <a:pt x="4" y="371"/>
                  </a:lnTo>
                  <a:lnTo>
                    <a:pt x="22" y="367"/>
                  </a:lnTo>
                  <a:lnTo>
                    <a:pt x="22" y="367"/>
                  </a:lnTo>
                  <a:lnTo>
                    <a:pt x="28" y="391"/>
                  </a:lnTo>
                  <a:lnTo>
                    <a:pt x="9" y="395"/>
                  </a:lnTo>
                  <a:close/>
                  <a:moveTo>
                    <a:pt x="625" y="393"/>
                  </a:moveTo>
                  <a:lnTo>
                    <a:pt x="608" y="389"/>
                  </a:lnTo>
                  <a:lnTo>
                    <a:pt x="608" y="389"/>
                  </a:lnTo>
                  <a:lnTo>
                    <a:pt x="612" y="365"/>
                  </a:lnTo>
                  <a:lnTo>
                    <a:pt x="630" y="367"/>
                  </a:lnTo>
                  <a:lnTo>
                    <a:pt x="630" y="367"/>
                  </a:lnTo>
                  <a:lnTo>
                    <a:pt x="625" y="393"/>
                  </a:lnTo>
                  <a:lnTo>
                    <a:pt x="625" y="393"/>
                  </a:lnTo>
                  <a:close/>
                  <a:moveTo>
                    <a:pt x="2" y="345"/>
                  </a:moveTo>
                  <a:lnTo>
                    <a:pt x="2" y="345"/>
                  </a:lnTo>
                  <a:lnTo>
                    <a:pt x="0" y="319"/>
                  </a:lnTo>
                  <a:lnTo>
                    <a:pt x="19" y="319"/>
                  </a:lnTo>
                  <a:lnTo>
                    <a:pt x="19" y="319"/>
                  </a:lnTo>
                  <a:lnTo>
                    <a:pt x="21" y="343"/>
                  </a:lnTo>
                  <a:lnTo>
                    <a:pt x="2" y="345"/>
                  </a:lnTo>
                  <a:close/>
                  <a:moveTo>
                    <a:pt x="634" y="343"/>
                  </a:moveTo>
                  <a:lnTo>
                    <a:pt x="615" y="341"/>
                  </a:lnTo>
                  <a:lnTo>
                    <a:pt x="615" y="341"/>
                  </a:lnTo>
                  <a:lnTo>
                    <a:pt x="615" y="317"/>
                  </a:lnTo>
                  <a:lnTo>
                    <a:pt x="615" y="313"/>
                  </a:lnTo>
                  <a:lnTo>
                    <a:pt x="634" y="313"/>
                  </a:lnTo>
                  <a:lnTo>
                    <a:pt x="634" y="317"/>
                  </a:lnTo>
                  <a:lnTo>
                    <a:pt x="634" y="317"/>
                  </a:lnTo>
                  <a:lnTo>
                    <a:pt x="634" y="343"/>
                  </a:lnTo>
                  <a:lnTo>
                    <a:pt x="634" y="343"/>
                  </a:lnTo>
                  <a:close/>
                  <a:moveTo>
                    <a:pt x="21" y="295"/>
                  </a:moveTo>
                  <a:lnTo>
                    <a:pt x="2" y="295"/>
                  </a:lnTo>
                  <a:lnTo>
                    <a:pt x="2" y="295"/>
                  </a:lnTo>
                  <a:lnTo>
                    <a:pt x="4" y="269"/>
                  </a:lnTo>
                  <a:lnTo>
                    <a:pt x="22" y="271"/>
                  </a:lnTo>
                  <a:lnTo>
                    <a:pt x="22" y="271"/>
                  </a:lnTo>
                  <a:lnTo>
                    <a:pt x="21" y="295"/>
                  </a:lnTo>
                  <a:lnTo>
                    <a:pt x="21" y="295"/>
                  </a:lnTo>
                  <a:close/>
                  <a:moveTo>
                    <a:pt x="615" y="289"/>
                  </a:moveTo>
                  <a:lnTo>
                    <a:pt x="615" y="289"/>
                  </a:lnTo>
                  <a:lnTo>
                    <a:pt x="612" y="265"/>
                  </a:lnTo>
                  <a:lnTo>
                    <a:pt x="630" y="262"/>
                  </a:lnTo>
                  <a:lnTo>
                    <a:pt x="630" y="262"/>
                  </a:lnTo>
                  <a:lnTo>
                    <a:pt x="632" y="287"/>
                  </a:lnTo>
                  <a:lnTo>
                    <a:pt x="615" y="289"/>
                  </a:lnTo>
                  <a:close/>
                  <a:moveTo>
                    <a:pt x="26" y="249"/>
                  </a:moveTo>
                  <a:lnTo>
                    <a:pt x="9" y="243"/>
                  </a:lnTo>
                  <a:lnTo>
                    <a:pt x="9" y="243"/>
                  </a:lnTo>
                  <a:lnTo>
                    <a:pt x="15" y="219"/>
                  </a:lnTo>
                  <a:lnTo>
                    <a:pt x="34" y="224"/>
                  </a:lnTo>
                  <a:lnTo>
                    <a:pt x="34" y="224"/>
                  </a:lnTo>
                  <a:lnTo>
                    <a:pt x="26" y="249"/>
                  </a:lnTo>
                  <a:lnTo>
                    <a:pt x="26" y="249"/>
                  </a:lnTo>
                  <a:close/>
                  <a:moveTo>
                    <a:pt x="606" y="241"/>
                  </a:moveTo>
                  <a:lnTo>
                    <a:pt x="606" y="241"/>
                  </a:lnTo>
                  <a:lnTo>
                    <a:pt x="599" y="219"/>
                  </a:lnTo>
                  <a:lnTo>
                    <a:pt x="617" y="213"/>
                  </a:lnTo>
                  <a:lnTo>
                    <a:pt x="617" y="213"/>
                  </a:lnTo>
                  <a:lnTo>
                    <a:pt x="625" y="237"/>
                  </a:lnTo>
                  <a:lnTo>
                    <a:pt x="606" y="241"/>
                  </a:lnTo>
                  <a:close/>
                  <a:moveTo>
                    <a:pt x="41" y="202"/>
                  </a:moveTo>
                  <a:lnTo>
                    <a:pt x="24" y="195"/>
                  </a:lnTo>
                  <a:lnTo>
                    <a:pt x="24" y="195"/>
                  </a:lnTo>
                  <a:lnTo>
                    <a:pt x="35" y="173"/>
                  </a:lnTo>
                  <a:lnTo>
                    <a:pt x="52" y="180"/>
                  </a:lnTo>
                  <a:lnTo>
                    <a:pt x="52" y="180"/>
                  </a:lnTo>
                  <a:lnTo>
                    <a:pt x="41" y="202"/>
                  </a:lnTo>
                  <a:lnTo>
                    <a:pt x="41" y="202"/>
                  </a:lnTo>
                  <a:close/>
                  <a:moveTo>
                    <a:pt x="591" y="197"/>
                  </a:moveTo>
                  <a:lnTo>
                    <a:pt x="591" y="197"/>
                  </a:lnTo>
                  <a:lnTo>
                    <a:pt x="580" y="174"/>
                  </a:lnTo>
                  <a:lnTo>
                    <a:pt x="597" y="167"/>
                  </a:lnTo>
                  <a:lnTo>
                    <a:pt x="597" y="167"/>
                  </a:lnTo>
                  <a:lnTo>
                    <a:pt x="608" y="189"/>
                  </a:lnTo>
                  <a:lnTo>
                    <a:pt x="591" y="197"/>
                  </a:lnTo>
                  <a:close/>
                  <a:moveTo>
                    <a:pt x="63" y="160"/>
                  </a:moveTo>
                  <a:lnTo>
                    <a:pt x="48" y="150"/>
                  </a:lnTo>
                  <a:lnTo>
                    <a:pt x="48" y="150"/>
                  </a:lnTo>
                  <a:lnTo>
                    <a:pt x="63" y="128"/>
                  </a:lnTo>
                  <a:lnTo>
                    <a:pt x="78" y="139"/>
                  </a:lnTo>
                  <a:lnTo>
                    <a:pt x="78" y="139"/>
                  </a:lnTo>
                  <a:lnTo>
                    <a:pt x="63" y="160"/>
                  </a:lnTo>
                  <a:lnTo>
                    <a:pt x="63" y="160"/>
                  </a:lnTo>
                  <a:close/>
                  <a:moveTo>
                    <a:pt x="567" y="154"/>
                  </a:moveTo>
                  <a:lnTo>
                    <a:pt x="567" y="154"/>
                  </a:lnTo>
                  <a:lnTo>
                    <a:pt x="554" y="136"/>
                  </a:lnTo>
                  <a:lnTo>
                    <a:pt x="569" y="124"/>
                  </a:lnTo>
                  <a:lnTo>
                    <a:pt x="569" y="124"/>
                  </a:lnTo>
                  <a:lnTo>
                    <a:pt x="584" y="145"/>
                  </a:lnTo>
                  <a:lnTo>
                    <a:pt x="567" y="154"/>
                  </a:lnTo>
                  <a:close/>
                  <a:moveTo>
                    <a:pt x="93" y="121"/>
                  </a:moveTo>
                  <a:lnTo>
                    <a:pt x="78" y="110"/>
                  </a:lnTo>
                  <a:lnTo>
                    <a:pt x="78" y="110"/>
                  </a:lnTo>
                  <a:lnTo>
                    <a:pt x="97" y="91"/>
                  </a:lnTo>
                  <a:lnTo>
                    <a:pt x="110" y="104"/>
                  </a:lnTo>
                  <a:lnTo>
                    <a:pt x="110" y="104"/>
                  </a:lnTo>
                  <a:lnTo>
                    <a:pt x="93" y="121"/>
                  </a:lnTo>
                  <a:lnTo>
                    <a:pt x="93" y="121"/>
                  </a:lnTo>
                  <a:close/>
                  <a:moveTo>
                    <a:pt x="538" y="117"/>
                  </a:moveTo>
                  <a:lnTo>
                    <a:pt x="538" y="117"/>
                  </a:lnTo>
                  <a:lnTo>
                    <a:pt x="521" y="100"/>
                  </a:lnTo>
                  <a:lnTo>
                    <a:pt x="534" y="86"/>
                  </a:lnTo>
                  <a:lnTo>
                    <a:pt x="534" y="86"/>
                  </a:lnTo>
                  <a:lnTo>
                    <a:pt x="552" y="104"/>
                  </a:lnTo>
                  <a:lnTo>
                    <a:pt x="538" y="117"/>
                  </a:lnTo>
                  <a:close/>
                  <a:moveTo>
                    <a:pt x="126" y="87"/>
                  </a:moveTo>
                  <a:lnTo>
                    <a:pt x="115" y="74"/>
                  </a:lnTo>
                  <a:lnTo>
                    <a:pt x="115" y="74"/>
                  </a:lnTo>
                  <a:lnTo>
                    <a:pt x="135" y="58"/>
                  </a:lnTo>
                  <a:lnTo>
                    <a:pt x="145" y="73"/>
                  </a:lnTo>
                  <a:lnTo>
                    <a:pt x="145" y="73"/>
                  </a:lnTo>
                  <a:lnTo>
                    <a:pt x="126" y="87"/>
                  </a:lnTo>
                  <a:lnTo>
                    <a:pt x="126" y="87"/>
                  </a:lnTo>
                  <a:close/>
                  <a:moveTo>
                    <a:pt x="504" y="84"/>
                  </a:moveTo>
                  <a:lnTo>
                    <a:pt x="504" y="84"/>
                  </a:lnTo>
                  <a:lnTo>
                    <a:pt x="484" y="69"/>
                  </a:lnTo>
                  <a:lnTo>
                    <a:pt x="495" y="54"/>
                  </a:lnTo>
                  <a:lnTo>
                    <a:pt x="495" y="54"/>
                  </a:lnTo>
                  <a:lnTo>
                    <a:pt x="515" y="69"/>
                  </a:lnTo>
                  <a:lnTo>
                    <a:pt x="504" y="84"/>
                  </a:lnTo>
                  <a:close/>
                  <a:moveTo>
                    <a:pt x="165" y="60"/>
                  </a:moveTo>
                  <a:lnTo>
                    <a:pt x="156" y="45"/>
                  </a:lnTo>
                  <a:lnTo>
                    <a:pt x="156" y="45"/>
                  </a:lnTo>
                  <a:lnTo>
                    <a:pt x="178" y="32"/>
                  </a:lnTo>
                  <a:lnTo>
                    <a:pt x="187" y="48"/>
                  </a:lnTo>
                  <a:lnTo>
                    <a:pt x="187" y="48"/>
                  </a:lnTo>
                  <a:lnTo>
                    <a:pt x="165" y="60"/>
                  </a:lnTo>
                  <a:lnTo>
                    <a:pt x="165" y="60"/>
                  </a:lnTo>
                  <a:close/>
                  <a:moveTo>
                    <a:pt x="463" y="58"/>
                  </a:moveTo>
                  <a:lnTo>
                    <a:pt x="463" y="58"/>
                  </a:lnTo>
                  <a:lnTo>
                    <a:pt x="443" y="47"/>
                  </a:lnTo>
                  <a:lnTo>
                    <a:pt x="450" y="30"/>
                  </a:lnTo>
                  <a:lnTo>
                    <a:pt x="450" y="30"/>
                  </a:lnTo>
                  <a:lnTo>
                    <a:pt x="473" y="41"/>
                  </a:lnTo>
                  <a:lnTo>
                    <a:pt x="463" y="58"/>
                  </a:lnTo>
                  <a:close/>
                  <a:moveTo>
                    <a:pt x="210" y="39"/>
                  </a:moveTo>
                  <a:lnTo>
                    <a:pt x="202" y="23"/>
                  </a:lnTo>
                  <a:lnTo>
                    <a:pt x="202" y="23"/>
                  </a:lnTo>
                  <a:lnTo>
                    <a:pt x="226" y="13"/>
                  </a:lnTo>
                  <a:lnTo>
                    <a:pt x="232" y="32"/>
                  </a:lnTo>
                  <a:lnTo>
                    <a:pt x="232" y="32"/>
                  </a:lnTo>
                  <a:lnTo>
                    <a:pt x="210" y="39"/>
                  </a:lnTo>
                  <a:lnTo>
                    <a:pt x="210" y="39"/>
                  </a:lnTo>
                  <a:close/>
                  <a:moveTo>
                    <a:pt x="421" y="37"/>
                  </a:moveTo>
                  <a:lnTo>
                    <a:pt x="421" y="37"/>
                  </a:lnTo>
                  <a:lnTo>
                    <a:pt x="397" y="30"/>
                  </a:lnTo>
                  <a:lnTo>
                    <a:pt x="402" y="11"/>
                  </a:lnTo>
                  <a:lnTo>
                    <a:pt x="402" y="11"/>
                  </a:lnTo>
                  <a:lnTo>
                    <a:pt x="426" y="19"/>
                  </a:lnTo>
                  <a:lnTo>
                    <a:pt x="421" y="37"/>
                  </a:lnTo>
                  <a:close/>
                  <a:moveTo>
                    <a:pt x="254" y="26"/>
                  </a:moveTo>
                  <a:lnTo>
                    <a:pt x="250" y="8"/>
                  </a:lnTo>
                  <a:lnTo>
                    <a:pt x="250" y="8"/>
                  </a:lnTo>
                  <a:lnTo>
                    <a:pt x="276" y="2"/>
                  </a:lnTo>
                  <a:lnTo>
                    <a:pt x="278" y="21"/>
                  </a:lnTo>
                  <a:lnTo>
                    <a:pt x="278" y="21"/>
                  </a:lnTo>
                  <a:lnTo>
                    <a:pt x="254" y="26"/>
                  </a:lnTo>
                  <a:lnTo>
                    <a:pt x="254" y="26"/>
                  </a:lnTo>
                  <a:close/>
                  <a:moveTo>
                    <a:pt x="374" y="24"/>
                  </a:moveTo>
                  <a:lnTo>
                    <a:pt x="374" y="24"/>
                  </a:lnTo>
                  <a:lnTo>
                    <a:pt x="350" y="21"/>
                  </a:lnTo>
                  <a:lnTo>
                    <a:pt x="352" y="2"/>
                  </a:lnTo>
                  <a:lnTo>
                    <a:pt x="352" y="2"/>
                  </a:lnTo>
                  <a:lnTo>
                    <a:pt x="378" y="6"/>
                  </a:lnTo>
                  <a:lnTo>
                    <a:pt x="374" y="24"/>
                  </a:lnTo>
                  <a:close/>
                  <a:moveTo>
                    <a:pt x="302" y="19"/>
                  </a:moveTo>
                  <a:lnTo>
                    <a:pt x="300" y="0"/>
                  </a:lnTo>
                  <a:lnTo>
                    <a:pt x="300" y="0"/>
                  </a:lnTo>
                  <a:lnTo>
                    <a:pt x="326" y="0"/>
                  </a:lnTo>
                  <a:lnTo>
                    <a:pt x="326" y="19"/>
                  </a:lnTo>
                  <a:lnTo>
                    <a:pt x="326" y="19"/>
                  </a:lnTo>
                  <a:lnTo>
                    <a:pt x="302" y="19"/>
                  </a:lnTo>
                  <a:lnTo>
                    <a:pt x="30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85" name="Line 128">
              <a:extLst>
                <a:ext uri="{FF2B5EF4-FFF2-40B4-BE49-F238E27FC236}">
                  <a16:creationId xmlns:a16="http://schemas.microsoft.com/office/drawing/2014/main" id="{2B9423C6-7B53-4A8C-9C9D-3F1AA3777079}"/>
                </a:ext>
              </a:extLst>
            </p:cNvPr>
            <p:cNvSpPr>
              <a:spLocks noChangeShapeType="1"/>
            </p:cNvSpPr>
            <p:nvPr/>
          </p:nvSpPr>
          <p:spPr bwMode="auto">
            <a:xfrm>
              <a:off x="7408863" y="1509713"/>
              <a:ext cx="0" cy="0"/>
            </a:xfrm>
            <a:prstGeom prst="line">
              <a:avLst/>
            </a:prstGeom>
            <a:noFill/>
            <a:ln w="38100">
              <a:solidFill>
                <a:srgbClr val="FDD3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86" name="Freeform 129">
              <a:extLst>
                <a:ext uri="{FF2B5EF4-FFF2-40B4-BE49-F238E27FC236}">
                  <a16:creationId xmlns:a16="http://schemas.microsoft.com/office/drawing/2014/main" id="{BF2464FF-F8E6-4486-BCA0-B0610D332823}"/>
                </a:ext>
              </a:extLst>
            </p:cNvPr>
            <p:cNvSpPr>
              <a:spLocks noEditPoints="1"/>
            </p:cNvSpPr>
            <p:nvPr/>
          </p:nvSpPr>
          <p:spPr bwMode="auto">
            <a:xfrm>
              <a:off x="7331076" y="1077913"/>
              <a:ext cx="509588" cy="608013"/>
            </a:xfrm>
            <a:custGeom>
              <a:avLst/>
              <a:gdLst>
                <a:gd name="T0" fmla="*/ 82 w 321"/>
                <a:gd name="T1" fmla="*/ 383 h 383"/>
                <a:gd name="T2" fmla="*/ 58 w 321"/>
                <a:gd name="T3" fmla="*/ 361 h 383"/>
                <a:gd name="T4" fmla="*/ 71 w 321"/>
                <a:gd name="T5" fmla="*/ 348 h 383"/>
                <a:gd name="T6" fmla="*/ 93 w 321"/>
                <a:gd name="T7" fmla="*/ 368 h 383"/>
                <a:gd name="T8" fmla="*/ 36 w 321"/>
                <a:gd name="T9" fmla="*/ 335 h 383"/>
                <a:gd name="T10" fmla="*/ 28 w 321"/>
                <a:gd name="T11" fmla="*/ 320 h 383"/>
                <a:gd name="T12" fmla="*/ 38 w 321"/>
                <a:gd name="T13" fmla="*/ 298 h 383"/>
                <a:gd name="T14" fmla="*/ 43 w 321"/>
                <a:gd name="T15" fmla="*/ 311 h 383"/>
                <a:gd name="T16" fmla="*/ 36 w 321"/>
                <a:gd name="T17" fmla="*/ 335 h 383"/>
                <a:gd name="T18" fmla="*/ 8 w 321"/>
                <a:gd name="T19" fmla="*/ 274 h 383"/>
                <a:gd name="T20" fmla="*/ 2 w 321"/>
                <a:gd name="T21" fmla="*/ 241 h 383"/>
                <a:gd name="T22" fmla="*/ 21 w 321"/>
                <a:gd name="T23" fmla="*/ 239 h 383"/>
                <a:gd name="T24" fmla="*/ 26 w 321"/>
                <a:gd name="T25" fmla="*/ 268 h 383"/>
                <a:gd name="T26" fmla="*/ 19 w 321"/>
                <a:gd name="T27" fmla="*/ 207 h 383"/>
                <a:gd name="T28" fmla="*/ 0 w 321"/>
                <a:gd name="T29" fmla="*/ 207 h 383"/>
                <a:gd name="T30" fmla="*/ 4 w 321"/>
                <a:gd name="T31" fmla="*/ 174 h 383"/>
                <a:gd name="T32" fmla="*/ 23 w 321"/>
                <a:gd name="T33" fmla="*/ 176 h 383"/>
                <a:gd name="T34" fmla="*/ 19 w 321"/>
                <a:gd name="T35" fmla="*/ 207 h 383"/>
                <a:gd name="T36" fmla="*/ 32 w 321"/>
                <a:gd name="T37" fmla="*/ 146 h 383"/>
                <a:gd name="T38" fmla="*/ 13 w 321"/>
                <a:gd name="T39" fmla="*/ 141 h 383"/>
                <a:gd name="T40" fmla="*/ 28 w 321"/>
                <a:gd name="T41" fmla="*/ 109 h 383"/>
                <a:gd name="T42" fmla="*/ 45 w 321"/>
                <a:gd name="T43" fmla="*/ 118 h 383"/>
                <a:gd name="T44" fmla="*/ 32 w 321"/>
                <a:gd name="T45" fmla="*/ 146 h 383"/>
                <a:gd name="T46" fmla="*/ 62 w 321"/>
                <a:gd name="T47" fmla="*/ 94 h 383"/>
                <a:gd name="T48" fmla="*/ 47 w 321"/>
                <a:gd name="T49" fmla="*/ 81 h 383"/>
                <a:gd name="T50" fmla="*/ 69 w 321"/>
                <a:gd name="T51" fmla="*/ 57 h 383"/>
                <a:gd name="T52" fmla="*/ 82 w 321"/>
                <a:gd name="T53" fmla="*/ 70 h 383"/>
                <a:gd name="T54" fmla="*/ 62 w 321"/>
                <a:gd name="T55" fmla="*/ 94 h 383"/>
                <a:gd name="T56" fmla="*/ 106 w 321"/>
                <a:gd name="T57" fmla="*/ 52 h 383"/>
                <a:gd name="T58" fmla="*/ 95 w 321"/>
                <a:gd name="T59" fmla="*/ 37 h 383"/>
                <a:gd name="T60" fmla="*/ 125 w 321"/>
                <a:gd name="T61" fmla="*/ 20 h 383"/>
                <a:gd name="T62" fmla="*/ 134 w 321"/>
                <a:gd name="T63" fmla="*/ 37 h 383"/>
                <a:gd name="T64" fmla="*/ 106 w 321"/>
                <a:gd name="T65" fmla="*/ 52 h 383"/>
                <a:gd name="T66" fmla="*/ 312 w 321"/>
                <a:gd name="T67" fmla="*/ 42 h 383"/>
                <a:gd name="T68" fmla="*/ 297 w 321"/>
                <a:gd name="T69" fmla="*/ 35 h 383"/>
                <a:gd name="T70" fmla="*/ 290 w 321"/>
                <a:gd name="T71" fmla="*/ 11 h 383"/>
                <a:gd name="T72" fmla="*/ 306 w 321"/>
                <a:gd name="T73" fmla="*/ 18 h 383"/>
                <a:gd name="T74" fmla="*/ 312 w 321"/>
                <a:gd name="T75" fmla="*/ 42 h 383"/>
                <a:gd name="T76" fmla="*/ 156 w 321"/>
                <a:gd name="T77" fmla="*/ 7 h 383"/>
                <a:gd name="T78" fmla="*/ 173 w 321"/>
                <a:gd name="T79" fmla="*/ 3 h 383"/>
                <a:gd name="T80" fmla="*/ 191 w 321"/>
                <a:gd name="T81" fmla="*/ 18 h 383"/>
                <a:gd name="T82" fmla="*/ 177 w 321"/>
                <a:gd name="T83" fmla="*/ 22 h 383"/>
                <a:gd name="T84" fmla="*/ 162 w 321"/>
                <a:gd name="T85" fmla="*/ 26 h 383"/>
                <a:gd name="T86" fmla="*/ 254 w 321"/>
                <a:gd name="T87" fmla="*/ 20 h 383"/>
                <a:gd name="T88" fmla="*/ 223 w 321"/>
                <a:gd name="T89" fmla="*/ 18 h 383"/>
                <a:gd name="T90" fmla="*/ 223 w 321"/>
                <a:gd name="T91" fmla="*/ 0 h 383"/>
                <a:gd name="T92" fmla="*/ 258 w 321"/>
                <a:gd name="T93" fmla="*/ 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1" h="383">
                  <a:moveTo>
                    <a:pt x="82" y="383"/>
                  </a:moveTo>
                  <a:lnTo>
                    <a:pt x="82" y="383"/>
                  </a:lnTo>
                  <a:lnTo>
                    <a:pt x="69" y="372"/>
                  </a:lnTo>
                  <a:lnTo>
                    <a:pt x="58" y="361"/>
                  </a:lnTo>
                  <a:lnTo>
                    <a:pt x="71" y="348"/>
                  </a:lnTo>
                  <a:lnTo>
                    <a:pt x="71" y="348"/>
                  </a:lnTo>
                  <a:lnTo>
                    <a:pt x="82" y="359"/>
                  </a:lnTo>
                  <a:lnTo>
                    <a:pt x="93" y="368"/>
                  </a:lnTo>
                  <a:lnTo>
                    <a:pt x="82" y="383"/>
                  </a:lnTo>
                  <a:close/>
                  <a:moveTo>
                    <a:pt x="36" y="335"/>
                  </a:moveTo>
                  <a:lnTo>
                    <a:pt x="36" y="335"/>
                  </a:lnTo>
                  <a:lnTo>
                    <a:pt x="28" y="320"/>
                  </a:lnTo>
                  <a:lnTo>
                    <a:pt x="21" y="305"/>
                  </a:lnTo>
                  <a:lnTo>
                    <a:pt x="38" y="298"/>
                  </a:lnTo>
                  <a:lnTo>
                    <a:pt x="38" y="298"/>
                  </a:lnTo>
                  <a:lnTo>
                    <a:pt x="43" y="311"/>
                  </a:lnTo>
                  <a:lnTo>
                    <a:pt x="52" y="324"/>
                  </a:lnTo>
                  <a:lnTo>
                    <a:pt x="36" y="335"/>
                  </a:lnTo>
                  <a:close/>
                  <a:moveTo>
                    <a:pt x="8" y="274"/>
                  </a:moveTo>
                  <a:lnTo>
                    <a:pt x="8" y="274"/>
                  </a:lnTo>
                  <a:lnTo>
                    <a:pt x="4" y="257"/>
                  </a:lnTo>
                  <a:lnTo>
                    <a:pt x="2" y="241"/>
                  </a:lnTo>
                  <a:lnTo>
                    <a:pt x="21" y="239"/>
                  </a:lnTo>
                  <a:lnTo>
                    <a:pt x="21" y="239"/>
                  </a:lnTo>
                  <a:lnTo>
                    <a:pt x="23" y="254"/>
                  </a:lnTo>
                  <a:lnTo>
                    <a:pt x="26" y="268"/>
                  </a:lnTo>
                  <a:lnTo>
                    <a:pt x="8" y="274"/>
                  </a:lnTo>
                  <a:close/>
                  <a:moveTo>
                    <a:pt x="19" y="207"/>
                  </a:moveTo>
                  <a:lnTo>
                    <a:pt x="0" y="207"/>
                  </a:lnTo>
                  <a:lnTo>
                    <a:pt x="0" y="207"/>
                  </a:lnTo>
                  <a:lnTo>
                    <a:pt x="2" y="191"/>
                  </a:lnTo>
                  <a:lnTo>
                    <a:pt x="4" y="174"/>
                  </a:lnTo>
                  <a:lnTo>
                    <a:pt x="23" y="176"/>
                  </a:lnTo>
                  <a:lnTo>
                    <a:pt x="23" y="176"/>
                  </a:lnTo>
                  <a:lnTo>
                    <a:pt x="21" y="192"/>
                  </a:lnTo>
                  <a:lnTo>
                    <a:pt x="19" y="207"/>
                  </a:lnTo>
                  <a:lnTo>
                    <a:pt x="19" y="207"/>
                  </a:lnTo>
                  <a:close/>
                  <a:moveTo>
                    <a:pt x="32" y="146"/>
                  </a:moveTo>
                  <a:lnTo>
                    <a:pt x="13" y="141"/>
                  </a:lnTo>
                  <a:lnTo>
                    <a:pt x="13" y="141"/>
                  </a:lnTo>
                  <a:lnTo>
                    <a:pt x="21" y="126"/>
                  </a:lnTo>
                  <a:lnTo>
                    <a:pt x="28" y="109"/>
                  </a:lnTo>
                  <a:lnTo>
                    <a:pt x="45" y="118"/>
                  </a:lnTo>
                  <a:lnTo>
                    <a:pt x="45" y="118"/>
                  </a:lnTo>
                  <a:lnTo>
                    <a:pt x="38" y="133"/>
                  </a:lnTo>
                  <a:lnTo>
                    <a:pt x="32" y="146"/>
                  </a:lnTo>
                  <a:lnTo>
                    <a:pt x="32" y="146"/>
                  </a:lnTo>
                  <a:close/>
                  <a:moveTo>
                    <a:pt x="62" y="94"/>
                  </a:moveTo>
                  <a:lnTo>
                    <a:pt x="47" y="81"/>
                  </a:lnTo>
                  <a:lnTo>
                    <a:pt x="47" y="81"/>
                  </a:lnTo>
                  <a:lnTo>
                    <a:pt x="58" y="68"/>
                  </a:lnTo>
                  <a:lnTo>
                    <a:pt x="69" y="57"/>
                  </a:lnTo>
                  <a:lnTo>
                    <a:pt x="82" y="70"/>
                  </a:lnTo>
                  <a:lnTo>
                    <a:pt x="82" y="70"/>
                  </a:lnTo>
                  <a:lnTo>
                    <a:pt x="71" y="81"/>
                  </a:lnTo>
                  <a:lnTo>
                    <a:pt x="62" y="94"/>
                  </a:lnTo>
                  <a:lnTo>
                    <a:pt x="62" y="94"/>
                  </a:lnTo>
                  <a:close/>
                  <a:moveTo>
                    <a:pt x="106" y="52"/>
                  </a:moveTo>
                  <a:lnTo>
                    <a:pt x="95" y="37"/>
                  </a:lnTo>
                  <a:lnTo>
                    <a:pt x="95" y="37"/>
                  </a:lnTo>
                  <a:lnTo>
                    <a:pt x="110" y="28"/>
                  </a:lnTo>
                  <a:lnTo>
                    <a:pt x="125" y="20"/>
                  </a:lnTo>
                  <a:lnTo>
                    <a:pt x="134" y="37"/>
                  </a:lnTo>
                  <a:lnTo>
                    <a:pt x="134" y="37"/>
                  </a:lnTo>
                  <a:lnTo>
                    <a:pt x="119" y="42"/>
                  </a:lnTo>
                  <a:lnTo>
                    <a:pt x="106" y="52"/>
                  </a:lnTo>
                  <a:lnTo>
                    <a:pt x="106" y="52"/>
                  </a:lnTo>
                  <a:close/>
                  <a:moveTo>
                    <a:pt x="312" y="42"/>
                  </a:moveTo>
                  <a:lnTo>
                    <a:pt x="312" y="42"/>
                  </a:lnTo>
                  <a:lnTo>
                    <a:pt x="297" y="35"/>
                  </a:lnTo>
                  <a:lnTo>
                    <a:pt x="284" y="29"/>
                  </a:lnTo>
                  <a:lnTo>
                    <a:pt x="290" y="11"/>
                  </a:lnTo>
                  <a:lnTo>
                    <a:pt x="290" y="11"/>
                  </a:lnTo>
                  <a:lnTo>
                    <a:pt x="306" y="18"/>
                  </a:lnTo>
                  <a:lnTo>
                    <a:pt x="321" y="26"/>
                  </a:lnTo>
                  <a:lnTo>
                    <a:pt x="312" y="42"/>
                  </a:lnTo>
                  <a:close/>
                  <a:moveTo>
                    <a:pt x="162" y="26"/>
                  </a:moveTo>
                  <a:lnTo>
                    <a:pt x="156" y="7"/>
                  </a:lnTo>
                  <a:lnTo>
                    <a:pt x="156" y="7"/>
                  </a:lnTo>
                  <a:lnTo>
                    <a:pt x="173" y="3"/>
                  </a:lnTo>
                  <a:lnTo>
                    <a:pt x="189" y="0"/>
                  </a:lnTo>
                  <a:lnTo>
                    <a:pt x="191" y="18"/>
                  </a:lnTo>
                  <a:lnTo>
                    <a:pt x="191" y="18"/>
                  </a:lnTo>
                  <a:lnTo>
                    <a:pt x="177" y="22"/>
                  </a:lnTo>
                  <a:lnTo>
                    <a:pt x="162" y="26"/>
                  </a:lnTo>
                  <a:lnTo>
                    <a:pt x="162" y="26"/>
                  </a:lnTo>
                  <a:close/>
                  <a:moveTo>
                    <a:pt x="254" y="20"/>
                  </a:moveTo>
                  <a:lnTo>
                    <a:pt x="254" y="20"/>
                  </a:lnTo>
                  <a:lnTo>
                    <a:pt x="238" y="18"/>
                  </a:lnTo>
                  <a:lnTo>
                    <a:pt x="223" y="18"/>
                  </a:lnTo>
                  <a:lnTo>
                    <a:pt x="223" y="0"/>
                  </a:lnTo>
                  <a:lnTo>
                    <a:pt x="223" y="0"/>
                  </a:lnTo>
                  <a:lnTo>
                    <a:pt x="241" y="0"/>
                  </a:lnTo>
                  <a:lnTo>
                    <a:pt x="258" y="3"/>
                  </a:lnTo>
                  <a:lnTo>
                    <a:pt x="254"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87" name="Freeform 130">
              <a:extLst>
                <a:ext uri="{FF2B5EF4-FFF2-40B4-BE49-F238E27FC236}">
                  <a16:creationId xmlns:a16="http://schemas.microsoft.com/office/drawing/2014/main" id="{60D83D22-6889-41EC-B38E-0826AA2277A9}"/>
                </a:ext>
              </a:extLst>
            </p:cNvPr>
            <p:cNvSpPr>
              <a:spLocks/>
            </p:cNvSpPr>
            <p:nvPr/>
          </p:nvSpPr>
          <p:spPr bwMode="auto">
            <a:xfrm>
              <a:off x="9969501" y="1501776"/>
              <a:ext cx="47625" cy="46038"/>
            </a:xfrm>
            <a:custGeom>
              <a:avLst/>
              <a:gdLst>
                <a:gd name="T0" fmla="*/ 21 w 30"/>
                <a:gd name="T1" fmla="*/ 29 h 29"/>
                <a:gd name="T2" fmla="*/ 21 w 30"/>
                <a:gd name="T3" fmla="*/ 29 h 29"/>
                <a:gd name="T4" fmla="*/ 0 w 30"/>
                <a:gd name="T5" fmla="*/ 22 h 29"/>
                <a:gd name="T6" fmla="*/ 8 w 30"/>
                <a:gd name="T7" fmla="*/ 0 h 29"/>
                <a:gd name="T8" fmla="*/ 8 w 30"/>
                <a:gd name="T9" fmla="*/ 0 h 29"/>
                <a:gd name="T10" fmla="*/ 30 w 30"/>
                <a:gd name="T11" fmla="*/ 7 h 29"/>
                <a:gd name="T12" fmla="*/ 21 w 30"/>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30" h="29">
                  <a:moveTo>
                    <a:pt x="21" y="29"/>
                  </a:moveTo>
                  <a:lnTo>
                    <a:pt x="21" y="29"/>
                  </a:lnTo>
                  <a:lnTo>
                    <a:pt x="0" y="22"/>
                  </a:lnTo>
                  <a:lnTo>
                    <a:pt x="8" y="0"/>
                  </a:lnTo>
                  <a:lnTo>
                    <a:pt x="8" y="0"/>
                  </a:lnTo>
                  <a:lnTo>
                    <a:pt x="30" y="7"/>
                  </a:lnTo>
                  <a:lnTo>
                    <a:pt x="21"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88" name="Freeform 131">
              <a:extLst>
                <a:ext uri="{FF2B5EF4-FFF2-40B4-BE49-F238E27FC236}">
                  <a16:creationId xmlns:a16="http://schemas.microsoft.com/office/drawing/2014/main" id="{55A69AFC-61AC-4591-8A52-6E7C0592CDF7}"/>
                </a:ext>
              </a:extLst>
            </p:cNvPr>
            <p:cNvSpPr>
              <a:spLocks noEditPoints="1"/>
            </p:cNvSpPr>
            <p:nvPr/>
          </p:nvSpPr>
          <p:spPr bwMode="auto">
            <a:xfrm>
              <a:off x="10064751" y="1550988"/>
              <a:ext cx="165100" cy="200025"/>
            </a:xfrm>
            <a:custGeom>
              <a:avLst/>
              <a:gdLst>
                <a:gd name="T0" fmla="*/ 81 w 104"/>
                <a:gd name="T1" fmla="*/ 126 h 126"/>
                <a:gd name="T2" fmla="*/ 81 w 104"/>
                <a:gd name="T3" fmla="*/ 126 h 126"/>
                <a:gd name="T4" fmla="*/ 72 w 104"/>
                <a:gd name="T5" fmla="*/ 106 h 126"/>
                <a:gd name="T6" fmla="*/ 61 w 104"/>
                <a:gd name="T7" fmla="*/ 85 h 126"/>
                <a:gd name="T8" fmla="*/ 81 w 104"/>
                <a:gd name="T9" fmla="*/ 72 h 126"/>
                <a:gd name="T10" fmla="*/ 81 w 104"/>
                <a:gd name="T11" fmla="*/ 72 h 126"/>
                <a:gd name="T12" fmla="*/ 94 w 104"/>
                <a:gd name="T13" fmla="*/ 95 h 126"/>
                <a:gd name="T14" fmla="*/ 104 w 104"/>
                <a:gd name="T15" fmla="*/ 117 h 126"/>
                <a:gd name="T16" fmla="*/ 81 w 104"/>
                <a:gd name="T17" fmla="*/ 126 h 126"/>
                <a:gd name="T18" fmla="*/ 33 w 104"/>
                <a:gd name="T19" fmla="*/ 50 h 126"/>
                <a:gd name="T20" fmla="*/ 33 w 104"/>
                <a:gd name="T21" fmla="*/ 50 h 126"/>
                <a:gd name="T22" fmla="*/ 16 w 104"/>
                <a:gd name="T23" fmla="*/ 33 h 126"/>
                <a:gd name="T24" fmla="*/ 0 w 104"/>
                <a:gd name="T25" fmla="*/ 20 h 126"/>
                <a:gd name="T26" fmla="*/ 13 w 104"/>
                <a:gd name="T27" fmla="*/ 0 h 126"/>
                <a:gd name="T28" fmla="*/ 13 w 104"/>
                <a:gd name="T29" fmla="*/ 0 h 126"/>
                <a:gd name="T30" fmla="*/ 33 w 104"/>
                <a:gd name="T31" fmla="*/ 15 h 126"/>
                <a:gd name="T32" fmla="*/ 52 w 104"/>
                <a:gd name="T33" fmla="*/ 33 h 126"/>
                <a:gd name="T34" fmla="*/ 33 w 104"/>
                <a:gd name="T35"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26">
                  <a:moveTo>
                    <a:pt x="81" y="126"/>
                  </a:moveTo>
                  <a:lnTo>
                    <a:pt x="81" y="126"/>
                  </a:lnTo>
                  <a:lnTo>
                    <a:pt x="72" y="106"/>
                  </a:lnTo>
                  <a:lnTo>
                    <a:pt x="61" y="85"/>
                  </a:lnTo>
                  <a:lnTo>
                    <a:pt x="81" y="72"/>
                  </a:lnTo>
                  <a:lnTo>
                    <a:pt x="81" y="72"/>
                  </a:lnTo>
                  <a:lnTo>
                    <a:pt x="94" y="95"/>
                  </a:lnTo>
                  <a:lnTo>
                    <a:pt x="104" y="117"/>
                  </a:lnTo>
                  <a:lnTo>
                    <a:pt x="81" y="126"/>
                  </a:lnTo>
                  <a:close/>
                  <a:moveTo>
                    <a:pt x="33" y="50"/>
                  </a:moveTo>
                  <a:lnTo>
                    <a:pt x="33" y="50"/>
                  </a:lnTo>
                  <a:lnTo>
                    <a:pt x="16" y="33"/>
                  </a:lnTo>
                  <a:lnTo>
                    <a:pt x="0" y="20"/>
                  </a:lnTo>
                  <a:lnTo>
                    <a:pt x="13" y="0"/>
                  </a:lnTo>
                  <a:lnTo>
                    <a:pt x="13" y="0"/>
                  </a:lnTo>
                  <a:lnTo>
                    <a:pt x="33" y="15"/>
                  </a:lnTo>
                  <a:lnTo>
                    <a:pt x="52" y="33"/>
                  </a:lnTo>
                  <a:lnTo>
                    <a:pt x="33"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89" name="Freeform 132">
              <a:extLst>
                <a:ext uri="{FF2B5EF4-FFF2-40B4-BE49-F238E27FC236}">
                  <a16:creationId xmlns:a16="http://schemas.microsoft.com/office/drawing/2014/main" id="{F4D86141-58ED-412A-A8D3-A25BD405132D}"/>
                </a:ext>
              </a:extLst>
            </p:cNvPr>
            <p:cNvSpPr>
              <a:spLocks noEditPoints="1"/>
            </p:cNvSpPr>
            <p:nvPr/>
          </p:nvSpPr>
          <p:spPr bwMode="auto">
            <a:xfrm>
              <a:off x="9817101" y="1812926"/>
              <a:ext cx="447675" cy="627063"/>
            </a:xfrm>
            <a:custGeom>
              <a:avLst/>
              <a:gdLst>
                <a:gd name="T0" fmla="*/ 0 w 282"/>
                <a:gd name="T1" fmla="*/ 395 h 395"/>
                <a:gd name="T2" fmla="*/ 0 w 282"/>
                <a:gd name="T3" fmla="*/ 370 h 395"/>
                <a:gd name="T4" fmla="*/ 0 w 282"/>
                <a:gd name="T5" fmla="*/ 370 h 395"/>
                <a:gd name="T6" fmla="*/ 22 w 282"/>
                <a:gd name="T7" fmla="*/ 369 h 395"/>
                <a:gd name="T8" fmla="*/ 45 w 282"/>
                <a:gd name="T9" fmla="*/ 365 h 395"/>
                <a:gd name="T10" fmla="*/ 50 w 282"/>
                <a:gd name="T11" fmla="*/ 389 h 395"/>
                <a:gd name="T12" fmla="*/ 50 w 282"/>
                <a:gd name="T13" fmla="*/ 389 h 395"/>
                <a:gd name="T14" fmla="*/ 26 w 282"/>
                <a:gd name="T15" fmla="*/ 393 h 395"/>
                <a:gd name="T16" fmla="*/ 0 w 282"/>
                <a:gd name="T17" fmla="*/ 395 h 395"/>
                <a:gd name="T18" fmla="*/ 0 w 282"/>
                <a:gd name="T19" fmla="*/ 395 h 395"/>
                <a:gd name="T20" fmla="*/ 96 w 282"/>
                <a:gd name="T21" fmla="*/ 372 h 395"/>
                <a:gd name="T22" fmla="*/ 87 w 282"/>
                <a:gd name="T23" fmla="*/ 350 h 395"/>
                <a:gd name="T24" fmla="*/ 87 w 282"/>
                <a:gd name="T25" fmla="*/ 350 h 395"/>
                <a:gd name="T26" fmla="*/ 108 w 282"/>
                <a:gd name="T27" fmla="*/ 341 h 395"/>
                <a:gd name="T28" fmla="*/ 126 w 282"/>
                <a:gd name="T29" fmla="*/ 328 h 395"/>
                <a:gd name="T30" fmla="*/ 141 w 282"/>
                <a:gd name="T31" fmla="*/ 348 h 395"/>
                <a:gd name="T32" fmla="*/ 141 w 282"/>
                <a:gd name="T33" fmla="*/ 348 h 395"/>
                <a:gd name="T34" fmla="*/ 119 w 282"/>
                <a:gd name="T35" fmla="*/ 361 h 395"/>
                <a:gd name="T36" fmla="*/ 96 w 282"/>
                <a:gd name="T37" fmla="*/ 372 h 395"/>
                <a:gd name="T38" fmla="*/ 96 w 282"/>
                <a:gd name="T39" fmla="*/ 372 h 395"/>
                <a:gd name="T40" fmla="*/ 178 w 282"/>
                <a:gd name="T41" fmla="*/ 317 h 395"/>
                <a:gd name="T42" fmla="*/ 161 w 282"/>
                <a:gd name="T43" fmla="*/ 298 h 395"/>
                <a:gd name="T44" fmla="*/ 161 w 282"/>
                <a:gd name="T45" fmla="*/ 298 h 395"/>
                <a:gd name="T46" fmla="*/ 178 w 282"/>
                <a:gd name="T47" fmla="*/ 282 h 395"/>
                <a:gd name="T48" fmla="*/ 193 w 282"/>
                <a:gd name="T49" fmla="*/ 265 h 395"/>
                <a:gd name="T50" fmla="*/ 211 w 282"/>
                <a:gd name="T51" fmla="*/ 280 h 395"/>
                <a:gd name="T52" fmla="*/ 211 w 282"/>
                <a:gd name="T53" fmla="*/ 280 h 395"/>
                <a:gd name="T54" fmla="*/ 197 w 282"/>
                <a:gd name="T55" fmla="*/ 298 h 395"/>
                <a:gd name="T56" fmla="*/ 178 w 282"/>
                <a:gd name="T57" fmla="*/ 317 h 395"/>
                <a:gd name="T58" fmla="*/ 178 w 282"/>
                <a:gd name="T59" fmla="*/ 317 h 395"/>
                <a:gd name="T60" fmla="*/ 239 w 282"/>
                <a:gd name="T61" fmla="*/ 237 h 395"/>
                <a:gd name="T62" fmla="*/ 217 w 282"/>
                <a:gd name="T63" fmla="*/ 226 h 395"/>
                <a:gd name="T64" fmla="*/ 217 w 282"/>
                <a:gd name="T65" fmla="*/ 226 h 395"/>
                <a:gd name="T66" fmla="*/ 228 w 282"/>
                <a:gd name="T67" fmla="*/ 206 h 395"/>
                <a:gd name="T68" fmla="*/ 235 w 282"/>
                <a:gd name="T69" fmla="*/ 185 h 395"/>
                <a:gd name="T70" fmla="*/ 260 w 282"/>
                <a:gd name="T71" fmla="*/ 193 h 395"/>
                <a:gd name="T72" fmla="*/ 260 w 282"/>
                <a:gd name="T73" fmla="*/ 193 h 395"/>
                <a:gd name="T74" fmla="*/ 250 w 282"/>
                <a:gd name="T75" fmla="*/ 217 h 395"/>
                <a:gd name="T76" fmla="*/ 239 w 282"/>
                <a:gd name="T77" fmla="*/ 237 h 395"/>
                <a:gd name="T78" fmla="*/ 239 w 282"/>
                <a:gd name="T79" fmla="*/ 237 h 395"/>
                <a:gd name="T80" fmla="*/ 273 w 282"/>
                <a:gd name="T81" fmla="*/ 146 h 395"/>
                <a:gd name="T82" fmla="*/ 248 w 282"/>
                <a:gd name="T83" fmla="*/ 141 h 395"/>
                <a:gd name="T84" fmla="*/ 248 w 282"/>
                <a:gd name="T85" fmla="*/ 141 h 395"/>
                <a:gd name="T86" fmla="*/ 254 w 282"/>
                <a:gd name="T87" fmla="*/ 119 h 395"/>
                <a:gd name="T88" fmla="*/ 256 w 282"/>
                <a:gd name="T89" fmla="*/ 94 h 395"/>
                <a:gd name="T90" fmla="*/ 280 w 282"/>
                <a:gd name="T91" fmla="*/ 98 h 395"/>
                <a:gd name="T92" fmla="*/ 280 w 282"/>
                <a:gd name="T93" fmla="*/ 98 h 395"/>
                <a:gd name="T94" fmla="*/ 278 w 282"/>
                <a:gd name="T95" fmla="*/ 122 h 395"/>
                <a:gd name="T96" fmla="*/ 273 w 282"/>
                <a:gd name="T97" fmla="*/ 146 h 395"/>
                <a:gd name="T98" fmla="*/ 273 w 282"/>
                <a:gd name="T99" fmla="*/ 146 h 395"/>
                <a:gd name="T100" fmla="*/ 258 w 282"/>
                <a:gd name="T101" fmla="*/ 50 h 395"/>
                <a:gd name="T102" fmla="*/ 258 w 282"/>
                <a:gd name="T103" fmla="*/ 50 h 395"/>
                <a:gd name="T104" fmla="*/ 254 w 282"/>
                <a:gd name="T105" fmla="*/ 26 h 395"/>
                <a:gd name="T106" fmla="*/ 250 w 282"/>
                <a:gd name="T107" fmla="*/ 4 h 395"/>
                <a:gd name="T108" fmla="*/ 274 w 282"/>
                <a:gd name="T109" fmla="*/ 0 h 395"/>
                <a:gd name="T110" fmla="*/ 274 w 282"/>
                <a:gd name="T111" fmla="*/ 0 h 395"/>
                <a:gd name="T112" fmla="*/ 278 w 282"/>
                <a:gd name="T113" fmla="*/ 24 h 395"/>
                <a:gd name="T114" fmla="*/ 282 w 282"/>
                <a:gd name="T115" fmla="*/ 48 h 395"/>
                <a:gd name="T116" fmla="*/ 258 w 282"/>
                <a:gd name="T117" fmla="*/ 5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 h="395">
                  <a:moveTo>
                    <a:pt x="0" y="395"/>
                  </a:moveTo>
                  <a:lnTo>
                    <a:pt x="0" y="370"/>
                  </a:lnTo>
                  <a:lnTo>
                    <a:pt x="0" y="370"/>
                  </a:lnTo>
                  <a:lnTo>
                    <a:pt x="22" y="369"/>
                  </a:lnTo>
                  <a:lnTo>
                    <a:pt x="45" y="365"/>
                  </a:lnTo>
                  <a:lnTo>
                    <a:pt x="50" y="389"/>
                  </a:lnTo>
                  <a:lnTo>
                    <a:pt x="50" y="389"/>
                  </a:lnTo>
                  <a:lnTo>
                    <a:pt x="26" y="393"/>
                  </a:lnTo>
                  <a:lnTo>
                    <a:pt x="0" y="395"/>
                  </a:lnTo>
                  <a:lnTo>
                    <a:pt x="0" y="395"/>
                  </a:lnTo>
                  <a:close/>
                  <a:moveTo>
                    <a:pt x="96" y="372"/>
                  </a:moveTo>
                  <a:lnTo>
                    <a:pt x="87" y="350"/>
                  </a:lnTo>
                  <a:lnTo>
                    <a:pt x="87" y="350"/>
                  </a:lnTo>
                  <a:lnTo>
                    <a:pt x="108" y="341"/>
                  </a:lnTo>
                  <a:lnTo>
                    <a:pt x="126" y="328"/>
                  </a:lnTo>
                  <a:lnTo>
                    <a:pt x="141" y="348"/>
                  </a:lnTo>
                  <a:lnTo>
                    <a:pt x="141" y="348"/>
                  </a:lnTo>
                  <a:lnTo>
                    <a:pt x="119" y="361"/>
                  </a:lnTo>
                  <a:lnTo>
                    <a:pt x="96" y="372"/>
                  </a:lnTo>
                  <a:lnTo>
                    <a:pt x="96" y="372"/>
                  </a:lnTo>
                  <a:close/>
                  <a:moveTo>
                    <a:pt x="178" y="317"/>
                  </a:moveTo>
                  <a:lnTo>
                    <a:pt x="161" y="298"/>
                  </a:lnTo>
                  <a:lnTo>
                    <a:pt x="161" y="298"/>
                  </a:lnTo>
                  <a:lnTo>
                    <a:pt x="178" y="282"/>
                  </a:lnTo>
                  <a:lnTo>
                    <a:pt x="193" y="265"/>
                  </a:lnTo>
                  <a:lnTo>
                    <a:pt x="211" y="280"/>
                  </a:lnTo>
                  <a:lnTo>
                    <a:pt x="211" y="280"/>
                  </a:lnTo>
                  <a:lnTo>
                    <a:pt x="197" y="298"/>
                  </a:lnTo>
                  <a:lnTo>
                    <a:pt x="178" y="317"/>
                  </a:lnTo>
                  <a:lnTo>
                    <a:pt x="178" y="317"/>
                  </a:lnTo>
                  <a:close/>
                  <a:moveTo>
                    <a:pt x="239" y="237"/>
                  </a:moveTo>
                  <a:lnTo>
                    <a:pt x="217" y="226"/>
                  </a:lnTo>
                  <a:lnTo>
                    <a:pt x="217" y="226"/>
                  </a:lnTo>
                  <a:lnTo>
                    <a:pt x="228" y="206"/>
                  </a:lnTo>
                  <a:lnTo>
                    <a:pt x="235" y="185"/>
                  </a:lnTo>
                  <a:lnTo>
                    <a:pt x="260" y="193"/>
                  </a:lnTo>
                  <a:lnTo>
                    <a:pt x="260" y="193"/>
                  </a:lnTo>
                  <a:lnTo>
                    <a:pt x="250" y="217"/>
                  </a:lnTo>
                  <a:lnTo>
                    <a:pt x="239" y="237"/>
                  </a:lnTo>
                  <a:lnTo>
                    <a:pt x="239" y="237"/>
                  </a:lnTo>
                  <a:close/>
                  <a:moveTo>
                    <a:pt x="273" y="146"/>
                  </a:moveTo>
                  <a:lnTo>
                    <a:pt x="248" y="141"/>
                  </a:lnTo>
                  <a:lnTo>
                    <a:pt x="248" y="141"/>
                  </a:lnTo>
                  <a:lnTo>
                    <a:pt x="254" y="119"/>
                  </a:lnTo>
                  <a:lnTo>
                    <a:pt x="256" y="94"/>
                  </a:lnTo>
                  <a:lnTo>
                    <a:pt x="280" y="98"/>
                  </a:lnTo>
                  <a:lnTo>
                    <a:pt x="280" y="98"/>
                  </a:lnTo>
                  <a:lnTo>
                    <a:pt x="278" y="122"/>
                  </a:lnTo>
                  <a:lnTo>
                    <a:pt x="273" y="146"/>
                  </a:lnTo>
                  <a:lnTo>
                    <a:pt x="273" y="146"/>
                  </a:lnTo>
                  <a:close/>
                  <a:moveTo>
                    <a:pt x="258" y="50"/>
                  </a:moveTo>
                  <a:lnTo>
                    <a:pt x="258" y="50"/>
                  </a:lnTo>
                  <a:lnTo>
                    <a:pt x="254" y="26"/>
                  </a:lnTo>
                  <a:lnTo>
                    <a:pt x="250" y="4"/>
                  </a:lnTo>
                  <a:lnTo>
                    <a:pt x="274" y="0"/>
                  </a:lnTo>
                  <a:lnTo>
                    <a:pt x="274" y="0"/>
                  </a:lnTo>
                  <a:lnTo>
                    <a:pt x="278" y="24"/>
                  </a:lnTo>
                  <a:lnTo>
                    <a:pt x="282" y="48"/>
                  </a:lnTo>
                  <a:lnTo>
                    <a:pt x="258"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0" name="Freeform 133">
              <a:extLst>
                <a:ext uri="{FF2B5EF4-FFF2-40B4-BE49-F238E27FC236}">
                  <a16:creationId xmlns:a16="http://schemas.microsoft.com/office/drawing/2014/main" id="{E6F2F76F-FA52-4E05-B34A-AB63237185EF}"/>
                </a:ext>
              </a:extLst>
            </p:cNvPr>
            <p:cNvSpPr>
              <a:spLocks/>
            </p:cNvSpPr>
            <p:nvPr/>
          </p:nvSpPr>
          <p:spPr bwMode="auto">
            <a:xfrm>
              <a:off x="9702801" y="2389188"/>
              <a:ext cx="44450" cy="44450"/>
            </a:xfrm>
            <a:custGeom>
              <a:avLst/>
              <a:gdLst>
                <a:gd name="T0" fmla="*/ 22 w 28"/>
                <a:gd name="T1" fmla="*/ 28 h 28"/>
                <a:gd name="T2" fmla="*/ 22 w 28"/>
                <a:gd name="T3" fmla="*/ 28 h 28"/>
                <a:gd name="T4" fmla="*/ 0 w 28"/>
                <a:gd name="T5" fmla="*/ 22 h 28"/>
                <a:gd name="T6" fmla="*/ 7 w 28"/>
                <a:gd name="T7" fmla="*/ 0 h 28"/>
                <a:gd name="T8" fmla="*/ 7 w 28"/>
                <a:gd name="T9" fmla="*/ 0 h 28"/>
                <a:gd name="T10" fmla="*/ 28 w 28"/>
                <a:gd name="T11" fmla="*/ 4 h 28"/>
                <a:gd name="T12" fmla="*/ 22 w 28"/>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22" y="28"/>
                  </a:moveTo>
                  <a:lnTo>
                    <a:pt x="22" y="28"/>
                  </a:lnTo>
                  <a:lnTo>
                    <a:pt x="0" y="22"/>
                  </a:lnTo>
                  <a:lnTo>
                    <a:pt x="7" y="0"/>
                  </a:lnTo>
                  <a:lnTo>
                    <a:pt x="7" y="0"/>
                  </a:lnTo>
                  <a:lnTo>
                    <a:pt x="28" y="4"/>
                  </a:lnTo>
                  <a:lnTo>
                    <a:pt x="22"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1" name="Freeform 135">
              <a:extLst>
                <a:ext uri="{FF2B5EF4-FFF2-40B4-BE49-F238E27FC236}">
                  <a16:creationId xmlns:a16="http://schemas.microsoft.com/office/drawing/2014/main" id="{65AEDF6E-2690-4040-9F93-27002D87448C}"/>
                </a:ext>
              </a:extLst>
            </p:cNvPr>
            <p:cNvSpPr>
              <a:spLocks noEditPoints="1"/>
            </p:cNvSpPr>
            <p:nvPr/>
          </p:nvSpPr>
          <p:spPr bwMode="auto">
            <a:xfrm>
              <a:off x="10641013" y="5106988"/>
              <a:ext cx="82550" cy="179388"/>
            </a:xfrm>
            <a:custGeom>
              <a:avLst/>
              <a:gdLst>
                <a:gd name="T0" fmla="*/ 30 w 52"/>
                <a:gd name="T1" fmla="*/ 113 h 113"/>
                <a:gd name="T2" fmla="*/ 30 w 52"/>
                <a:gd name="T3" fmla="*/ 113 h 113"/>
                <a:gd name="T4" fmla="*/ 28 w 52"/>
                <a:gd name="T5" fmla="*/ 96 h 113"/>
                <a:gd name="T6" fmla="*/ 24 w 52"/>
                <a:gd name="T7" fmla="*/ 78 h 113"/>
                <a:gd name="T8" fmla="*/ 46 w 52"/>
                <a:gd name="T9" fmla="*/ 72 h 113"/>
                <a:gd name="T10" fmla="*/ 46 w 52"/>
                <a:gd name="T11" fmla="*/ 72 h 113"/>
                <a:gd name="T12" fmla="*/ 50 w 52"/>
                <a:gd name="T13" fmla="*/ 93 h 113"/>
                <a:gd name="T14" fmla="*/ 52 w 52"/>
                <a:gd name="T15" fmla="*/ 111 h 113"/>
                <a:gd name="T16" fmla="*/ 30 w 52"/>
                <a:gd name="T17" fmla="*/ 113 h 113"/>
                <a:gd name="T18" fmla="*/ 15 w 52"/>
                <a:gd name="T19" fmla="*/ 43 h 113"/>
                <a:gd name="T20" fmla="*/ 15 w 52"/>
                <a:gd name="T21" fmla="*/ 43 h 113"/>
                <a:gd name="T22" fmla="*/ 0 w 52"/>
                <a:gd name="T23" fmla="*/ 9 h 113"/>
                <a:gd name="T24" fmla="*/ 22 w 52"/>
                <a:gd name="T25" fmla="*/ 0 h 113"/>
                <a:gd name="T26" fmla="*/ 22 w 52"/>
                <a:gd name="T27" fmla="*/ 0 h 113"/>
                <a:gd name="T28" fmla="*/ 30 w 52"/>
                <a:gd name="T29" fmla="*/ 17 h 113"/>
                <a:gd name="T30" fmla="*/ 37 w 52"/>
                <a:gd name="T31" fmla="*/ 35 h 113"/>
                <a:gd name="T32" fmla="*/ 15 w 52"/>
                <a:gd name="T33"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113">
                  <a:moveTo>
                    <a:pt x="30" y="113"/>
                  </a:moveTo>
                  <a:lnTo>
                    <a:pt x="30" y="113"/>
                  </a:lnTo>
                  <a:lnTo>
                    <a:pt x="28" y="96"/>
                  </a:lnTo>
                  <a:lnTo>
                    <a:pt x="24" y="78"/>
                  </a:lnTo>
                  <a:lnTo>
                    <a:pt x="46" y="72"/>
                  </a:lnTo>
                  <a:lnTo>
                    <a:pt x="46" y="72"/>
                  </a:lnTo>
                  <a:lnTo>
                    <a:pt x="50" y="93"/>
                  </a:lnTo>
                  <a:lnTo>
                    <a:pt x="52" y="111"/>
                  </a:lnTo>
                  <a:lnTo>
                    <a:pt x="30" y="113"/>
                  </a:lnTo>
                  <a:close/>
                  <a:moveTo>
                    <a:pt x="15" y="43"/>
                  </a:moveTo>
                  <a:lnTo>
                    <a:pt x="15" y="43"/>
                  </a:lnTo>
                  <a:lnTo>
                    <a:pt x="0" y="9"/>
                  </a:lnTo>
                  <a:lnTo>
                    <a:pt x="22" y="0"/>
                  </a:lnTo>
                  <a:lnTo>
                    <a:pt x="22" y="0"/>
                  </a:lnTo>
                  <a:lnTo>
                    <a:pt x="30" y="17"/>
                  </a:lnTo>
                  <a:lnTo>
                    <a:pt x="37" y="35"/>
                  </a:lnTo>
                  <a:lnTo>
                    <a:pt x="15"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2" name="Freeform 136">
              <a:extLst>
                <a:ext uri="{FF2B5EF4-FFF2-40B4-BE49-F238E27FC236}">
                  <a16:creationId xmlns:a16="http://schemas.microsoft.com/office/drawing/2014/main" id="{A4699703-DBAC-4256-91AC-662E1C9DEBB1}"/>
                </a:ext>
              </a:extLst>
            </p:cNvPr>
            <p:cNvSpPr>
              <a:spLocks noEditPoints="1"/>
            </p:cNvSpPr>
            <p:nvPr/>
          </p:nvSpPr>
          <p:spPr bwMode="auto">
            <a:xfrm>
              <a:off x="10293351" y="5345113"/>
              <a:ext cx="433388" cy="458788"/>
            </a:xfrm>
            <a:custGeom>
              <a:avLst/>
              <a:gdLst>
                <a:gd name="T0" fmla="*/ 4 w 273"/>
                <a:gd name="T1" fmla="*/ 289 h 289"/>
                <a:gd name="T2" fmla="*/ 0 w 273"/>
                <a:gd name="T3" fmla="*/ 265 h 289"/>
                <a:gd name="T4" fmla="*/ 0 w 273"/>
                <a:gd name="T5" fmla="*/ 265 h 289"/>
                <a:gd name="T6" fmla="*/ 19 w 273"/>
                <a:gd name="T7" fmla="*/ 263 h 289"/>
                <a:gd name="T8" fmla="*/ 37 w 273"/>
                <a:gd name="T9" fmla="*/ 259 h 289"/>
                <a:gd name="T10" fmla="*/ 41 w 273"/>
                <a:gd name="T11" fmla="*/ 282 h 289"/>
                <a:gd name="T12" fmla="*/ 41 w 273"/>
                <a:gd name="T13" fmla="*/ 282 h 289"/>
                <a:gd name="T14" fmla="*/ 23 w 273"/>
                <a:gd name="T15" fmla="*/ 285 h 289"/>
                <a:gd name="T16" fmla="*/ 4 w 273"/>
                <a:gd name="T17" fmla="*/ 289 h 289"/>
                <a:gd name="T18" fmla="*/ 4 w 273"/>
                <a:gd name="T19" fmla="*/ 289 h 289"/>
                <a:gd name="T20" fmla="*/ 80 w 273"/>
                <a:gd name="T21" fmla="*/ 271 h 289"/>
                <a:gd name="T22" fmla="*/ 71 w 273"/>
                <a:gd name="T23" fmla="*/ 248 h 289"/>
                <a:gd name="T24" fmla="*/ 71 w 273"/>
                <a:gd name="T25" fmla="*/ 248 h 289"/>
                <a:gd name="T26" fmla="*/ 87 w 273"/>
                <a:gd name="T27" fmla="*/ 243 h 289"/>
                <a:gd name="T28" fmla="*/ 104 w 273"/>
                <a:gd name="T29" fmla="*/ 235 h 289"/>
                <a:gd name="T30" fmla="*/ 115 w 273"/>
                <a:gd name="T31" fmla="*/ 256 h 289"/>
                <a:gd name="T32" fmla="*/ 115 w 273"/>
                <a:gd name="T33" fmla="*/ 256 h 289"/>
                <a:gd name="T34" fmla="*/ 99 w 273"/>
                <a:gd name="T35" fmla="*/ 263 h 289"/>
                <a:gd name="T36" fmla="*/ 80 w 273"/>
                <a:gd name="T37" fmla="*/ 271 h 289"/>
                <a:gd name="T38" fmla="*/ 80 w 273"/>
                <a:gd name="T39" fmla="*/ 271 h 289"/>
                <a:gd name="T40" fmla="*/ 149 w 273"/>
                <a:gd name="T41" fmla="*/ 233 h 289"/>
                <a:gd name="T42" fmla="*/ 136 w 273"/>
                <a:gd name="T43" fmla="*/ 215 h 289"/>
                <a:gd name="T44" fmla="*/ 136 w 273"/>
                <a:gd name="T45" fmla="*/ 215 h 289"/>
                <a:gd name="T46" fmla="*/ 139 w 273"/>
                <a:gd name="T47" fmla="*/ 213 h 289"/>
                <a:gd name="T48" fmla="*/ 139 w 273"/>
                <a:gd name="T49" fmla="*/ 213 h 289"/>
                <a:gd name="T50" fmla="*/ 163 w 273"/>
                <a:gd name="T51" fmla="*/ 193 h 289"/>
                <a:gd name="T52" fmla="*/ 178 w 273"/>
                <a:gd name="T53" fmla="*/ 209 h 289"/>
                <a:gd name="T54" fmla="*/ 178 w 273"/>
                <a:gd name="T55" fmla="*/ 209 h 289"/>
                <a:gd name="T56" fmla="*/ 152 w 273"/>
                <a:gd name="T57" fmla="*/ 232 h 289"/>
                <a:gd name="T58" fmla="*/ 152 w 273"/>
                <a:gd name="T59" fmla="*/ 232 h 289"/>
                <a:gd name="T60" fmla="*/ 149 w 273"/>
                <a:gd name="T61" fmla="*/ 233 h 289"/>
                <a:gd name="T62" fmla="*/ 149 w 273"/>
                <a:gd name="T63" fmla="*/ 233 h 289"/>
                <a:gd name="T64" fmla="*/ 206 w 273"/>
                <a:gd name="T65" fmla="*/ 182 h 289"/>
                <a:gd name="T66" fmla="*/ 187 w 273"/>
                <a:gd name="T67" fmla="*/ 167 h 289"/>
                <a:gd name="T68" fmla="*/ 187 w 273"/>
                <a:gd name="T69" fmla="*/ 167 h 289"/>
                <a:gd name="T70" fmla="*/ 199 w 273"/>
                <a:gd name="T71" fmla="*/ 152 h 289"/>
                <a:gd name="T72" fmla="*/ 208 w 273"/>
                <a:gd name="T73" fmla="*/ 137 h 289"/>
                <a:gd name="T74" fmla="*/ 228 w 273"/>
                <a:gd name="T75" fmla="*/ 148 h 289"/>
                <a:gd name="T76" fmla="*/ 228 w 273"/>
                <a:gd name="T77" fmla="*/ 148 h 289"/>
                <a:gd name="T78" fmla="*/ 217 w 273"/>
                <a:gd name="T79" fmla="*/ 165 h 289"/>
                <a:gd name="T80" fmla="*/ 206 w 273"/>
                <a:gd name="T81" fmla="*/ 182 h 289"/>
                <a:gd name="T82" fmla="*/ 206 w 273"/>
                <a:gd name="T83" fmla="*/ 182 h 289"/>
                <a:gd name="T84" fmla="*/ 247 w 273"/>
                <a:gd name="T85" fmla="*/ 115 h 289"/>
                <a:gd name="T86" fmla="*/ 224 w 273"/>
                <a:gd name="T87" fmla="*/ 106 h 289"/>
                <a:gd name="T88" fmla="*/ 224 w 273"/>
                <a:gd name="T89" fmla="*/ 106 h 289"/>
                <a:gd name="T90" fmla="*/ 232 w 273"/>
                <a:gd name="T91" fmla="*/ 89 h 289"/>
                <a:gd name="T92" fmla="*/ 237 w 273"/>
                <a:gd name="T93" fmla="*/ 70 h 289"/>
                <a:gd name="T94" fmla="*/ 260 w 273"/>
                <a:gd name="T95" fmla="*/ 78 h 289"/>
                <a:gd name="T96" fmla="*/ 260 w 273"/>
                <a:gd name="T97" fmla="*/ 78 h 289"/>
                <a:gd name="T98" fmla="*/ 254 w 273"/>
                <a:gd name="T99" fmla="*/ 96 h 289"/>
                <a:gd name="T100" fmla="*/ 247 w 273"/>
                <a:gd name="T101" fmla="*/ 115 h 289"/>
                <a:gd name="T102" fmla="*/ 247 w 273"/>
                <a:gd name="T103" fmla="*/ 115 h 289"/>
                <a:gd name="T104" fmla="*/ 269 w 273"/>
                <a:gd name="T105" fmla="*/ 39 h 289"/>
                <a:gd name="T106" fmla="*/ 245 w 273"/>
                <a:gd name="T107" fmla="*/ 35 h 289"/>
                <a:gd name="T108" fmla="*/ 245 w 273"/>
                <a:gd name="T109" fmla="*/ 35 h 289"/>
                <a:gd name="T110" fmla="*/ 249 w 273"/>
                <a:gd name="T111" fmla="*/ 19 h 289"/>
                <a:gd name="T112" fmla="*/ 249 w 273"/>
                <a:gd name="T113" fmla="*/ 0 h 289"/>
                <a:gd name="T114" fmla="*/ 273 w 273"/>
                <a:gd name="T115" fmla="*/ 0 h 289"/>
                <a:gd name="T116" fmla="*/ 273 w 273"/>
                <a:gd name="T117" fmla="*/ 0 h 289"/>
                <a:gd name="T118" fmla="*/ 271 w 273"/>
                <a:gd name="T119" fmla="*/ 20 h 289"/>
                <a:gd name="T120" fmla="*/ 269 w 273"/>
                <a:gd name="T121" fmla="*/ 39 h 289"/>
                <a:gd name="T122" fmla="*/ 269 w 273"/>
                <a:gd name="T123" fmla="*/ 3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 h="289">
                  <a:moveTo>
                    <a:pt x="4" y="289"/>
                  </a:moveTo>
                  <a:lnTo>
                    <a:pt x="0" y="265"/>
                  </a:lnTo>
                  <a:lnTo>
                    <a:pt x="0" y="265"/>
                  </a:lnTo>
                  <a:lnTo>
                    <a:pt x="19" y="263"/>
                  </a:lnTo>
                  <a:lnTo>
                    <a:pt x="37" y="259"/>
                  </a:lnTo>
                  <a:lnTo>
                    <a:pt x="41" y="282"/>
                  </a:lnTo>
                  <a:lnTo>
                    <a:pt x="41" y="282"/>
                  </a:lnTo>
                  <a:lnTo>
                    <a:pt x="23" y="285"/>
                  </a:lnTo>
                  <a:lnTo>
                    <a:pt x="4" y="289"/>
                  </a:lnTo>
                  <a:lnTo>
                    <a:pt x="4" y="289"/>
                  </a:lnTo>
                  <a:close/>
                  <a:moveTo>
                    <a:pt x="80" y="271"/>
                  </a:moveTo>
                  <a:lnTo>
                    <a:pt x="71" y="248"/>
                  </a:lnTo>
                  <a:lnTo>
                    <a:pt x="71" y="248"/>
                  </a:lnTo>
                  <a:lnTo>
                    <a:pt x="87" y="243"/>
                  </a:lnTo>
                  <a:lnTo>
                    <a:pt x="104" y="235"/>
                  </a:lnTo>
                  <a:lnTo>
                    <a:pt x="115" y="256"/>
                  </a:lnTo>
                  <a:lnTo>
                    <a:pt x="115" y="256"/>
                  </a:lnTo>
                  <a:lnTo>
                    <a:pt x="99" y="263"/>
                  </a:lnTo>
                  <a:lnTo>
                    <a:pt x="80" y="271"/>
                  </a:lnTo>
                  <a:lnTo>
                    <a:pt x="80" y="271"/>
                  </a:lnTo>
                  <a:close/>
                  <a:moveTo>
                    <a:pt x="149" y="233"/>
                  </a:moveTo>
                  <a:lnTo>
                    <a:pt x="136" y="215"/>
                  </a:lnTo>
                  <a:lnTo>
                    <a:pt x="136" y="215"/>
                  </a:lnTo>
                  <a:lnTo>
                    <a:pt x="139" y="213"/>
                  </a:lnTo>
                  <a:lnTo>
                    <a:pt x="139" y="213"/>
                  </a:lnTo>
                  <a:lnTo>
                    <a:pt x="163" y="193"/>
                  </a:lnTo>
                  <a:lnTo>
                    <a:pt x="178" y="209"/>
                  </a:lnTo>
                  <a:lnTo>
                    <a:pt x="178" y="209"/>
                  </a:lnTo>
                  <a:lnTo>
                    <a:pt x="152" y="232"/>
                  </a:lnTo>
                  <a:lnTo>
                    <a:pt x="152" y="232"/>
                  </a:lnTo>
                  <a:lnTo>
                    <a:pt x="149" y="233"/>
                  </a:lnTo>
                  <a:lnTo>
                    <a:pt x="149" y="233"/>
                  </a:lnTo>
                  <a:close/>
                  <a:moveTo>
                    <a:pt x="206" y="182"/>
                  </a:moveTo>
                  <a:lnTo>
                    <a:pt x="187" y="167"/>
                  </a:lnTo>
                  <a:lnTo>
                    <a:pt x="187" y="167"/>
                  </a:lnTo>
                  <a:lnTo>
                    <a:pt x="199" y="152"/>
                  </a:lnTo>
                  <a:lnTo>
                    <a:pt x="208" y="137"/>
                  </a:lnTo>
                  <a:lnTo>
                    <a:pt x="228" y="148"/>
                  </a:lnTo>
                  <a:lnTo>
                    <a:pt x="228" y="148"/>
                  </a:lnTo>
                  <a:lnTo>
                    <a:pt x="217" y="165"/>
                  </a:lnTo>
                  <a:lnTo>
                    <a:pt x="206" y="182"/>
                  </a:lnTo>
                  <a:lnTo>
                    <a:pt x="206" y="182"/>
                  </a:lnTo>
                  <a:close/>
                  <a:moveTo>
                    <a:pt x="247" y="115"/>
                  </a:moveTo>
                  <a:lnTo>
                    <a:pt x="224" y="106"/>
                  </a:lnTo>
                  <a:lnTo>
                    <a:pt x="224" y="106"/>
                  </a:lnTo>
                  <a:lnTo>
                    <a:pt x="232" y="89"/>
                  </a:lnTo>
                  <a:lnTo>
                    <a:pt x="237" y="70"/>
                  </a:lnTo>
                  <a:lnTo>
                    <a:pt x="260" y="78"/>
                  </a:lnTo>
                  <a:lnTo>
                    <a:pt x="260" y="78"/>
                  </a:lnTo>
                  <a:lnTo>
                    <a:pt x="254" y="96"/>
                  </a:lnTo>
                  <a:lnTo>
                    <a:pt x="247" y="115"/>
                  </a:lnTo>
                  <a:lnTo>
                    <a:pt x="247" y="115"/>
                  </a:lnTo>
                  <a:close/>
                  <a:moveTo>
                    <a:pt x="269" y="39"/>
                  </a:moveTo>
                  <a:lnTo>
                    <a:pt x="245" y="35"/>
                  </a:lnTo>
                  <a:lnTo>
                    <a:pt x="245" y="35"/>
                  </a:lnTo>
                  <a:lnTo>
                    <a:pt x="249" y="19"/>
                  </a:lnTo>
                  <a:lnTo>
                    <a:pt x="249" y="0"/>
                  </a:lnTo>
                  <a:lnTo>
                    <a:pt x="273" y="0"/>
                  </a:lnTo>
                  <a:lnTo>
                    <a:pt x="273" y="0"/>
                  </a:lnTo>
                  <a:lnTo>
                    <a:pt x="271" y="20"/>
                  </a:lnTo>
                  <a:lnTo>
                    <a:pt x="269" y="39"/>
                  </a:lnTo>
                  <a:lnTo>
                    <a:pt x="269"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3" name="Freeform 137">
              <a:extLst>
                <a:ext uri="{FF2B5EF4-FFF2-40B4-BE49-F238E27FC236}">
                  <a16:creationId xmlns:a16="http://schemas.microsoft.com/office/drawing/2014/main" id="{FEDEA941-5AE5-4B2D-9675-127DF74F2406}"/>
                </a:ext>
              </a:extLst>
            </p:cNvPr>
            <p:cNvSpPr>
              <a:spLocks/>
            </p:cNvSpPr>
            <p:nvPr/>
          </p:nvSpPr>
          <p:spPr bwMode="auto">
            <a:xfrm>
              <a:off x="10202863" y="5765801"/>
              <a:ext cx="34925" cy="38100"/>
            </a:xfrm>
            <a:custGeom>
              <a:avLst/>
              <a:gdLst>
                <a:gd name="T0" fmla="*/ 20 w 22"/>
                <a:gd name="T1" fmla="*/ 24 h 24"/>
                <a:gd name="T2" fmla="*/ 20 w 22"/>
                <a:gd name="T3" fmla="*/ 24 h 24"/>
                <a:gd name="T4" fmla="*/ 0 w 22"/>
                <a:gd name="T5" fmla="*/ 22 h 24"/>
                <a:gd name="T6" fmla="*/ 2 w 22"/>
                <a:gd name="T7" fmla="*/ 0 h 24"/>
                <a:gd name="T8" fmla="*/ 2 w 22"/>
                <a:gd name="T9" fmla="*/ 0 h 24"/>
                <a:gd name="T10" fmla="*/ 22 w 22"/>
                <a:gd name="T11" fmla="*/ 2 h 24"/>
                <a:gd name="T12" fmla="*/ 20 w 2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2" h="24">
                  <a:moveTo>
                    <a:pt x="20" y="24"/>
                  </a:moveTo>
                  <a:lnTo>
                    <a:pt x="20" y="24"/>
                  </a:lnTo>
                  <a:lnTo>
                    <a:pt x="0" y="22"/>
                  </a:lnTo>
                  <a:lnTo>
                    <a:pt x="2" y="0"/>
                  </a:lnTo>
                  <a:lnTo>
                    <a:pt x="2" y="0"/>
                  </a:lnTo>
                  <a:lnTo>
                    <a:pt x="22" y="2"/>
                  </a:lnTo>
                  <a:lnTo>
                    <a:pt x="2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4" name="Freeform 142">
              <a:extLst>
                <a:ext uri="{FF2B5EF4-FFF2-40B4-BE49-F238E27FC236}">
                  <a16:creationId xmlns:a16="http://schemas.microsoft.com/office/drawing/2014/main" id="{3560ACFD-7732-4554-A431-DCCF7B0C556F}"/>
                </a:ext>
              </a:extLst>
            </p:cNvPr>
            <p:cNvSpPr>
              <a:spLocks noEditPoints="1"/>
            </p:cNvSpPr>
            <p:nvPr/>
          </p:nvSpPr>
          <p:spPr bwMode="auto">
            <a:xfrm>
              <a:off x="7137401" y="1692276"/>
              <a:ext cx="506413" cy="608013"/>
            </a:xfrm>
            <a:custGeom>
              <a:avLst/>
              <a:gdLst>
                <a:gd name="T0" fmla="*/ 97 w 319"/>
                <a:gd name="T1" fmla="*/ 383 h 383"/>
                <a:gd name="T2" fmla="*/ 63 w 319"/>
                <a:gd name="T3" fmla="*/ 380 h 383"/>
                <a:gd name="T4" fmla="*/ 67 w 319"/>
                <a:gd name="T5" fmla="*/ 361 h 383"/>
                <a:gd name="T6" fmla="*/ 97 w 319"/>
                <a:gd name="T7" fmla="*/ 365 h 383"/>
                <a:gd name="T8" fmla="*/ 130 w 319"/>
                <a:gd name="T9" fmla="*/ 382 h 383"/>
                <a:gd name="T10" fmla="*/ 128 w 319"/>
                <a:gd name="T11" fmla="*/ 365 h 383"/>
                <a:gd name="T12" fmla="*/ 158 w 319"/>
                <a:gd name="T13" fmla="*/ 358 h 383"/>
                <a:gd name="T14" fmla="*/ 163 w 319"/>
                <a:gd name="T15" fmla="*/ 376 h 383"/>
                <a:gd name="T16" fmla="*/ 130 w 319"/>
                <a:gd name="T17" fmla="*/ 382 h 383"/>
                <a:gd name="T18" fmla="*/ 30 w 319"/>
                <a:gd name="T19" fmla="*/ 371 h 383"/>
                <a:gd name="T20" fmla="*/ 15 w 319"/>
                <a:gd name="T21" fmla="*/ 365 h 383"/>
                <a:gd name="T22" fmla="*/ 9 w 319"/>
                <a:gd name="T23" fmla="*/ 341 h 383"/>
                <a:gd name="T24" fmla="*/ 22 w 319"/>
                <a:gd name="T25" fmla="*/ 348 h 383"/>
                <a:gd name="T26" fmla="*/ 30 w 319"/>
                <a:gd name="T27" fmla="*/ 371 h 383"/>
                <a:gd name="T28" fmla="*/ 187 w 319"/>
                <a:gd name="T29" fmla="*/ 346 h 383"/>
                <a:gd name="T30" fmla="*/ 200 w 319"/>
                <a:gd name="T31" fmla="*/ 339 h 383"/>
                <a:gd name="T32" fmla="*/ 224 w 319"/>
                <a:gd name="T33" fmla="*/ 346 h 383"/>
                <a:gd name="T34" fmla="*/ 210 w 319"/>
                <a:gd name="T35" fmla="*/ 356 h 383"/>
                <a:gd name="T36" fmla="*/ 195 w 319"/>
                <a:gd name="T37" fmla="*/ 363 h 383"/>
                <a:gd name="T38" fmla="*/ 237 w 319"/>
                <a:gd name="T39" fmla="*/ 313 h 383"/>
                <a:gd name="T40" fmla="*/ 248 w 319"/>
                <a:gd name="T41" fmla="*/ 302 h 383"/>
                <a:gd name="T42" fmla="*/ 274 w 319"/>
                <a:gd name="T43" fmla="*/ 302 h 383"/>
                <a:gd name="T44" fmla="*/ 263 w 319"/>
                <a:gd name="T45" fmla="*/ 313 h 383"/>
                <a:gd name="T46" fmla="*/ 250 w 319"/>
                <a:gd name="T47" fmla="*/ 326 h 383"/>
                <a:gd name="T48" fmla="*/ 276 w 319"/>
                <a:gd name="T49" fmla="*/ 263 h 383"/>
                <a:gd name="T50" fmla="*/ 284 w 319"/>
                <a:gd name="T51" fmla="*/ 250 h 383"/>
                <a:gd name="T52" fmla="*/ 306 w 319"/>
                <a:gd name="T53" fmla="*/ 243 h 383"/>
                <a:gd name="T54" fmla="*/ 300 w 319"/>
                <a:gd name="T55" fmla="*/ 258 h 383"/>
                <a:gd name="T56" fmla="*/ 293 w 319"/>
                <a:gd name="T57" fmla="*/ 272 h 383"/>
                <a:gd name="T58" fmla="*/ 297 w 319"/>
                <a:gd name="T59" fmla="*/ 206 h 383"/>
                <a:gd name="T60" fmla="*/ 300 w 319"/>
                <a:gd name="T61" fmla="*/ 191 h 383"/>
                <a:gd name="T62" fmla="*/ 319 w 319"/>
                <a:gd name="T63" fmla="*/ 176 h 383"/>
                <a:gd name="T64" fmla="*/ 319 w 319"/>
                <a:gd name="T65" fmla="*/ 193 h 383"/>
                <a:gd name="T66" fmla="*/ 315 w 319"/>
                <a:gd name="T67" fmla="*/ 209 h 383"/>
                <a:gd name="T68" fmla="*/ 300 w 319"/>
                <a:gd name="T69" fmla="*/ 144 h 383"/>
                <a:gd name="T70" fmla="*/ 295 w 319"/>
                <a:gd name="T71" fmla="*/ 115 h 383"/>
                <a:gd name="T72" fmla="*/ 311 w 319"/>
                <a:gd name="T73" fmla="*/ 109 h 383"/>
                <a:gd name="T74" fmla="*/ 319 w 319"/>
                <a:gd name="T75" fmla="*/ 143 h 383"/>
                <a:gd name="T76" fmla="*/ 284 w 319"/>
                <a:gd name="T77" fmla="*/ 85 h 383"/>
                <a:gd name="T78" fmla="*/ 276 w 319"/>
                <a:gd name="T79" fmla="*/ 72 h 383"/>
                <a:gd name="T80" fmla="*/ 284 w 319"/>
                <a:gd name="T81" fmla="*/ 48 h 383"/>
                <a:gd name="T82" fmla="*/ 293 w 319"/>
                <a:gd name="T83" fmla="*/ 63 h 383"/>
                <a:gd name="T84" fmla="*/ 284 w 319"/>
                <a:gd name="T85" fmla="*/ 85 h 383"/>
                <a:gd name="T86" fmla="*/ 248 w 319"/>
                <a:gd name="T87" fmla="*/ 35 h 383"/>
                <a:gd name="T88" fmla="*/ 226 w 319"/>
                <a:gd name="T89" fmla="*/ 13 h 383"/>
                <a:gd name="T90" fmla="*/ 237 w 319"/>
                <a:gd name="T91" fmla="*/ 0 h 383"/>
                <a:gd name="T92" fmla="*/ 263 w 319"/>
                <a:gd name="T93" fmla="*/ 2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9" h="383">
                  <a:moveTo>
                    <a:pt x="97" y="383"/>
                  </a:moveTo>
                  <a:lnTo>
                    <a:pt x="97" y="383"/>
                  </a:lnTo>
                  <a:lnTo>
                    <a:pt x="80" y="383"/>
                  </a:lnTo>
                  <a:lnTo>
                    <a:pt x="63" y="380"/>
                  </a:lnTo>
                  <a:lnTo>
                    <a:pt x="67" y="361"/>
                  </a:lnTo>
                  <a:lnTo>
                    <a:pt x="67" y="361"/>
                  </a:lnTo>
                  <a:lnTo>
                    <a:pt x="82" y="365"/>
                  </a:lnTo>
                  <a:lnTo>
                    <a:pt x="97" y="365"/>
                  </a:lnTo>
                  <a:lnTo>
                    <a:pt x="97" y="383"/>
                  </a:lnTo>
                  <a:close/>
                  <a:moveTo>
                    <a:pt x="130" y="382"/>
                  </a:moveTo>
                  <a:lnTo>
                    <a:pt x="128" y="365"/>
                  </a:lnTo>
                  <a:lnTo>
                    <a:pt x="128" y="365"/>
                  </a:lnTo>
                  <a:lnTo>
                    <a:pt x="143" y="361"/>
                  </a:lnTo>
                  <a:lnTo>
                    <a:pt x="158" y="358"/>
                  </a:lnTo>
                  <a:lnTo>
                    <a:pt x="163" y="376"/>
                  </a:lnTo>
                  <a:lnTo>
                    <a:pt x="163" y="376"/>
                  </a:lnTo>
                  <a:lnTo>
                    <a:pt x="147" y="380"/>
                  </a:lnTo>
                  <a:lnTo>
                    <a:pt x="130" y="382"/>
                  </a:lnTo>
                  <a:lnTo>
                    <a:pt x="130" y="382"/>
                  </a:lnTo>
                  <a:close/>
                  <a:moveTo>
                    <a:pt x="30" y="371"/>
                  </a:moveTo>
                  <a:lnTo>
                    <a:pt x="30" y="371"/>
                  </a:lnTo>
                  <a:lnTo>
                    <a:pt x="15" y="365"/>
                  </a:lnTo>
                  <a:lnTo>
                    <a:pt x="0" y="358"/>
                  </a:lnTo>
                  <a:lnTo>
                    <a:pt x="9" y="341"/>
                  </a:lnTo>
                  <a:lnTo>
                    <a:pt x="9" y="341"/>
                  </a:lnTo>
                  <a:lnTo>
                    <a:pt x="22" y="348"/>
                  </a:lnTo>
                  <a:lnTo>
                    <a:pt x="37" y="354"/>
                  </a:lnTo>
                  <a:lnTo>
                    <a:pt x="30" y="371"/>
                  </a:lnTo>
                  <a:close/>
                  <a:moveTo>
                    <a:pt x="195" y="363"/>
                  </a:moveTo>
                  <a:lnTo>
                    <a:pt x="187" y="346"/>
                  </a:lnTo>
                  <a:lnTo>
                    <a:pt x="187" y="346"/>
                  </a:lnTo>
                  <a:lnTo>
                    <a:pt x="200" y="339"/>
                  </a:lnTo>
                  <a:lnTo>
                    <a:pt x="213" y="332"/>
                  </a:lnTo>
                  <a:lnTo>
                    <a:pt x="224" y="346"/>
                  </a:lnTo>
                  <a:lnTo>
                    <a:pt x="224" y="346"/>
                  </a:lnTo>
                  <a:lnTo>
                    <a:pt x="210" y="356"/>
                  </a:lnTo>
                  <a:lnTo>
                    <a:pt x="195" y="363"/>
                  </a:lnTo>
                  <a:lnTo>
                    <a:pt x="195" y="363"/>
                  </a:lnTo>
                  <a:close/>
                  <a:moveTo>
                    <a:pt x="250" y="326"/>
                  </a:moveTo>
                  <a:lnTo>
                    <a:pt x="237" y="313"/>
                  </a:lnTo>
                  <a:lnTo>
                    <a:pt x="237" y="313"/>
                  </a:lnTo>
                  <a:lnTo>
                    <a:pt x="248" y="302"/>
                  </a:lnTo>
                  <a:lnTo>
                    <a:pt x="260" y="289"/>
                  </a:lnTo>
                  <a:lnTo>
                    <a:pt x="274" y="302"/>
                  </a:lnTo>
                  <a:lnTo>
                    <a:pt x="274" y="302"/>
                  </a:lnTo>
                  <a:lnTo>
                    <a:pt x="263" y="313"/>
                  </a:lnTo>
                  <a:lnTo>
                    <a:pt x="250" y="326"/>
                  </a:lnTo>
                  <a:lnTo>
                    <a:pt x="250" y="326"/>
                  </a:lnTo>
                  <a:close/>
                  <a:moveTo>
                    <a:pt x="293" y="272"/>
                  </a:moveTo>
                  <a:lnTo>
                    <a:pt x="276" y="263"/>
                  </a:lnTo>
                  <a:lnTo>
                    <a:pt x="276" y="263"/>
                  </a:lnTo>
                  <a:lnTo>
                    <a:pt x="284" y="250"/>
                  </a:lnTo>
                  <a:lnTo>
                    <a:pt x="289" y="235"/>
                  </a:lnTo>
                  <a:lnTo>
                    <a:pt x="306" y="243"/>
                  </a:lnTo>
                  <a:lnTo>
                    <a:pt x="306" y="243"/>
                  </a:lnTo>
                  <a:lnTo>
                    <a:pt x="300" y="258"/>
                  </a:lnTo>
                  <a:lnTo>
                    <a:pt x="293" y="272"/>
                  </a:lnTo>
                  <a:lnTo>
                    <a:pt x="293" y="272"/>
                  </a:lnTo>
                  <a:close/>
                  <a:moveTo>
                    <a:pt x="315" y="209"/>
                  </a:moveTo>
                  <a:lnTo>
                    <a:pt x="297" y="206"/>
                  </a:lnTo>
                  <a:lnTo>
                    <a:pt x="297" y="206"/>
                  </a:lnTo>
                  <a:lnTo>
                    <a:pt x="300" y="191"/>
                  </a:lnTo>
                  <a:lnTo>
                    <a:pt x="300" y="176"/>
                  </a:lnTo>
                  <a:lnTo>
                    <a:pt x="319" y="176"/>
                  </a:lnTo>
                  <a:lnTo>
                    <a:pt x="319" y="176"/>
                  </a:lnTo>
                  <a:lnTo>
                    <a:pt x="319" y="193"/>
                  </a:lnTo>
                  <a:lnTo>
                    <a:pt x="315" y="209"/>
                  </a:lnTo>
                  <a:lnTo>
                    <a:pt x="315" y="209"/>
                  </a:lnTo>
                  <a:close/>
                  <a:moveTo>
                    <a:pt x="300" y="144"/>
                  </a:moveTo>
                  <a:lnTo>
                    <a:pt x="300" y="144"/>
                  </a:lnTo>
                  <a:lnTo>
                    <a:pt x="299" y="130"/>
                  </a:lnTo>
                  <a:lnTo>
                    <a:pt x="295" y="115"/>
                  </a:lnTo>
                  <a:lnTo>
                    <a:pt x="311" y="109"/>
                  </a:lnTo>
                  <a:lnTo>
                    <a:pt x="311" y="109"/>
                  </a:lnTo>
                  <a:lnTo>
                    <a:pt x="315" y="126"/>
                  </a:lnTo>
                  <a:lnTo>
                    <a:pt x="319" y="143"/>
                  </a:lnTo>
                  <a:lnTo>
                    <a:pt x="300" y="144"/>
                  </a:lnTo>
                  <a:close/>
                  <a:moveTo>
                    <a:pt x="284" y="85"/>
                  </a:moveTo>
                  <a:lnTo>
                    <a:pt x="284" y="85"/>
                  </a:lnTo>
                  <a:lnTo>
                    <a:pt x="276" y="72"/>
                  </a:lnTo>
                  <a:lnTo>
                    <a:pt x="269" y="59"/>
                  </a:lnTo>
                  <a:lnTo>
                    <a:pt x="284" y="48"/>
                  </a:lnTo>
                  <a:lnTo>
                    <a:pt x="284" y="48"/>
                  </a:lnTo>
                  <a:lnTo>
                    <a:pt x="293" y="63"/>
                  </a:lnTo>
                  <a:lnTo>
                    <a:pt x="300" y="78"/>
                  </a:lnTo>
                  <a:lnTo>
                    <a:pt x="284" y="85"/>
                  </a:lnTo>
                  <a:close/>
                  <a:moveTo>
                    <a:pt x="248" y="35"/>
                  </a:moveTo>
                  <a:lnTo>
                    <a:pt x="248" y="35"/>
                  </a:lnTo>
                  <a:lnTo>
                    <a:pt x="239" y="24"/>
                  </a:lnTo>
                  <a:lnTo>
                    <a:pt x="226" y="13"/>
                  </a:lnTo>
                  <a:lnTo>
                    <a:pt x="237" y="0"/>
                  </a:lnTo>
                  <a:lnTo>
                    <a:pt x="237" y="0"/>
                  </a:lnTo>
                  <a:lnTo>
                    <a:pt x="250" y="9"/>
                  </a:lnTo>
                  <a:lnTo>
                    <a:pt x="263" y="22"/>
                  </a:lnTo>
                  <a:lnTo>
                    <a:pt x="248"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5" name="Freeform 143">
              <a:extLst>
                <a:ext uri="{FF2B5EF4-FFF2-40B4-BE49-F238E27FC236}">
                  <a16:creationId xmlns:a16="http://schemas.microsoft.com/office/drawing/2014/main" id="{5358C420-5518-43FE-BBB5-47C4B107BF70}"/>
                </a:ext>
              </a:extLst>
            </p:cNvPr>
            <p:cNvSpPr>
              <a:spLocks noEditPoints="1"/>
            </p:cNvSpPr>
            <p:nvPr/>
          </p:nvSpPr>
          <p:spPr bwMode="auto">
            <a:xfrm>
              <a:off x="7370763" y="5280026"/>
              <a:ext cx="317500" cy="317500"/>
            </a:xfrm>
            <a:custGeom>
              <a:avLst/>
              <a:gdLst>
                <a:gd name="T0" fmla="*/ 0 w 200"/>
                <a:gd name="T1" fmla="*/ 97 h 200"/>
                <a:gd name="T2" fmla="*/ 9 w 200"/>
                <a:gd name="T3" fmla="*/ 60 h 200"/>
                <a:gd name="T4" fmla="*/ 31 w 200"/>
                <a:gd name="T5" fmla="*/ 28 h 200"/>
                <a:gd name="T6" fmla="*/ 63 w 200"/>
                <a:gd name="T7" fmla="*/ 6 h 200"/>
                <a:gd name="T8" fmla="*/ 103 w 200"/>
                <a:gd name="T9" fmla="*/ 0 h 200"/>
                <a:gd name="T10" fmla="*/ 124 w 200"/>
                <a:gd name="T11" fmla="*/ 2 h 200"/>
                <a:gd name="T12" fmla="*/ 159 w 200"/>
                <a:gd name="T13" fmla="*/ 19 h 200"/>
                <a:gd name="T14" fmla="*/ 185 w 200"/>
                <a:gd name="T15" fmla="*/ 47 h 200"/>
                <a:gd name="T16" fmla="*/ 200 w 200"/>
                <a:gd name="T17" fmla="*/ 84 h 200"/>
                <a:gd name="T18" fmla="*/ 200 w 200"/>
                <a:gd name="T19" fmla="*/ 102 h 200"/>
                <a:gd name="T20" fmla="*/ 192 w 200"/>
                <a:gd name="T21" fmla="*/ 141 h 200"/>
                <a:gd name="T22" fmla="*/ 168 w 200"/>
                <a:gd name="T23" fmla="*/ 173 h 200"/>
                <a:gd name="T24" fmla="*/ 137 w 200"/>
                <a:gd name="T25" fmla="*/ 195 h 200"/>
                <a:gd name="T26" fmla="*/ 98 w 200"/>
                <a:gd name="T27" fmla="*/ 200 h 200"/>
                <a:gd name="T28" fmla="*/ 77 w 200"/>
                <a:gd name="T29" fmla="*/ 199 h 200"/>
                <a:gd name="T30" fmla="*/ 42 w 200"/>
                <a:gd name="T31" fmla="*/ 182 h 200"/>
                <a:gd name="T32" fmla="*/ 14 w 200"/>
                <a:gd name="T33" fmla="*/ 154 h 200"/>
                <a:gd name="T34" fmla="*/ 1 w 200"/>
                <a:gd name="T35" fmla="*/ 117 h 200"/>
                <a:gd name="T36" fmla="*/ 0 w 200"/>
                <a:gd name="T37" fmla="*/ 97 h 200"/>
                <a:gd name="T38" fmla="*/ 174 w 200"/>
                <a:gd name="T39" fmla="*/ 102 h 200"/>
                <a:gd name="T40" fmla="*/ 168 w 200"/>
                <a:gd name="T41" fmla="*/ 73 h 200"/>
                <a:gd name="T42" fmla="*/ 153 w 200"/>
                <a:gd name="T43" fmla="*/ 50 h 200"/>
                <a:gd name="T44" fmla="*/ 131 w 200"/>
                <a:gd name="T45" fmla="*/ 34 h 200"/>
                <a:gd name="T46" fmla="*/ 101 w 200"/>
                <a:gd name="T47" fmla="*/ 26 h 200"/>
                <a:gd name="T48" fmla="*/ 87 w 200"/>
                <a:gd name="T49" fmla="*/ 28 h 200"/>
                <a:gd name="T50" fmla="*/ 61 w 200"/>
                <a:gd name="T51" fmla="*/ 37 h 200"/>
                <a:gd name="T52" fmla="*/ 40 w 200"/>
                <a:gd name="T53" fmla="*/ 58 h 200"/>
                <a:gd name="T54" fmla="*/ 27 w 200"/>
                <a:gd name="T55" fmla="*/ 84 h 200"/>
                <a:gd name="T56" fmla="*/ 26 w 200"/>
                <a:gd name="T57" fmla="*/ 98 h 200"/>
                <a:gd name="T58" fmla="*/ 31 w 200"/>
                <a:gd name="T59" fmla="*/ 126 h 200"/>
                <a:gd name="T60" fmla="*/ 46 w 200"/>
                <a:gd name="T61" fmla="*/ 150 h 200"/>
                <a:gd name="T62" fmla="*/ 70 w 200"/>
                <a:gd name="T63" fmla="*/ 167 h 200"/>
                <a:gd name="T64" fmla="*/ 98 w 200"/>
                <a:gd name="T65" fmla="*/ 174 h 200"/>
                <a:gd name="T66" fmla="*/ 113 w 200"/>
                <a:gd name="T67" fmla="*/ 173 h 200"/>
                <a:gd name="T68" fmla="*/ 140 w 200"/>
                <a:gd name="T69" fmla="*/ 163 h 200"/>
                <a:gd name="T70" fmla="*/ 161 w 200"/>
                <a:gd name="T71" fmla="*/ 143 h 200"/>
                <a:gd name="T72" fmla="*/ 172 w 200"/>
                <a:gd name="T73" fmla="*/ 117 h 200"/>
                <a:gd name="T74" fmla="*/ 174 w 200"/>
                <a:gd name="T75" fmla="*/ 10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00">
                  <a:moveTo>
                    <a:pt x="0" y="97"/>
                  </a:moveTo>
                  <a:lnTo>
                    <a:pt x="0" y="97"/>
                  </a:lnTo>
                  <a:lnTo>
                    <a:pt x="1" y="78"/>
                  </a:lnTo>
                  <a:lnTo>
                    <a:pt x="9" y="60"/>
                  </a:lnTo>
                  <a:lnTo>
                    <a:pt x="18" y="41"/>
                  </a:lnTo>
                  <a:lnTo>
                    <a:pt x="31" y="28"/>
                  </a:lnTo>
                  <a:lnTo>
                    <a:pt x="46" y="15"/>
                  </a:lnTo>
                  <a:lnTo>
                    <a:pt x="63" y="6"/>
                  </a:lnTo>
                  <a:lnTo>
                    <a:pt x="83" y="2"/>
                  </a:lnTo>
                  <a:lnTo>
                    <a:pt x="103" y="0"/>
                  </a:lnTo>
                  <a:lnTo>
                    <a:pt x="103" y="0"/>
                  </a:lnTo>
                  <a:lnTo>
                    <a:pt x="124" y="2"/>
                  </a:lnTo>
                  <a:lnTo>
                    <a:pt x="142" y="10"/>
                  </a:lnTo>
                  <a:lnTo>
                    <a:pt x="159" y="19"/>
                  </a:lnTo>
                  <a:lnTo>
                    <a:pt x="174" y="32"/>
                  </a:lnTo>
                  <a:lnTo>
                    <a:pt x="185" y="47"/>
                  </a:lnTo>
                  <a:lnTo>
                    <a:pt x="194" y="63"/>
                  </a:lnTo>
                  <a:lnTo>
                    <a:pt x="200" y="84"/>
                  </a:lnTo>
                  <a:lnTo>
                    <a:pt x="200" y="102"/>
                  </a:lnTo>
                  <a:lnTo>
                    <a:pt x="200" y="102"/>
                  </a:lnTo>
                  <a:lnTo>
                    <a:pt x="198" y="123"/>
                  </a:lnTo>
                  <a:lnTo>
                    <a:pt x="192" y="141"/>
                  </a:lnTo>
                  <a:lnTo>
                    <a:pt x="181" y="160"/>
                  </a:lnTo>
                  <a:lnTo>
                    <a:pt x="168" y="173"/>
                  </a:lnTo>
                  <a:lnTo>
                    <a:pt x="153" y="186"/>
                  </a:lnTo>
                  <a:lnTo>
                    <a:pt x="137" y="195"/>
                  </a:lnTo>
                  <a:lnTo>
                    <a:pt x="118" y="199"/>
                  </a:lnTo>
                  <a:lnTo>
                    <a:pt x="98" y="200"/>
                  </a:lnTo>
                  <a:lnTo>
                    <a:pt x="98" y="200"/>
                  </a:lnTo>
                  <a:lnTo>
                    <a:pt x="77" y="199"/>
                  </a:lnTo>
                  <a:lnTo>
                    <a:pt x="59" y="191"/>
                  </a:lnTo>
                  <a:lnTo>
                    <a:pt x="42" y="182"/>
                  </a:lnTo>
                  <a:lnTo>
                    <a:pt x="27" y="169"/>
                  </a:lnTo>
                  <a:lnTo>
                    <a:pt x="14" y="154"/>
                  </a:lnTo>
                  <a:lnTo>
                    <a:pt x="7" y="137"/>
                  </a:lnTo>
                  <a:lnTo>
                    <a:pt x="1" y="117"/>
                  </a:lnTo>
                  <a:lnTo>
                    <a:pt x="0" y="97"/>
                  </a:lnTo>
                  <a:lnTo>
                    <a:pt x="0" y="97"/>
                  </a:lnTo>
                  <a:close/>
                  <a:moveTo>
                    <a:pt x="174" y="102"/>
                  </a:moveTo>
                  <a:lnTo>
                    <a:pt x="174" y="102"/>
                  </a:lnTo>
                  <a:lnTo>
                    <a:pt x="172" y="87"/>
                  </a:lnTo>
                  <a:lnTo>
                    <a:pt x="168" y="73"/>
                  </a:lnTo>
                  <a:lnTo>
                    <a:pt x="163" y="61"/>
                  </a:lnTo>
                  <a:lnTo>
                    <a:pt x="153" y="50"/>
                  </a:lnTo>
                  <a:lnTo>
                    <a:pt x="142" y="41"/>
                  </a:lnTo>
                  <a:lnTo>
                    <a:pt x="131" y="34"/>
                  </a:lnTo>
                  <a:lnTo>
                    <a:pt x="116" y="28"/>
                  </a:lnTo>
                  <a:lnTo>
                    <a:pt x="101" y="26"/>
                  </a:lnTo>
                  <a:lnTo>
                    <a:pt x="101" y="26"/>
                  </a:lnTo>
                  <a:lnTo>
                    <a:pt x="87" y="28"/>
                  </a:lnTo>
                  <a:lnTo>
                    <a:pt x="74" y="32"/>
                  </a:lnTo>
                  <a:lnTo>
                    <a:pt x="61" y="37"/>
                  </a:lnTo>
                  <a:lnTo>
                    <a:pt x="50" y="47"/>
                  </a:lnTo>
                  <a:lnTo>
                    <a:pt x="40" y="58"/>
                  </a:lnTo>
                  <a:lnTo>
                    <a:pt x="33" y="69"/>
                  </a:lnTo>
                  <a:lnTo>
                    <a:pt x="27" y="84"/>
                  </a:lnTo>
                  <a:lnTo>
                    <a:pt x="26" y="98"/>
                  </a:lnTo>
                  <a:lnTo>
                    <a:pt x="26" y="98"/>
                  </a:lnTo>
                  <a:lnTo>
                    <a:pt x="27" y="113"/>
                  </a:lnTo>
                  <a:lnTo>
                    <a:pt x="31" y="126"/>
                  </a:lnTo>
                  <a:lnTo>
                    <a:pt x="37" y="139"/>
                  </a:lnTo>
                  <a:lnTo>
                    <a:pt x="46" y="150"/>
                  </a:lnTo>
                  <a:lnTo>
                    <a:pt x="57" y="160"/>
                  </a:lnTo>
                  <a:lnTo>
                    <a:pt x="70" y="167"/>
                  </a:lnTo>
                  <a:lnTo>
                    <a:pt x="83" y="173"/>
                  </a:lnTo>
                  <a:lnTo>
                    <a:pt x="98" y="174"/>
                  </a:lnTo>
                  <a:lnTo>
                    <a:pt x="98" y="174"/>
                  </a:lnTo>
                  <a:lnTo>
                    <a:pt x="113" y="173"/>
                  </a:lnTo>
                  <a:lnTo>
                    <a:pt x="127" y="169"/>
                  </a:lnTo>
                  <a:lnTo>
                    <a:pt x="140" y="163"/>
                  </a:lnTo>
                  <a:lnTo>
                    <a:pt x="152" y="154"/>
                  </a:lnTo>
                  <a:lnTo>
                    <a:pt x="161" y="143"/>
                  </a:lnTo>
                  <a:lnTo>
                    <a:pt x="166" y="132"/>
                  </a:lnTo>
                  <a:lnTo>
                    <a:pt x="172" y="117"/>
                  </a:lnTo>
                  <a:lnTo>
                    <a:pt x="174" y="102"/>
                  </a:lnTo>
                  <a:lnTo>
                    <a:pt x="174" y="1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6" name="Freeform 144">
              <a:extLst>
                <a:ext uri="{FF2B5EF4-FFF2-40B4-BE49-F238E27FC236}">
                  <a16:creationId xmlns:a16="http://schemas.microsoft.com/office/drawing/2014/main" id="{0228B13A-5AA6-491D-A02E-FF27702DD423}"/>
                </a:ext>
              </a:extLst>
            </p:cNvPr>
            <p:cNvSpPr>
              <a:spLocks/>
            </p:cNvSpPr>
            <p:nvPr/>
          </p:nvSpPr>
          <p:spPr bwMode="auto">
            <a:xfrm>
              <a:off x="7667626" y="5421313"/>
              <a:ext cx="55563" cy="44450"/>
            </a:xfrm>
            <a:custGeom>
              <a:avLst/>
              <a:gdLst>
                <a:gd name="T0" fmla="*/ 0 w 35"/>
                <a:gd name="T1" fmla="*/ 26 h 28"/>
                <a:gd name="T2" fmla="*/ 0 w 35"/>
                <a:gd name="T3" fmla="*/ 0 h 28"/>
                <a:gd name="T4" fmla="*/ 35 w 35"/>
                <a:gd name="T5" fmla="*/ 2 h 28"/>
                <a:gd name="T6" fmla="*/ 35 w 35"/>
                <a:gd name="T7" fmla="*/ 28 h 28"/>
                <a:gd name="T8" fmla="*/ 0 w 35"/>
                <a:gd name="T9" fmla="*/ 26 h 28"/>
              </a:gdLst>
              <a:ahLst/>
              <a:cxnLst>
                <a:cxn ang="0">
                  <a:pos x="T0" y="T1"/>
                </a:cxn>
                <a:cxn ang="0">
                  <a:pos x="T2" y="T3"/>
                </a:cxn>
                <a:cxn ang="0">
                  <a:pos x="T4" y="T5"/>
                </a:cxn>
                <a:cxn ang="0">
                  <a:pos x="T6" y="T7"/>
                </a:cxn>
                <a:cxn ang="0">
                  <a:pos x="T8" y="T9"/>
                </a:cxn>
              </a:cxnLst>
              <a:rect l="0" t="0" r="r" b="b"/>
              <a:pathLst>
                <a:path w="35" h="28">
                  <a:moveTo>
                    <a:pt x="0" y="26"/>
                  </a:moveTo>
                  <a:lnTo>
                    <a:pt x="0" y="0"/>
                  </a:lnTo>
                  <a:lnTo>
                    <a:pt x="35" y="2"/>
                  </a:lnTo>
                  <a:lnTo>
                    <a:pt x="35" y="28"/>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7" name="Freeform 145">
              <a:extLst>
                <a:ext uri="{FF2B5EF4-FFF2-40B4-BE49-F238E27FC236}">
                  <a16:creationId xmlns:a16="http://schemas.microsoft.com/office/drawing/2014/main" id="{3FF45D25-AFC4-4A5D-90FA-45F65F258ACC}"/>
                </a:ext>
              </a:extLst>
            </p:cNvPr>
            <p:cNvSpPr>
              <a:spLocks/>
            </p:cNvSpPr>
            <p:nvPr/>
          </p:nvSpPr>
          <p:spPr bwMode="auto">
            <a:xfrm>
              <a:off x="7640638" y="5327651"/>
              <a:ext cx="69850" cy="65088"/>
            </a:xfrm>
            <a:custGeom>
              <a:avLst/>
              <a:gdLst>
                <a:gd name="T0" fmla="*/ 0 w 44"/>
                <a:gd name="T1" fmla="*/ 17 h 41"/>
                <a:gd name="T2" fmla="*/ 32 w 44"/>
                <a:gd name="T3" fmla="*/ 0 h 41"/>
                <a:gd name="T4" fmla="*/ 44 w 44"/>
                <a:gd name="T5" fmla="*/ 24 h 41"/>
                <a:gd name="T6" fmla="*/ 13 w 44"/>
                <a:gd name="T7" fmla="*/ 41 h 41"/>
                <a:gd name="T8" fmla="*/ 0 w 44"/>
                <a:gd name="T9" fmla="*/ 17 h 41"/>
              </a:gdLst>
              <a:ahLst/>
              <a:cxnLst>
                <a:cxn ang="0">
                  <a:pos x="T0" y="T1"/>
                </a:cxn>
                <a:cxn ang="0">
                  <a:pos x="T2" y="T3"/>
                </a:cxn>
                <a:cxn ang="0">
                  <a:pos x="T4" y="T5"/>
                </a:cxn>
                <a:cxn ang="0">
                  <a:pos x="T6" y="T7"/>
                </a:cxn>
                <a:cxn ang="0">
                  <a:pos x="T8" y="T9"/>
                </a:cxn>
              </a:cxnLst>
              <a:rect l="0" t="0" r="r" b="b"/>
              <a:pathLst>
                <a:path w="44" h="41">
                  <a:moveTo>
                    <a:pt x="0" y="17"/>
                  </a:moveTo>
                  <a:lnTo>
                    <a:pt x="32" y="0"/>
                  </a:lnTo>
                  <a:lnTo>
                    <a:pt x="44" y="24"/>
                  </a:lnTo>
                  <a:lnTo>
                    <a:pt x="13" y="41"/>
                  </a:lnTo>
                  <a:lnTo>
                    <a:pt x="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8" name="Freeform 146">
              <a:extLst>
                <a:ext uri="{FF2B5EF4-FFF2-40B4-BE49-F238E27FC236}">
                  <a16:creationId xmlns:a16="http://schemas.microsoft.com/office/drawing/2014/main" id="{96C2CF8D-794C-49E4-AA46-750C05C99662}"/>
                </a:ext>
              </a:extLst>
            </p:cNvPr>
            <p:cNvSpPr>
              <a:spLocks/>
            </p:cNvSpPr>
            <p:nvPr/>
          </p:nvSpPr>
          <p:spPr bwMode="auto">
            <a:xfrm>
              <a:off x="7585076" y="5262563"/>
              <a:ext cx="65088" cy="71438"/>
            </a:xfrm>
            <a:custGeom>
              <a:avLst/>
              <a:gdLst>
                <a:gd name="T0" fmla="*/ 0 w 41"/>
                <a:gd name="T1" fmla="*/ 30 h 45"/>
                <a:gd name="T2" fmla="*/ 18 w 41"/>
                <a:gd name="T3" fmla="*/ 0 h 45"/>
                <a:gd name="T4" fmla="*/ 41 w 41"/>
                <a:gd name="T5" fmla="*/ 15 h 45"/>
                <a:gd name="T6" fmla="*/ 22 w 41"/>
                <a:gd name="T7" fmla="*/ 45 h 45"/>
                <a:gd name="T8" fmla="*/ 0 w 41"/>
                <a:gd name="T9" fmla="*/ 30 h 45"/>
              </a:gdLst>
              <a:ahLst/>
              <a:cxnLst>
                <a:cxn ang="0">
                  <a:pos x="T0" y="T1"/>
                </a:cxn>
                <a:cxn ang="0">
                  <a:pos x="T2" y="T3"/>
                </a:cxn>
                <a:cxn ang="0">
                  <a:pos x="T4" y="T5"/>
                </a:cxn>
                <a:cxn ang="0">
                  <a:pos x="T6" y="T7"/>
                </a:cxn>
                <a:cxn ang="0">
                  <a:pos x="T8" y="T9"/>
                </a:cxn>
              </a:cxnLst>
              <a:rect l="0" t="0" r="r" b="b"/>
              <a:pathLst>
                <a:path w="41" h="45">
                  <a:moveTo>
                    <a:pt x="0" y="30"/>
                  </a:moveTo>
                  <a:lnTo>
                    <a:pt x="18" y="0"/>
                  </a:lnTo>
                  <a:lnTo>
                    <a:pt x="41" y="15"/>
                  </a:lnTo>
                  <a:lnTo>
                    <a:pt x="22" y="45"/>
                  </a:ln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99" name="Freeform 147">
              <a:extLst>
                <a:ext uri="{FF2B5EF4-FFF2-40B4-BE49-F238E27FC236}">
                  <a16:creationId xmlns:a16="http://schemas.microsoft.com/office/drawing/2014/main" id="{DDFEA44C-F4B5-4590-811D-07CCD4E0D885}"/>
                </a:ext>
              </a:extLst>
            </p:cNvPr>
            <p:cNvSpPr>
              <a:spLocks/>
            </p:cNvSpPr>
            <p:nvPr/>
          </p:nvSpPr>
          <p:spPr bwMode="auto">
            <a:xfrm>
              <a:off x="7512051" y="5245101"/>
              <a:ext cx="42863" cy="55563"/>
            </a:xfrm>
            <a:custGeom>
              <a:avLst/>
              <a:gdLst>
                <a:gd name="T0" fmla="*/ 0 w 27"/>
                <a:gd name="T1" fmla="*/ 35 h 35"/>
                <a:gd name="T2" fmla="*/ 1 w 27"/>
                <a:gd name="T3" fmla="*/ 0 h 35"/>
                <a:gd name="T4" fmla="*/ 27 w 27"/>
                <a:gd name="T5" fmla="*/ 0 h 35"/>
                <a:gd name="T6" fmla="*/ 27 w 27"/>
                <a:gd name="T7" fmla="*/ 35 h 35"/>
                <a:gd name="T8" fmla="*/ 0 w 27"/>
                <a:gd name="T9" fmla="*/ 35 h 35"/>
              </a:gdLst>
              <a:ahLst/>
              <a:cxnLst>
                <a:cxn ang="0">
                  <a:pos x="T0" y="T1"/>
                </a:cxn>
                <a:cxn ang="0">
                  <a:pos x="T2" y="T3"/>
                </a:cxn>
                <a:cxn ang="0">
                  <a:pos x="T4" y="T5"/>
                </a:cxn>
                <a:cxn ang="0">
                  <a:pos x="T6" y="T7"/>
                </a:cxn>
                <a:cxn ang="0">
                  <a:pos x="T8" y="T9"/>
                </a:cxn>
              </a:cxnLst>
              <a:rect l="0" t="0" r="r" b="b"/>
              <a:pathLst>
                <a:path w="27" h="35">
                  <a:moveTo>
                    <a:pt x="0" y="35"/>
                  </a:moveTo>
                  <a:lnTo>
                    <a:pt x="1" y="0"/>
                  </a:lnTo>
                  <a:lnTo>
                    <a:pt x="27" y="0"/>
                  </a:lnTo>
                  <a:lnTo>
                    <a:pt x="27"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0" name="Freeform 148">
              <a:extLst>
                <a:ext uri="{FF2B5EF4-FFF2-40B4-BE49-F238E27FC236}">
                  <a16:creationId xmlns:a16="http://schemas.microsoft.com/office/drawing/2014/main" id="{099B9A98-07BE-4BBE-8081-4575F31CCD76}"/>
                </a:ext>
              </a:extLst>
            </p:cNvPr>
            <p:cNvSpPr>
              <a:spLocks/>
            </p:cNvSpPr>
            <p:nvPr/>
          </p:nvSpPr>
          <p:spPr bwMode="auto">
            <a:xfrm>
              <a:off x="7416801" y="5259388"/>
              <a:ext cx="65088" cy="68263"/>
            </a:xfrm>
            <a:custGeom>
              <a:avLst/>
              <a:gdLst>
                <a:gd name="T0" fmla="*/ 0 w 41"/>
                <a:gd name="T1" fmla="*/ 11 h 43"/>
                <a:gd name="T2" fmla="*/ 24 w 41"/>
                <a:gd name="T3" fmla="*/ 0 h 43"/>
                <a:gd name="T4" fmla="*/ 41 w 41"/>
                <a:gd name="T5" fmla="*/ 30 h 43"/>
                <a:gd name="T6" fmla="*/ 17 w 41"/>
                <a:gd name="T7" fmla="*/ 43 h 43"/>
                <a:gd name="T8" fmla="*/ 0 w 41"/>
                <a:gd name="T9" fmla="*/ 11 h 43"/>
              </a:gdLst>
              <a:ahLst/>
              <a:cxnLst>
                <a:cxn ang="0">
                  <a:pos x="T0" y="T1"/>
                </a:cxn>
                <a:cxn ang="0">
                  <a:pos x="T2" y="T3"/>
                </a:cxn>
                <a:cxn ang="0">
                  <a:pos x="T4" y="T5"/>
                </a:cxn>
                <a:cxn ang="0">
                  <a:pos x="T6" y="T7"/>
                </a:cxn>
                <a:cxn ang="0">
                  <a:pos x="T8" y="T9"/>
                </a:cxn>
              </a:cxnLst>
              <a:rect l="0" t="0" r="r" b="b"/>
              <a:pathLst>
                <a:path w="41" h="43">
                  <a:moveTo>
                    <a:pt x="0" y="11"/>
                  </a:moveTo>
                  <a:lnTo>
                    <a:pt x="24" y="0"/>
                  </a:lnTo>
                  <a:lnTo>
                    <a:pt x="41" y="30"/>
                  </a:lnTo>
                  <a:lnTo>
                    <a:pt x="17" y="43"/>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1" name="Freeform 149">
              <a:extLst>
                <a:ext uri="{FF2B5EF4-FFF2-40B4-BE49-F238E27FC236}">
                  <a16:creationId xmlns:a16="http://schemas.microsoft.com/office/drawing/2014/main" id="{7B291978-4B06-4286-B081-F06B3887CBDE}"/>
                </a:ext>
              </a:extLst>
            </p:cNvPr>
            <p:cNvSpPr>
              <a:spLocks/>
            </p:cNvSpPr>
            <p:nvPr/>
          </p:nvSpPr>
          <p:spPr bwMode="auto">
            <a:xfrm>
              <a:off x="7351713" y="5318126"/>
              <a:ext cx="71438" cy="65088"/>
            </a:xfrm>
            <a:custGeom>
              <a:avLst/>
              <a:gdLst>
                <a:gd name="T0" fmla="*/ 0 w 45"/>
                <a:gd name="T1" fmla="*/ 24 h 41"/>
                <a:gd name="T2" fmla="*/ 15 w 45"/>
                <a:gd name="T3" fmla="*/ 0 h 41"/>
                <a:gd name="T4" fmla="*/ 45 w 45"/>
                <a:gd name="T5" fmla="*/ 19 h 41"/>
                <a:gd name="T6" fmla="*/ 30 w 45"/>
                <a:gd name="T7" fmla="*/ 41 h 41"/>
                <a:gd name="T8" fmla="*/ 0 w 45"/>
                <a:gd name="T9" fmla="*/ 24 h 41"/>
              </a:gdLst>
              <a:ahLst/>
              <a:cxnLst>
                <a:cxn ang="0">
                  <a:pos x="T0" y="T1"/>
                </a:cxn>
                <a:cxn ang="0">
                  <a:pos x="T2" y="T3"/>
                </a:cxn>
                <a:cxn ang="0">
                  <a:pos x="T4" y="T5"/>
                </a:cxn>
                <a:cxn ang="0">
                  <a:pos x="T6" y="T7"/>
                </a:cxn>
                <a:cxn ang="0">
                  <a:pos x="T8" y="T9"/>
                </a:cxn>
              </a:cxnLst>
              <a:rect l="0" t="0" r="r" b="b"/>
              <a:pathLst>
                <a:path w="45" h="41">
                  <a:moveTo>
                    <a:pt x="0" y="24"/>
                  </a:moveTo>
                  <a:lnTo>
                    <a:pt x="15" y="0"/>
                  </a:lnTo>
                  <a:lnTo>
                    <a:pt x="45" y="19"/>
                  </a:lnTo>
                  <a:lnTo>
                    <a:pt x="30" y="41"/>
                  </a:lnTo>
                  <a:lnTo>
                    <a:pt x="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2" name="Freeform 150">
              <a:extLst>
                <a:ext uri="{FF2B5EF4-FFF2-40B4-BE49-F238E27FC236}">
                  <a16:creationId xmlns:a16="http://schemas.microsoft.com/office/drawing/2014/main" id="{C99F36B7-5B54-4239-9E79-8A9A88D02DD1}"/>
                </a:ext>
              </a:extLst>
            </p:cNvPr>
            <p:cNvSpPr>
              <a:spLocks/>
            </p:cNvSpPr>
            <p:nvPr/>
          </p:nvSpPr>
          <p:spPr bwMode="auto">
            <a:xfrm>
              <a:off x="7334251" y="5413376"/>
              <a:ext cx="57150" cy="42863"/>
            </a:xfrm>
            <a:custGeom>
              <a:avLst/>
              <a:gdLst>
                <a:gd name="T0" fmla="*/ 0 w 36"/>
                <a:gd name="T1" fmla="*/ 26 h 27"/>
                <a:gd name="T2" fmla="*/ 0 w 36"/>
                <a:gd name="T3" fmla="*/ 0 h 27"/>
                <a:gd name="T4" fmla="*/ 36 w 36"/>
                <a:gd name="T5" fmla="*/ 1 h 27"/>
                <a:gd name="T6" fmla="*/ 36 w 36"/>
                <a:gd name="T7" fmla="*/ 27 h 27"/>
                <a:gd name="T8" fmla="*/ 0 w 36"/>
                <a:gd name="T9" fmla="*/ 26 h 27"/>
              </a:gdLst>
              <a:ahLst/>
              <a:cxnLst>
                <a:cxn ang="0">
                  <a:pos x="T0" y="T1"/>
                </a:cxn>
                <a:cxn ang="0">
                  <a:pos x="T2" y="T3"/>
                </a:cxn>
                <a:cxn ang="0">
                  <a:pos x="T4" y="T5"/>
                </a:cxn>
                <a:cxn ang="0">
                  <a:pos x="T6" y="T7"/>
                </a:cxn>
                <a:cxn ang="0">
                  <a:pos x="T8" y="T9"/>
                </a:cxn>
              </a:cxnLst>
              <a:rect l="0" t="0" r="r" b="b"/>
              <a:pathLst>
                <a:path w="36" h="27">
                  <a:moveTo>
                    <a:pt x="0" y="26"/>
                  </a:moveTo>
                  <a:lnTo>
                    <a:pt x="0" y="0"/>
                  </a:lnTo>
                  <a:lnTo>
                    <a:pt x="36" y="1"/>
                  </a:lnTo>
                  <a:lnTo>
                    <a:pt x="36" y="27"/>
                  </a:lnTo>
                  <a:lnTo>
                    <a:pt x="0"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3" name="Freeform 151">
              <a:extLst>
                <a:ext uri="{FF2B5EF4-FFF2-40B4-BE49-F238E27FC236}">
                  <a16:creationId xmlns:a16="http://schemas.microsoft.com/office/drawing/2014/main" id="{00018FC4-BFA0-49EF-BE11-8CC2D01A12BF}"/>
                </a:ext>
              </a:extLst>
            </p:cNvPr>
            <p:cNvSpPr>
              <a:spLocks/>
            </p:cNvSpPr>
            <p:nvPr/>
          </p:nvSpPr>
          <p:spPr bwMode="auto">
            <a:xfrm>
              <a:off x="7350126" y="5486401"/>
              <a:ext cx="66675" cy="65088"/>
            </a:xfrm>
            <a:custGeom>
              <a:avLst/>
              <a:gdLst>
                <a:gd name="T0" fmla="*/ 0 w 42"/>
                <a:gd name="T1" fmla="*/ 17 h 41"/>
                <a:gd name="T2" fmla="*/ 29 w 42"/>
                <a:gd name="T3" fmla="*/ 0 h 41"/>
                <a:gd name="T4" fmla="*/ 42 w 42"/>
                <a:gd name="T5" fmla="*/ 24 h 41"/>
                <a:gd name="T6" fmla="*/ 13 w 42"/>
                <a:gd name="T7" fmla="*/ 41 h 41"/>
                <a:gd name="T8" fmla="*/ 0 w 42"/>
                <a:gd name="T9" fmla="*/ 17 h 41"/>
              </a:gdLst>
              <a:ahLst/>
              <a:cxnLst>
                <a:cxn ang="0">
                  <a:pos x="T0" y="T1"/>
                </a:cxn>
                <a:cxn ang="0">
                  <a:pos x="T2" y="T3"/>
                </a:cxn>
                <a:cxn ang="0">
                  <a:pos x="T4" y="T5"/>
                </a:cxn>
                <a:cxn ang="0">
                  <a:pos x="T6" y="T7"/>
                </a:cxn>
                <a:cxn ang="0">
                  <a:pos x="T8" y="T9"/>
                </a:cxn>
              </a:cxnLst>
              <a:rect l="0" t="0" r="r" b="b"/>
              <a:pathLst>
                <a:path w="42" h="41">
                  <a:moveTo>
                    <a:pt x="0" y="17"/>
                  </a:moveTo>
                  <a:lnTo>
                    <a:pt x="29" y="0"/>
                  </a:lnTo>
                  <a:lnTo>
                    <a:pt x="42" y="24"/>
                  </a:lnTo>
                  <a:lnTo>
                    <a:pt x="13" y="41"/>
                  </a:lnTo>
                  <a:lnTo>
                    <a:pt x="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4" name="Freeform 152">
              <a:extLst>
                <a:ext uri="{FF2B5EF4-FFF2-40B4-BE49-F238E27FC236}">
                  <a16:creationId xmlns:a16="http://schemas.microsoft.com/office/drawing/2014/main" id="{C5878536-6C05-43B5-9C2A-0DDD81D763DA}"/>
                </a:ext>
              </a:extLst>
            </p:cNvPr>
            <p:cNvSpPr>
              <a:spLocks/>
            </p:cNvSpPr>
            <p:nvPr/>
          </p:nvSpPr>
          <p:spPr bwMode="auto">
            <a:xfrm>
              <a:off x="7412038" y="5545138"/>
              <a:ext cx="63500" cy="69850"/>
            </a:xfrm>
            <a:custGeom>
              <a:avLst/>
              <a:gdLst>
                <a:gd name="T0" fmla="*/ 0 w 40"/>
                <a:gd name="T1" fmla="*/ 30 h 44"/>
                <a:gd name="T2" fmla="*/ 16 w 40"/>
                <a:gd name="T3" fmla="*/ 0 h 44"/>
                <a:gd name="T4" fmla="*/ 40 w 40"/>
                <a:gd name="T5" fmla="*/ 15 h 44"/>
                <a:gd name="T6" fmla="*/ 22 w 40"/>
                <a:gd name="T7" fmla="*/ 44 h 44"/>
                <a:gd name="T8" fmla="*/ 0 w 40"/>
                <a:gd name="T9" fmla="*/ 30 h 44"/>
              </a:gdLst>
              <a:ahLst/>
              <a:cxnLst>
                <a:cxn ang="0">
                  <a:pos x="T0" y="T1"/>
                </a:cxn>
                <a:cxn ang="0">
                  <a:pos x="T2" y="T3"/>
                </a:cxn>
                <a:cxn ang="0">
                  <a:pos x="T4" y="T5"/>
                </a:cxn>
                <a:cxn ang="0">
                  <a:pos x="T6" y="T7"/>
                </a:cxn>
                <a:cxn ang="0">
                  <a:pos x="T8" y="T9"/>
                </a:cxn>
              </a:cxnLst>
              <a:rect l="0" t="0" r="r" b="b"/>
              <a:pathLst>
                <a:path w="40" h="44">
                  <a:moveTo>
                    <a:pt x="0" y="30"/>
                  </a:moveTo>
                  <a:lnTo>
                    <a:pt x="16" y="0"/>
                  </a:lnTo>
                  <a:lnTo>
                    <a:pt x="40" y="15"/>
                  </a:lnTo>
                  <a:lnTo>
                    <a:pt x="22" y="44"/>
                  </a:ln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5" name="Freeform 153">
              <a:extLst>
                <a:ext uri="{FF2B5EF4-FFF2-40B4-BE49-F238E27FC236}">
                  <a16:creationId xmlns:a16="http://schemas.microsoft.com/office/drawing/2014/main" id="{3951FA9A-8F41-4AF1-AF2A-13CDAD9E83C8}"/>
                </a:ext>
              </a:extLst>
            </p:cNvPr>
            <p:cNvSpPr>
              <a:spLocks/>
            </p:cNvSpPr>
            <p:nvPr/>
          </p:nvSpPr>
          <p:spPr bwMode="auto">
            <a:xfrm>
              <a:off x="7502526" y="5576888"/>
              <a:ext cx="44450" cy="57150"/>
            </a:xfrm>
            <a:custGeom>
              <a:avLst/>
              <a:gdLst>
                <a:gd name="T0" fmla="*/ 0 w 28"/>
                <a:gd name="T1" fmla="*/ 36 h 36"/>
                <a:gd name="T2" fmla="*/ 2 w 28"/>
                <a:gd name="T3" fmla="*/ 0 h 36"/>
                <a:gd name="T4" fmla="*/ 28 w 28"/>
                <a:gd name="T5" fmla="*/ 0 h 36"/>
                <a:gd name="T6" fmla="*/ 28 w 28"/>
                <a:gd name="T7" fmla="*/ 36 h 36"/>
                <a:gd name="T8" fmla="*/ 0 w 28"/>
                <a:gd name="T9" fmla="*/ 36 h 36"/>
              </a:gdLst>
              <a:ahLst/>
              <a:cxnLst>
                <a:cxn ang="0">
                  <a:pos x="T0" y="T1"/>
                </a:cxn>
                <a:cxn ang="0">
                  <a:pos x="T2" y="T3"/>
                </a:cxn>
                <a:cxn ang="0">
                  <a:pos x="T4" y="T5"/>
                </a:cxn>
                <a:cxn ang="0">
                  <a:pos x="T6" y="T7"/>
                </a:cxn>
                <a:cxn ang="0">
                  <a:pos x="T8" y="T9"/>
                </a:cxn>
              </a:cxnLst>
              <a:rect l="0" t="0" r="r" b="b"/>
              <a:pathLst>
                <a:path w="28" h="36">
                  <a:moveTo>
                    <a:pt x="0" y="36"/>
                  </a:moveTo>
                  <a:lnTo>
                    <a:pt x="2" y="0"/>
                  </a:lnTo>
                  <a:lnTo>
                    <a:pt x="28" y="0"/>
                  </a:lnTo>
                  <a:lnTo>
                    <a:pt x="28" y="36"/>
                  </a:lnTo>
                  <a:lnTo>
                    <a:pt x="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6" name="Freeform 154">
              <a:extLst>
                <a:ext uri="{FF2B5EF4-FFF2-40B4-BE49-F238E27FC236}">
                  <a16:creationId xmlns:a16="http://schemas.microsoft.com/office/drawing/2014/main" id="{F810D00B-C78E-43D1-823E-6E0C1148C214}"/>
                </a:ext>
              </a:extLst>
            </p:cNvPr>
            <p:cNvSpPr>
              <a:spLocks/>
            </p:cNvSpPr>
            <p:nvPr/>
          </p:nvSpPr>
          <p:spPr bwMode="auto">
            <a:xfrm>
              <a:off x="7575551" y="5551488"/>
              <a:ext cx="65088" cy="66675"/>
            </a:xfrm>
            <a:custGeom>
              <a:avLst/>
              <a:gdLst>
                <a:gd name="T0" fmla="*/ 0 w 41"/>
                <a:gd name="T1" fmla="*/ 13 h 42"/>
                <a:gd name="T2" fmla="*/ 24 w 41"/>
                <a:gd name="T3" fmla="*/ 0 h 42"/>
                <a:gd name="T4" fmla="*/ 41 w 41"/>
                <a:gd name="T5" fmla="*/ 31 h 42"/>
                <a:gd name="T6" fmla="*/ 17 w 41"/>
                <a:gd name="T7" fmla="*/ 42 h 42"/>
                <a:gd name="T8" fmla="*/ 0 w 41"/>
                <a:gd name="T9" fmla="*/ 13 h 42"/>
              </a:gdLst>
              <a:ahLst/>
              <a:cxnLst>
                <a:cxn ang="0">
                  <a:pos x="T0" y="T1"/>
                </a:cxn>
                <a:cxn ang="0">
                  <a:pos x="T2" y="T3"/>
                </a:cxn>
                <a:cxn ang="0">
                  <a:pos x="T4" y="T5"/>
                </a:cxn>
                <a:cxn ang="0">
                  <a:pos x="T6" y="T7"/>
                </a:cxn>
                <a:cxn ang="0">
                  <a:pos x="T8" y="T9"/>
                </a:cxn>
              </a:cxnLst>
              <a:rect l="0" t="0" r="r" b="b"/>
              <a:pathLst>
                <a:path w="41" h="42">
                  <a:moveTo>
                    <a:pt x="0" y="13"/>
                  </a:moveTo>
                  <a:lnTo>
                    <a:pt x="24" y="0"/>
                  </a:lnTo>
                  <a:lnTo>
                    <a:pt x="41" y="31"/>
                  </a:lnTo>
                  <a:lnTo>
                    <a:pt x="17" y="42"/>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7" name="Freeform 155">
              <a:extLst>
                <a:ext uri="{FF2B5EF4-FFF2-40B4-BE49-F238E27FC236}">
                  <a16:creationId xmlns:a16="http://schemas.microsoft.com/office/drawing/2014/main" id="{532D1D37-6173-43C8-9B74-52A045350F33}"/>
                </a:ext>
              </a:extLst>
            </p:cNvPr>
            <p:cNvSpPr>
              <a:spLocks/>
            </p:cNvSpPr>
            <p:nvPr/>
          </p:nvSpPr>
          <p:spPr bwMode="auto">
            <a:xfrm>
              <a:off x="7637463" y="5495926"/>
              <a:ext cx="68263" cy="63500"/>
            </a:xfrm>
            <a:custGeom>
              <a:avLst/>
              <a:gdLst>
                <a:gd name="T0" fmla="*/ 0 w 43"/>
                <a:gd name="T1" fmla="*/ 22 h 40"/>
                <a:gd name="T2" fmla="*/ 13 w 43"/>
                <a:gd name="T3" fmla="*/ 0 h 40"/>
                <a:gd name="T4" fmla="*/ 43 w 43"/>
                <a:gd name="T5" fmla="*/ 16 h 40"/>
                <a:gd name="T6" fmla="*/ 30 w 43"/>
                <a:gd name="T7" fmla="*/ 40 h 40"/>
                <a:gd name="T8" fmla="*/ 0 w 43"/>
                <a:gd name="T9" fmla="*/ 22 h 40"/>
              </a:gdLst>
              <a:ahLst/>
              <a:cxnLst>
                <a:cxn ang="0">
                  <a:pos x="T0" y="T1"/>
                </a:cxn>
                <a:cxn ang="0">
                  <a:pos x="T2" y="T3"/>
                </a:cxn>
                <a:cxn ang="0">
                  <a:pos x="T4" y="T5"/>
                </a:cxn>
                <a:cxn ang="0">
                  <a:pos x="T6" y="T7"/>
                </a:cxn>
                <a:cxn ang="0">
                  <a:pos x="T8" y="T9"/>
                </a:cxn>
              </a:cxnLst>
              <a:rect l="0" t="0" r="r" b="b"/>
              <a:pathLst>
                <a:path w="43" h="40">
                  <a:moveTo>
                    <a:pt x="0" y="22"/>
                  </a:moveTo>
                  <a:lnTo>
                    <a:pt x="13" y="0"/>
                  </a:lnTo>
                  <a:lnTo>
                    <a:pt x="43" y="16"/>
                  </a:lnTo>
                  <a:lnTo>
                    <a:pt x="30" y="40"/>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8" name="Freeform 156">
              <a:extLst>
                <a:ext uri="{FF2B5EF4-FFF2-40B4-BE49-F238E27FC236}">
                  <a16:creationId xmlns:a16="http://schemas.microsoft.com/office/drawing/2014/main" id="{FD8C9679-166C-4D29-8187-1F1BE9C305B2}"/>
                </a:ext>
              </a:extLst>
            </p:cNvPr>
            <p:cNvSpPr>
              <a:spLocks/>
            </p:cNvSpPr>
            <p:nvPr/>
          </p:nvSpPr>
          <p:spPr bwMode="auto">
            <a:xfrm>
              <a:off x="7837488" y="5586413"/>
              <a:ext cx="438150" cy="438150"/>
            </a:xfrm>
            <a:custGeom>
              <a:avLst/>
              <a:gdLst>
                <a:gd name="T0" fmla="*/ 276 w 276"/>
                <a:gd name="T1" fmla="*/ 137 h 276"/>
                <a:gd name="T2" fmla="*/ 274 w 276"/>
                <a:gd name="T3" fmla="*/ 165 h 276"/>
                <a:gd name="T4" fmla="*/ 265 w 276"/>
                <a:gd name="T5" fmla="*/ 191 h 276"/>
                <a:gd name="T6" fmla="*/ 252 w 276"/>
                <a:gd name="T7" fmla="*/ 215 h 276"/>
                <a:gd name="T8" fmla="*/ 235 w 276"/>
                <a:gd name="T9" fmla="*/ 235 h 276"/>
                <a:gd name="T10" fmla="*/ 215 w 276"/>
                <a:gd name="T11" fmla="*/ 252 h 276"/>
                <a:gd name="T12" fmla="*/ 193 w 276"/>
                <a:gd name="T13" fmla="*/ 265 h 276"/>
                <a:gd name="T14" fmla="*/ 167 w 276"/>
                <a:gd name="T15" fmla="*/ 272 h 276"/>
                <a:gd name="T16" fmla="*/ 139 w 276"/>
                <a:gd name="T17" fmla="*/ 276 h 276"/>
                <a:gd name="T18" fmla="*/ 124 w 276"/>
                <a:gd name="T19" fmla="*/ 274 h 276"/>
                <a:gd name="T20" fmla="*/ 97 w 276"/>
                <a:gd name="T21" fmla="*/ 269 h 276"/>
                <a:gd name="T22" fmla="*/ 72 w 276"/>
                <a:gd name="T23" fmla="*/ 259 h 276"/>
                <a:gd name="T24" fmla="*/ 50 w 276"/>
                <a:gd name="T25" fmla="*/ 245 h 276"/>
                <a:gd name="T26" fmla="*/ 32 w 276"/>
                <a:gd name="T27" fmla="*/ 226 h 276"/>
                <a:gd name="T28" fmla="*/ 17 w 276"/>
                <a:gd name="T29" fmla="*/ 204 h 276"/>
                <a:gd name="T30" fmla="*/ 6 w 276"/>
                <a:gd name="T31" fmla="*/ 178 h 276"/>
                <a:gd name="T32" fmla="*/ 0 w 276"/>
                <a:gd name="T33" fmla="*/ 152 h 276"/>
                <a:gd name="T34" fmla="*/ 0 w 276"/>
                <a:gd name="T35" fmla="*/ 137 h 276"/>
                <a:gd name="T36" fmla="*/ 4 w 276"/>
                <a:gd name="T37" fmla="*/ 109 h 276"/>
                <a:gd name="T38" fmla="*/ 11 w 276"/>
                <a:gd name="T39" fmla="*/ 83 h 276"/>
                <a:gd name="T40" fmla="*/ 24 w 276"/>
                <a:gd name="T41" fmla="*/ 61 h 276"/>
                <a:gd name="T42" fmla="*/ 41 w 276"/>
                <a:gd name="T43" fmla="*/ 41 h 276"/>
                <a:gd name="T44" fmla="*/ 61 w 276"/>
                <a:gd name="T45" fmla="*/ 22 h 276"/>
                <a:gd name="T46" fmla="*/ 85 w 276"/>
                <a:gd name="T47" fmla="*/ 11 h 276"/>
                <a:gd name="T48" fmla="*/ 111 w 276"/>
                <a:gd name="T49" fmla="*/ 2 h 276"/>
                <a:gd name="T50" fmla="*/ 139 w 276"/>
                <a:gd name="T51" fmla="*/ 0 h 276"/>
                <a:gd name="T52" fmla="*/ 152 w 276"/>
                <a:gd name="T53" fmla="*/ 0 h 276"/>
                <a:gd name="T54" fmla="*/ 180 w 276"/>
                <a:gd name="T55" fmla="*/ 6 h 276"/>
                <a:gd name="T56" fmla="*/ 204 w 276"/>
                <a:gd name="T57" fmla="*/ 17 h 276"/>
                <a:gd name="T58" fmla="*/ 226 w 276"/>
                <a:gd name="T59" fmla="*/ 31 h 276"/>
                <a:gd name="T60" fmla="*/ 245 w 276"/>
                <a:gd name="T61" fmla="*/ 50 h 276"/>
                <a:gd name="T62" fmla="*/ 260 w 276"/>
                <a:gd name="T63" fmla="*/ 72 h 276"/>
                <a:gd name="T64" fmla="*/ 271 w 276"/>
                <a:gd name="T65" fmla="*/ 96 h 276"/>
                <a:gd name="T66" fmla="*/ 276 w 276"/>
                <a:gd name="T67" fmla="*/ 124 h 276"/>
                <a:gd name="T68" fmla="*/ 276 w 276"/>
                <a:gd name="T69" fmla="*/ 13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6" h="276">
                  <a:moveTo>
                    <a:pt x="276" y="137"/>
                  </a:moveTo>
                  <a:lnTo>
                    <a:pt x="276" y="137"/>
                  </a:lnTo>
                  <a:lnTo>
                    <a:pt x="276" y="152"/>
                  </a:lnTo>
                  <a:lnTo>
                    <a:pt x="274" y="165"/>
                  </a:lnTo>
                  <a:lnTo>
                    <a:pt x="271" y="178"/>
                  </a:lnTo>
                  <a:lnTo>
                    <a:pt x="265" y="191"/>
                  </a:lnTo>
                  <a:lnTo>
                    <a:pt x="260" y="204"/>
                  </a:lnTo>
                  <a:lnTo>
                    <a:pt x="252" y="215"/>
                  </a:lnTo>
                  <a:lnTo>
                    <a:pt x="245" y="226"/>
                  </a:lnTo>
                  <a:lnTo>
                    <a:pt x="235" y="235"/>
                  </a:lnTo>
                  <a:lnTo>
                    <a:pt x="226" y="245"/>
                  </a:lnTo>
                  <a:lnTo>
                    <a:pt x="215" y="252"/>
                  </a:lnTo>
                  <a:lnTo>
                    <a:pt x="204" y="259"/>
                  </a:lnTo>
                  <a:lnTo>
                    <a:pt x="193" y="265"/>
                  </a:lnTo>
                  <a:lnTo>
                    <a:pt x="180" y="269"/>
                  </a:lnTo>
                  <a:lnTo>
                    <a:pt x="167" y="272"/>
                  </a:lnTo>
                  <a:lnTo>
                    <a:pt x="152" y="274"/>
                  </a:lnTo>
                  <a:lnTo>
                    <a:pt x="139" y="276"/>
                  </a:lnTo>
                  <a:lnTo>
                    <a:pt x="139" y="276"/>
                  </a:lnTo>
                  <a:lnTo>
                    <a:pt x="124" y="274"/>
                  </a:lnTo>
                  <a:lnTo>
                    <a:pt x="111" y="272"/>
                  </a:lnTo>
                  <a:lnTo>
                    <a:pt x="97" y="269"/>
                  </a:lnTo>
                  <a:lnTo>
                    <a:pt x="85" y="265"/>
                  </a:lnTo>
                  <a:lnTo>
                    <a:pt x="72" y="259"/>
                  </a:lnTo>
                  <a:lnTo>
                    <a:pt x="61" y="252"/>
                  </a:lnTo>
                  <a:lnTo>
                    <a:pt x="50" y="245"/>
                  </a:lnTo>
                  <a:lnTo>
                    <a:pt x="41" y="235"/>
                  </a:lnTo>
                  <a:lnTo>
                    <a:pt x="32" y="226"/>
                  </a:lnTo>
                  <a:lnTo>
                    <a:pt x="24" y="215"/>
                  </a:lnTo>
                  <a:lnTo>
                    <a:pt x="17" y="204"/>
                  </a:lnTo>
                  <a:lnTo>
                    <a:pt x="11" y="191"/>
                  </a:lnTo>
                  <a:lnTo>
                    <a:pt x="6" y="178"/>
                  </a:lnTo>
                  <a:lnTo>
                    <a:pt x="4" y="165"/>
                  </a:lnTo>
                  <a:lnTo>
                    <a:pt x="0" y="152"/>
                  </a:lnTo>
                  <a:lnTo>
                    <a:pt x="0" y="137"/>
                  </a:lnTo>
                  <a:lnTo>
                    <a:pt x="0" y="137"/>
                  </a:lnTo>
                  <a:lnTo>
                    <a:pt x="0" y="124"/>
                  </a:lnTo>
                  <a:lnTo>
                    <a:pt x="4" y="109"/>
                  </a:lnTo>
                  <a:lnTo>
                    <a:pt x="6" y="96"/>
                  </a:lnTo>
                  <a:lnTo>
                    <a:pt x="11" y="83"/>
                  </a:lnTo>
                  <a:lnTo>
                    <a:pt x="17" y="72"/>
                  </a:lnTo>
                  <a:lnTo>
                    <a:pt x="24" y="61"/>
                  </a:lnTo>
                  <a:lnTo>
                    <a:pt x="32" y="50"/>
                  </a:lnTo>
                  <a:lnTo>
                    <a:pt x="41" y="41"/>
                  </a:lnTo>
                  <a:lnTo>
                    <a:pt x="50" y="31"/>
                  </a:lnTo>
                  <a:lnTo>
                    <a:pt x="61" y="22"/>
                  </a:lnTo>
                  <a:lnTo>
                    <a:pt x="72" y="17"/>
                  </a:lnTo>
                  <a:lnTo>
                    <a:pt x="85" y="11"/>
                  </a:lnTo>
                  <a:lnTo>
                    <a:pt x="97" y="6"/>
                  </a:lnTo>
                  <a:lnTo>
                    <a:pt x="111" y="2"/>
                  </a:lnTo>
                  <a:lnTo>
                    <a:pt x="124" y="0"/>
                  </a:lnTo>
                  <a:lnTo>
                    <a:pt x="139" y="0"/>
                  </a:lnTo>
                  <a:lnTo>
                    <a:pt x="139" y="0"/>
                  </a:lnTo>
                  <a:lnTo>
                    <a:pt x="152" y="0"/>
                  </a:lnTo>
                  <a:lnTo>
                    <a:pt x="167" y="2"/>
                  </a:lnTo>
                  <a:lnTo>
                    <a:pt x="180" y="6"/>
                  </a:lnTo>
                  <a:lnTo>
                    <a:pt x="193" y="11"/>
                  </a:lnTo>
                  <a:lnTo>
                    <a:pt x="204" y="17"/>
                  </a:lnTo>
                  <a:lnTo>
                    <a:pt x="215" y="22"/>
                  </a:lnTo>
                  <a:lnTo>
                    <a:pt x="226" y="31"/>
                  </a:lnTo>
                  <a:lnTo>
                    <a:pt x="235" y="41"/>
                  </a:lnTo>
                  <a:lnTo>
                    <a:pt x="245" y="50"/>
                  </a:lnTo>
                  <a:lnTo>
                    <a:pt x="252" y="61"/>
                  </a:lnTo>
                  <a:lnTo>
                    <a:pt x="260" y="72"/>
                  </a:lnTo>
                  <a:lnTo>
                    <a:pt x="265" y="83"/>
                  </a:lnTo>
                  <a:lnTo>
                    <a:pt x="271" y="96"/>
                  </a:lnTo>
                  <a:lnTo>
                    <a:pt x="274" y="109"/>
                  </a:lnTo>
                  <a:lnTo>
                    <a:pt x="276" y="124"/>
                  </a:lnTo>
                  <a:lnTo>
                    <a:pt x="276" y="137"/>
                  </a:lnTo>
                  <a:lnTo>
                    <a:pt x="276" y="137"/>
                  </a:lnTo>
                  <a:close/>
                </a:path>
              </a:pathLst>
            </a:custGeom>
            <a:solidFill>
              <a:srgbClr val="046A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09" name="Freeform 157">
              <a:extLst>
                <a:ext uri="{FF2B5EF4-FFF2-40B4-BE49-F238E27FC236}">
                  <a16:creationId xmlns:a16="http://schemas.microsoft.com/office/drawing/2014/main" id="{443F33FC-7717-434D-9942-9F8A48D9A252}"/>
                </a:ext>
              </a:extLst>
            </p:cNvPr>
            <p:cNvSpPr>
              <a:spLocks noEditPoints="1"/>
            </p:cNvSpPr>
            <p:nvPr/>
          </p:nvSpPr>
          <p:spPr bwMode="auto">
            <a:xfrm>
              <a:off x="7808913" y="5462588"/>
              <a:ext cx="604838" cy="514350"/>
            </a:xfrm>
            <a:custGeom>
              <a:avLst/>
              <a:gdLst>
                <a:gd name="T0" fmla="*/ 335 w 381"/>
                <a:gd name="T1" fmla="*/ 315 h 324"/>
                <a:gd name="T2" fmla="*/ 342 w 381"/>
                <a:gd name="T3" fmla="*/ 300 h 324"/>
                <a:gd name="T4" fmla="*/ 367 w 381"/>
                <a:gd name="T5" fmla="*/ 295 h 324"/>
                <a:gd name="T6" fmla="*/ 359 w 381"/>
                <a:gd name="T7" fmla="*/ 310 h 324"/>
                <a:gd name="T8" fmla="*/ 352 w 381"/>
                <a:gd name="T9" fmla="*/ 324 h 324"/>
                <a:gd name="T10" fmla="*/ 359 w 381"/>
                <a:gd name="T11" fmla="*/ 258 h 324"/>
                <a:gd name="T12" fmla="*/ 361 w 381"/>
                <a:gd name="T13" fmla="*/ 243 h 324"/>
                <a:gd name="T14" fmla="*/ 381 w 381"/>
                <a:gd name="T15" fmla="*/ 228 h 324"/>
                <a:gd name="T16" fmla="*/ 379 w 381"/>
                <a:gd name="T17" fmla="*/ 245 h 324"/>
                <a:gd name="T18" fmla="*/ 376 w 381"/>
                <a:gd name="T19" fmla="*/ 261 h 324"/>
                <a:gd name="T20" fmla="*/ 363 w 381"/>
                <a:gd name="T21" fmla="*/ 197 h 324"/>
                <a:gd name="T22" fmla="*/ 357 w 381"/>
                <a:gd name="T23" fmla="*/ 165 h 324"/>
                <a:gd name="T24" fmla="*/ 374 w 381"/>
                <a:gd name="T25" fmla="*/ 161 h 324"/>
                <a:gd name="T26" fmla="*/ 381 w 381"/>
                <a:gd name="T27" fmla="*/ 195 h 324"/>
                <a:gd name="T28" fmla="*/ 346 w 381"/>
                <a:gd name="T29" fmla="*/ 137 h 324"/>
                <a:gd name="T30" fmla="*/ 341 w 381"/>
                <a:gd name="T31" fmla="*/ 122 h 324"/>
                <a:gd name="T32" fmla="*/ 348 w 381"/>
                <a:gd name="T33" fmla="*/ 100 h 324"/>
                <a:gd name="T34" fmla="*/ 355 w 381"/>
                <a:gd name="T35" fmla="*/ 113 h 324"/>
                <a:gd name="T36" fmla="*/ 346 w 381"/>
                <a:gd name="T37" fmla="*/ 137 h 324"/>
                <a:gd name="T38" fmla="*/ 0 w 381"/>
                <a:gd name="T39" fmla="*/ 76 h 324"/>
                <a:gd name="T40" fmla="*/ 11 w 381"/>
                <a:gd name="T41" fmla="*/ 63 h 324"/>
                <a:gd name="T42" fmla="*/ 37 w 381"/>
                <a:gd name="T43" fmla="*/ 67 h 324"/>
                <a:gd name="T44" fmla="*/ 26 w 381"/>
                <a:gd name="T45" fmla="*/ 76 h 324"/>
                <a:gd name="T46" fmla="*/ 14 w 381"/>
                <a:gd name="T47" fmla="*/ 89 h 324"/>
                <a:gd name="T48" fmla="*/ 313 w 381"/>
                <a:gd name="T49" fmla="*/ 85 h 324"/>
                <a:gd name="T50" fmla="*/ 291 w 381"/>
                <a:gd name="T51" fmla="*/ 63 h 324"/>
                <a:gd name="T52" fmla="*/ 304 w 381"/>
                <a:gd name="T53" fmla="*/ 48 h 324"/>
                <a:gd name="T54" fmla="*/ 328 w 381"/>
                <a:gd name="T55" fmla="*/ 72 h 324"/>
                <a:gd name="T56" fmla="*/ 61 w 381"/>
                <a:gd name="T57" fmla="*/ 48 h 324"/>
                <a:gd name="T58" fmla="*/ 52 w 381"/>
                <a:gd name="T59" fmla="*/ 32 h 324"/>
                <a:gd name="T60" fmla="*/ 81 w 381"/>
                <a:gd name="T61" fmla="*/ 17 h 324"/>
                <a:gd name="T62" fmla="*/ 89 w 381"/>
                <a:gd name="T63" fmla="*/ 33 h 324"/>
                <a:gd name="T64" fmla="*/ 61 w 381"/>
                <a:gd name="T65" fmla="*/ 48 h 324"/>
                <a:gd name="T66" fmla="*/ 266 w 381"/>
                <a:gd name="T67" fmla="*/ 46 h 324"/>
                <a:gd name="T68" fmla="*/ 252 w 381"/>
                <a:gd name="T69" fmla="*/ 39 h 324"/>
                <a:gd name="T70" fmla="*/ 246 w 381"/>
                <a:gd name="T71" fmla="*/ 15 h 324"/>
                <a:gd name="T72" fmla="*/ 261 w 381"/>
                <a:gd name="T73" fmla="*/ 22 h 324"/>
                <a:gd name="T74" fmla="*/ 266 w 381"/>
                <a:gd name="T75" fmla="*/ 46 h 324"/>
                <a:gd name="T76" fmla="*/ 113 w 381"/>
                <a:gd name="T77" fmla="*/ 6 h 324"/>
                <a:gd name="T78" fmla="*/ 129 w 381"/>
                <a:gd name="T79" fmla="*/ 2 h 324"/>
                <a:gd name="T80" fmla="*/ 148 w 381"/>
                <a:gd name="T81" fmla="*/ 19 h 324"/>
                <a:gd name="T82" fmla="*/ 133 w 381"/>
                <a:gd name="T83" fmla="*/ 21 h 324"/>
                <a:gd name="T84" fmla="*/ 116 w 381"/>
                <a:gd name="T85" fmla="*/ 24 h 324"/>
                <a:gd name="T86" fmla="*/ 209 w 381"/>
                <a:gd name="T87" fmla="*/ 22 h 324"/>
                <a:gd name="T88" fmla="*/ 178 w 381"/>
                <a:gd name="T89" fmla="*/ 19 h 324"/>
                <a:gd name="T90" fmla="*/ 179 w 381"/>
                <a:gd name="T91" fmla="*/ 0 h 324"/>
                <a:gd name="T92" fmla="*/ 213 w 381"/>
                <a:gd name="T93" fmla="*/ 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1" h="324">
                  <a:moveTo>
                    <a:pt x="352" y="324"/>
                  </a:moveTo>
                  <a:lnTo>
                    <a:pt x="335" y="315"/>
                  </a:lnTo>
                  <a:lnTo>
                    <a:pt x="335" y="315"/>
                  </a:lnTo>
                  <a:lnTo>
                    <a:pt x="342" y="300"/>
                  </a:lnTo>
                  <a:lnTo>
                    <a:pt x="350" y="287"/>
                  </a:lnTo>
                  <a:lnTo>
                    <a:pt x="367" y="295"/>
                  </a:lnTo>
                  <a:lnTo>
                    <a:pt x="367" y="295"/>
                  </a:lnTo>
                  <a:lnTo>
                    <a:pt x="359" y="310"/>
                  </a:lnTo>
                  <a:lnTo>
                    <a:pt x="352" y="324"/>
                  </a:lnTo>
                  <a:lnTo>
                    <a:pt x="352" y="324"/>
                  </a:lnTo>
                  <a:close/>
                  <a:moveTo>
                    <a:pt x="376" y="261"/>
                  </a:moveTo>
                  <a:lnTo>
                    <a:pt x="359" y="258"/>
                  </a:lnTo>
                  <a:lnTo>
                    <a:pt x="359" y="258"/>
                  </a:lnTo>
                  <a:lnTo>
                    <a:pt x="361" y="243"/>
                  </a:lnTo>
                  <a:lnTo>
                    <a:pt x="363" y="226"/>
                  </a:lnTo>
                  <a:lnTo>
                    <a:pt x="381" y="228"/>
                  </a:lnTo>
                  <a:lnTo>
                    <a:pt x="381" y="228"/>
                  </a:lnTo>
                  <a:lnTo>
                    <a:pt x="379" y="245"/>
                  </a:lnTo>
                  <a:lnTo>
                    <a:pt x="376" y="261"/>
                  </a:lnTo>
                  <a:lnTo>
                    <a:pt x="376" y="261"/>
                  </a:lnTo>
                  <a:close/>
                  <a:moveTo>
                    <a:pt x="363" y="197"/>
                  </a:moveTo>
                  <a:lnTo>
                    <a:pt x="363" y="197"/>
                  </a:lnTo>
                  <a:lnTo>
                    <a:pt x="359" y="182"/>
                  </a:lnTo>
                  <a:lnTo>
                    <a:pt x="357" y="165"/>
                  </a:lnTo>
                  <a:lnTo>
                    <a:pt x="374" y="161"/>
                  </a:lnTo>
                  <a:lnTo>
                    <a:pt x="374" y="161"/>
                  </a:lnTo>
                  <a:lnTo>
                    <a:pt x="378" y="178"/>
                  </a:lnTo>
                  <a:lnTo>
                    <a:pt x="381" y="195"/>
                  </a:lnTo>
                  <a:lnTo>
                    <a:pt x="363" y="197"/>
                  </a:lnTo>
                  <a:close/>
                  <a:moveTo>
                    <a:pt x="346" y="137"/>
                  </a:moveTo>
                  <a:lnTo>
                    <a:pt x="346" y="137"/>
                  </a:lnTo>
                  <a:lnTo>
                    <a:pt x="341" y="122"/>
                  </a:lnTo>
                  <a:lnTo>
                    <a:pt x="331" y="109"/>
                  </a:lnTo>
                  <a:lnTo>
                    <a:pt x="348" y="100"/>
                  </a:lnTo>
                  <a:lnTo>
                    <a:pt x="348" y="100"/>
                  </a:lnTo>
                  <a:lnTo>
                    <a:pt x="355" y="113"/>
                  </a:lnTo>
                  <a:lnTo>
                    <a:pt x="363" y="130"/>
                  </a:lnTo>
                  <a:lnTo>
                    <a:pt x="346" y="137"/>
                  </a:lnTo>
                  <a:close/>
                  <a:moveTo>
                    <a:pt x="14" y="89"/>
                  </a:moveTo>
                  <a:lnTo>
                    <a:pt x="0" y="76"/>
                  </a:lnTo>
                  <a:lnTo>
                    <a:pt x="0" y="76"/>
                  </a:lnTo>
                  <a:lnTo>
                    <a:pt x="11" y="63"/>
                  </a:lnTo>
                  <a:lnTo>
                    <a:pt x="24" y="52"/>
                  </a:lnTo>
                  <a:lnTo>
                    <a:pt x="37" y="67"/>
                  </a:lnTo>
                  <a:lnTo>
                    <a:pt x="37" y="67"/>
                  </a:lnTo>
                  <a:lnTo>
                    <a:pt x="26" y="76"/>
                  </a:lnTo>
                  <a:lnTo>
                    <a:pt x="14" y="89"/>
                  </a:lnTo>
                  <a:lnTo>
                    <a:pt x="14" y="89"/>
                  </a:lnTo>
                  <a:close/>
                  <a:moveTo>
                    <a:pt x="313" y="85"/>
                  </a:moveTo>
                  <a:lnTo>
                    <a:pt x="313" y="85"/>
                  </a:lnTo>
                  <a:lnTo>
                    <a:pt x="304" y="74"/>
                  </a:lnTo>
                  <a:lnTo>
                    <a:pt x="291" y="63"/>
                  </a:lnTo>
                  <a:lnTo>
                    <a:pt x="304" y="48"/>
                  </a:lnTo>
                  <a:lnTo>
                    <a:pt x="304" y="48"/>
                  </a:lnTo>
                  <a:lnTo>
                    <a:pt x="316" y="61"/>
                  </a:lnTo>
                  <a:lnTo>
                    <a:pt x="328" y="72"/>
                  </a:lnTo>
                  <a:lnTo>
                    <a:pt x="313" y="85"/>
                  </a:lnTo>
                  <a:close/>
                  <a:moveTo>
                    <a:pt x="61" y="48"/>
                  </a:moveTo>
                  <a:lnTo>
                    <a:pt x="52" y="32"/>
                  </a:lnTo>
                  <a:lnTo>
                    <a:pt x="52" y="32"/>
                  </a:lnTo>
                  <a:lnTo>
                    <a:pt x="64" y="24"/>
                  </a:lnTo>
                  <a:lnTo>
                    <a:pt x="81" y="17"/>
                  </a:lnTo>
                  <a:lnTo>
                    <a:pt x="89" y="33"/>
                  </a:lnTo>
                  <a:lnTo>
                    <a:pt x="89" y="33"/>
                  </a:lnTo>
                  <a:lnTo>
                    <a:pt x="74" y="39"/>
                  </a:lnTo>
                  <a:lnTo>
                    <a:pt x="61" y="48"/>
                  </a:lnTo>
                  <a:lnTo>
                    <a:pt x="61" y="48"/>
                  </a:lnTo>
                  <a:close/>
                  <a:moveTo>
                    <a:pt x="266" y="46"/>
                  </a:moveTo>
                  <a:lnTo>
                    <a:pt x="266" y="46"/>
                  </a:lnTo>
                  <a:lnTo>
                    <a:pt x="252" y="39"/>
                  </a:lnTo>
                  <a:lnTo>
                    <a:pt x="239" y="32"/>
                  </a:lnTo>
                  <a:lnTo>
                    <a:pt x="246" y="15"/>
                  </a:lnTo>
                  <a:lnTo>
                    <a:pt x="246" y="15"/>
                  </a:lnTo>
                  <a:lnTo>
                    <a:pt x="261" y="22"/>
                  </a:lnTo>
                  <a:lnTo>
                    <a:pt x="276" y="30"/>
                  </a:lnTo>
                  <a:lnTo>
                    <a:pt x="266" y="46"/>
                  </a:lnTo>
                  <a:close/>
                  <a:moveTo>
                    <a:pt x="116" y="24"/>
                  </a:moveTo>
                  <a:lnTo>
                    <a:pt x="113" y="6"/>
                  </a:lnTo>
                  <a:lnTo>
                    <a:pt x="113" y="6"/>
                  </a:lnTo>
                  <a:lnTo>
                    <a:pt x="129" y="2"/>
                  </a:lnTo>
                  <a:lnTo>
                    <a:pt x="146" y="0"/>
                  </a:lnTo>
                  <a:lnTo>
                    <a:pt x="148" y="19"/>
                  </a:lnTo>
                  <a:lnTo>
                    <a:pt x="148" y="19"/>
                  </a:lnTo>
                  <a:lnTo>
                    <a:pt x="133" y="21"/>
                  </a:lnTo>
                  <a:lnTo>
                    <a:pt x="116" y="24"/>
                  </a:lnTo>
                  <a:lnTo>
                    <a:pt x="116" y="24"/>
                  </a:lnTo>
                  <a:close/>
                  <a:moveTo>
                    <a:pt x="209" y="22"/>
                  </a:moveTo>
                  <a:lnTo>
                    <a:pt x="209" y="22"/>
                  </a:lnTo>
                  <a:lnTo>
                    <a:pt x="194" y="21"/>
                  </a:lnTo>
                  <a:lnTo>
                    <a:pt x="178" y="19"/>
                  </a:lnTo>
                  <a:lnTo>
                    <a:pt x="179" y="0"/>
                  </a:lnTo>
                  <a:lnTo>
                    <a:pt x="179" y="0"/>
                  </a:lnTo>
                  <a:lnTo>
                    <a:pt x="196" y="2"/>
                  </a:lnTo>
                  <a:lnTo>
                    <a:pt x="213" y="4"/>
                  </a:lnTo>
                  <a:lnTo>
                    <a:pt x="20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10" name="Freeform 158">
              <a:extLst>
                <a:ext uri="{FF2B5EF4-FFF2-40B4-BE49-F238E27FC236}">
                  <a16:creationId xmlns:a16="http://schemas.microsoft.com/office/drawing/2014/main" id="{0B7EF12E-986D-442D-A3A6-A2AF797977C4}"/>
                </a:ext>
              </a:extLst>
            </p:cNvPr>
            <p:cNvSpPr>
              <a:spLocks noEditPoints="1"/>
            </p:cNvSpPr>
            <p:nvPr/>
          </p:nvSpPr>
          <p:spPr bwMode="auto">
            <a:xfrm>
              <a:off x="7199313" y="5245101"/>
              <a:ext cx="606425" cy="514350"/>
            </a:xfrm>
            <a:custGeom>
              <a:avLst/>
              <a:gdLst>
                <a:gd name="T0" fmla="*/ 202 w 382"/>
                <a:gd name="T1" fmla="*/ 324 h 324"/>
                <a:gd name="T2" fmla="*/ 169 w 382"/>
                <a:gd name="T3" fmla="*/ 319 h 324"/>
                <a:gd name="T4" fmla="*/ 172 w 382"/>
                <a:gd name="T5" fmla="*/ 300 h 324"/>
                <a:gd name="T6" fmla="*/ 202 w 382"/>
                <a:gd name="T7" fmla="*/ 306 h 324"/>
                <a:gd name="T8" fmla="*/ 235 w 382"/>
                <a:gd name="T9" fmla="*/ 324 h 324"/>
                <a:gd name="T10" fmla="*/ 234 w 382"/>
                <a:gd name="T11" fmla="*/ 306 h 324"/>
                <a:gd name="T12" fmla="*/ 263 w 382"/>
                <a:gd name="T13" fmla="*/ 300 h 324"/>
                <a:gd name="T14" fmla="*/ 269 w 382"/>
                <a:gd name="T15" fmla="*/ 319 h 324"/>
                <a:gd name="T16" fmla="*/ 235 w 382"/>
                <a:gd name="T17" fmla="*/ 324 h 324"/>
                <a:gd name="T18" fmla="*/ 135 w 382"/>
                <a:gd name="T19" fmla="*/ 309 h 324"/>
                <a:gd name="T20" fmla="*/ 121 w 382"/>
                <a:gd name="T21" fmla="*/ 302 h 324"/>
                <a:gd name="T22" fmla="*/ 115 w 382"/>
                <a:gd name="T23" fmla="*/ 278 h 324"/>
                <a:gd name="T24" fmla="*/ 128 w 382"/>
                <a:gd name="T25" fmla="*/ 285 h 324"/>
                <a:gd name="T26" fmla="*/ 135 w 382"/>
                <a:gd name="T27" fmla="*/ 309 h 324"/>
                <a:gd name="T28" fmla="*/ 293 w 382"/>
                <a:gd name="T29" fmla="*/ 291 h 324"/>
                <a:gd name="T30" fmla="*/ 308 w 382"/>
                <a:gd name="T31" fmla="*/ 283 h 324"/>
                <a:gd name="T32" fmla="*/ 330 w 382"/>
                <a:gd name="T33" fmla="*/ 291 h 324"/>
                <a:gd name="T34" fmla="*/ 315 w 382"/>
                <a:gd name="T35" fmla="*/ 300 h 324"/>
                <a:gd name="T36" fmla="*/ 300 w 382"/>
                <a:gd name="T37" fmla="*/ 308 h 324"/>
                <a:gd name="T38" fmla="*/ 78 w 382"/>
                <a:gd name="T39" fmla="*/ 274 h 324"/>
                <a:gd name="T40" fmla="*/ 54 w 382"/>
                <a:gd name="T41" fmla="*/ 250 h 324"/>
                <a:gd name="T42" fmla="*/ 69 w 382"/>
                <a:gd name="T43" fmla="*/ 239 h 324"/>
                <a:gd name="T44" fmla="*/ 91 w 382"/>
                <a:gd name="T45" fmla="*/ 259 h 324"/>
                <a:gd name="T46" fmla="*/ 358 w 382"/>
                <a:gd name="T47" fmla="*/ 271 h 324"/>
                <a:gd name="T48" fmla="*/ 345 w 382"/>
                <a:gd name="T49" fmla="*/ 258 h 324"/>
                <a:gd name="T50" fmla="*/ 367 w 382"/>
                <a:gd name="T51" fmla="*/ 235 h 324"/>
                <a:gd name="T52" fmla="*/ 382 w 382"/>
                <a:gd name="T53" fmla="*/ 246 h 324"/>
                <a:gd name="T54" fmla="*/ 358 w 382"/>
                <a:gd name="T55" fmla="*/ 271 h 324"/>
                <a:gd name="T56" fmla="*/ 33 w 382"/>
                <a:gd name="T57" fmla="*/ 224 h 324"/>
                <a:gd name="T58" fmla="*/ 24 w 382"/>
                <a:gd name="T59" fmla="*/ 209 h 324"/>
                <a:gd name="T60" fmla="*/ 35 w 382"/>
                <a:gd name="T61" fmla="*/ 187 h 324"/>
                <a:gd name="T62" fmla="*/ 41 w 382"/>
                <a:gd name="T63" fmla="*/ 200 h 324"/>
                <a:gd name="T64" fmla="*/ 33 w 382"/>
                <a:gd name="T65" fmla="*/ 224 h 324"/>
                <a:gd name="T66" fmla="*/ 8 w 382"/>
                <a:gd name="T67" fmla="*/ 163 h 324"/>
                <a:gd name="T68" fmla="*/ 0 w 382"/>
                <a:gd name="T69" fmla="*/ 130 h 324"/>
                <a:gd name="T70" fmla="*/ 19 w 382"/>
                <a:gd name="T71" fmla="*/ 128 h 324"/>
                <a:gd name="T72" fmla="*/ 24 w 382"/>
                <a:gd name="T73" fmla="*/ 158 h 324"/>
                <a:gd name="T74" fmla="*/ 19 w 382"/>
                <a:gd name="T75" fmla="*/ 96 h 324"/>
                <a:gd name="T76" fmla="*/ 0 w 382"/>
                <a:gd name="T77" fmla="*/ 95 h 324"/>
                <a:gd name="T78" fmla="*/ 4 w 382"/>
                <a:gd name="T79" fmla="*/ 61 h 324"/>
                <a:gd name="T80" fmla="*/ 22 w 382"/>
                <a:gd name="T81" fmla="*/ 67 h 324"/>
                <a:gd name="T82" fmla="*/ 19 w 382"/>
                <a:gd name="T83" fmla="*/ 96 h 324"/>
                <a:gd name="T84" fmla="*/ 32 w 382"/>
                <a:gd name="T85" fmla="*/ 37 h 324"/>
                <a:gd name="T86" fmla="*/ 15 w 382"/>
                <a:gd name="T87" fmla="*/ 30 h 324"/>
                <a:gd name="T88" fmla="*/ 30 w 382"/>
                <a:gd name="T89" fmla="*/ 0 h 324"/>
                <a:gd name="T90" fmla="*/ 45 w 382"/>
                <a:gd name="T91" fmla="*/ 9 h 324"/>
                <a:gd name="T92" fmla="*/ 32 w 382"/>
                <a:gd name="T93" fmla="*/ 3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2" h="324">
                  <a:moveTo>
                    <a:pt x="202" y="324"/>
                  </a:moveTo>
                  <a:lnTo>
                    <a:pt x="202" y="324"/>
                  </a:lnTo>
                  <a:lnTo>
                    <a:pt x="185" y="322"/>
                  </a:lnTo>
                  <a:lnTo>
                    <a:pt x="169" y="319"/>
                  </a:lnTo>
                  <a:lnTo>
                    <a:pt x="172" y="300"/>
                  </a:lnTo>
                  <a:lnTo>
                    <a:pt x="172" y="300"/>
                  </a:lnTo>
                  <a:lnTo>
                    <a:pt x="187" y="304"/>
                  </a:lnTo>
                  <a:lnTo>
                    <a:pt x="202" y="306"/>
                  </a:lnTo>
                  <a:lnTo>
                    <a:pt x="202" y="324"/>
                  </a:lnTo>
                  <a:close/>
                  <a:moveTo>
                    <a:pt x="235" y="324"/>
                  </a:moveTo>
                  <a:lnTo>
                    <a:pt x="234" y="306"/>
                  </a:lnTo>
                  <a:lnTo>
                    <a:pt x="234" y="306"/>
                  </a:lnTo>
                  <a:lnTo>
                    <a:pt x="248" y="304"/>
                  </a:lnTo>
                  <a:lnTo>
                    <a:pt x="263" y="300"/>
                  </a:lnTo>
                  <a:lnTo>
                    <a:pt x="269" y="319"/>
                  </a:lnTo>
                  <a:lnTo>
                    <a:pt x="269" y="319"/>
                  </a:lnTo>
                  <a:lnTo>
                    <a:pt x="252" y="321"/>
                  </a:lnTo>
                  <a:lnTo>
                    <a:pt x="235" y="324"/>
                  </a:lnTo>
                  <a:lnTo>
                    <a:pt x="235" y="324"/>
                  </a:lnTo>
                  <a:close/>
                  <a:moveTo>
                    <a:pt x="135" y="309"/>
                  </a:moveTo>
                  <a:lnTo>
                    <a:pt x="135" y="309"/>
                  </a:lnTo>
                  <a:lnTo>
                    <a:pt x="121" y="302"/>
                  </a:lnTo>
                  <a:lnTo>
                    <a:pt x="106" y="295"/>
                  </a:lnTo>
                  <a:lnTo>
                    <a:pt x="115" y="278"/>
                  </a:lnTo>
                  <a:lnTo>
                    <a:pt x="115" y="278"/>
                  </a:lnTo>
                  <a:lnTo>
                    <a:pt x="128" y="285"/>
                  </a:lnTo>
                  <a:lnTo>
                    <a:pt x="143" y="291"/>
                  </a:lnTo>
                  <a:lnTo>
                    <a:pt x="135" y="309"/>
                  </a:lnTo>
                  <a:close/>
                  <a:moveTo>
                    <a:pt x="300" y="308"/>
                  </a:moveTo>
                  <a:lnTo>
                    <a:pt x="293" y="291"/>
                  </a:lnTo>
                  <a:lnTo>
                    <a:pt x="293" y="291"/>
                  </a:lnTo>
                  <a:lnTo>
                    <a:pt x="308" y="283"/>
                  </a:lnTo>
                  <a:lnTo>
                    <a:pt x="321" y="276"/>
                  </a:lnTo>
                  <a:lnTo>
                    <a:pt x="330" y="291"/>
                  </a:lnTo>
                  <a:lnTo>
                    <a:pt x="330" y="291"/>
                  </a:lnTo>
                  <a:lnTo>
                    <a:pt x="315" y="300"/>
                  </a:lnTo>
                  <a:lnTo>
                    <a:pt x="300" y="308"/>
                  </a:lnTo>
                  <a:lnTo>
                    <a:pt x="300" y="308"/>
                  </a:lnTo>
                  <a:close/>
                  <a:moveTo>
                    <a:pt x="78" y="274"/>
                  </a:moveTo>
                  <a:lnTo>
                    <a:pt x="78" y="274"/>
                  </a:lnTo>
                  <a:lnTo>
                    <a:pt x="65" y="263"/>
                  </a:lnTo>
                  <a:lnTo>
                    <a:pt x="54" y="250"/>
                  </a:lnTo>
                  <a:lnTo>
                    <a:pt x="69" y="239"/>
                  </a:lnTo>
                  <a:lnTo>
                    <a:pt x="69" y="239"/>
                  </a:lnTo>
                  <a:lnTo>
                    <a:pt x="78" y="250"/>
                  </a:lnTo>
                  <a:lnTo>
                    <a:pt x="91" y="259"/>
                  </a:lnTo>
                  <a:lnTo>
                    <a:pt x="78" y="274"/>
                  </a:lnTo>
                  <a:close/>
                  <a:moveTo>
                    <a:pt x="358" y="271"/>
                  </a:moveTo>
                  <a:lnTo>
                    <a:pt x="345" y="258"/>
                  </a:lnTo>
                  <a:lnTo>
                    <a:pt x="345" y="258"/>
                  </a:lnTo>
                  <a:lnTo>
                    <a:pt x="356" y="246"/>
                  </a:lnTo>
                  <a:lnTo>
                    <a:pt x="367" y="235"/>
                  </a:lnTo>
                  <a:lnTo>
                    <a:pt x="382" y="246"/>
                  </a:lnTo>
                  <a:lnTo>
                    <a:pt x="382" y="246"/>
                  </a:lnTo>
                  <a:lnTo>
                    <a:pt x="369" y="259"/>
                  </a:lnTo>
                  <a:lnTo>
                    <a:pt x="358" y="271"/>
                  </a:lnTo>
                  <a:lnTo>
                    <a:pt x="358" y="271"/>
                  </a:lnTo>
                  <a:close/>
                  <a:moveTo>
                    <a:pt x="33" y="224"/>
                  </a:moveTo>
                  <a:lnTo>
                    <a:pt x="33" y="224"/>
                  </a:lnTo>
                  <a:lnTo>
                    <a:pt x="24" y="209"/>
                  </a:lnTo>
                  <a:lnTo>
                    <a:pt x="19" y="195"/>
                  </a:lnTo>
                  <a:lnTo>
                    <a:pt x="35" y="187"/>
                  </a:lnTo>
                  <a:lnTo>
                    <a:pt x="35" y="187"/>
                  </a:lnTo>
                  <a:lnTo>
                    <a:pt x="41" y="200"/>
                  </a:lnTo>
                  <a:lnTo>
                    <a:pt x="50" y="213"/>
                  </a:lnTo>
                  <a:lnTo>
                    <a:pt x="33" y="224"/>
                  </a:lnTo>
                  <a:close/>
                  <a:moveTo>
                    <a:pt x="8" y="163"/>
                  </a:moveTo>
                  <a:lnTo>
                    <a:pt x="8" y="163"/>
                  </a:lnTo>
                  <a:lnTo>
                    <a:pt x="4" y="146"/>
                  </a:lnTo>
                  <a:lnTo>
                    <a:pt x="0" y="130"/>
                  </a:lnTo>
                  <a:lnTo>
                    <a:pt x="19" y="128"/>
                  </a:lnTo>
                  <a:lnTo>
                    <a:pt x="19" y="128"/>
                  </a:lnTo>
                  <a:lnTo>
                    <a:pt x="20" y="143"/>
                  </a:lnTo>
                  <a:lnTo>
                    <a:pt x="24" y="158"/>
                  </a:lnTo>
                  <a:lnTo>
                    <a:pt x="8" y="163"/>
                  </a:lnTo>
                  <a:close/>
                  <a:moveTo>
                    <a:pt x="19" y="96"/>
                  </a:moveTo>
                  <a:lnTo>
                    <a:pt x="0" y="95"/>
                  </a:lnTo>
                  <a:lnTo>
                    <a:pt x="0" y="95"/>
                  </a:lnTo>
                  <a:lnTo>
                    <a:pt x="2" y="78"/>
                  </a:lnTo>
                  <a:lnTo>
                    <a:pt x="4" y="61"/>
                  </a:lnTo>
                  <a:lnTo>
                    <a:pt x="22" y="67"/>
                  </a:lnTo>
                  <a:lnTo>
                    <a:pt x="22" y="67"/>
                  </a:lnTo>
                  <a:lnTo>
                    <a:pt x="20" y="82"/>
                  </a:lnTo>
                  <a:lnTo>
                    <a:pt x="19" y="96"/>
                  </a:lnTo>
                  <a:lnTo>
                    <a:pt x="19" y="96"/>
                  </a:lnTo>
                  <a:close/>
                  <a:moveTo>
                    <a:pt x="32" y="37"/>
                  </a:moveTo>
                  <a:lnTo>
                    <a:pt x="15" y="30"/>
                  </a:lnTo>
                  <a:lnTo>
                    <a:pt x="15" y="30"/>
                  </a:lnTo>
                  <a:lnTo>
                    <a:pt x="22" y="15"/>
                  </a:lnTo>
                  <a:lnTo>
                    <a:pt x="30" y="0"/>
                  </a:lnTo>
                  <a:lnTo>
                    <a:pt x="45" y="9"/>
                  </a:lnTo>
                  <a:lnTo>
                    <a:pt x="45" y="9"/>
                  </a:lnTo>
                  <a:lnTo>
                    <a:pt x="39" y="22"/>
                  </a:lnTo>
                  <a:lnTo>
                    <a:pt x="32" y="37"/>
                  </a:lnTo>
                  <a:lnTo>
                    <a:pt x="32"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11" name="Freeform 159">
              <a:extLst>
                <a:ext uri="{FF2B5EF4-FFF2-40B4-BE49-F238E27FC236}">
                  <a16:creationId xmlns:a16="http://schemas.microsoft.com/office/drawing/2014/main" id="{F9DB738A-CF24-454E-AA17-B5B043634A76}"/>
                </a:ext>
              </a:extLst>
            </p:cNvPr>
            <p:cNvSpPr>
              <a:spLocks noEditPoints="1"/>
            </p:cNvSpPr>
            <p:nvPr/>
          </p:nvSpPr>
          <p:spPr bwMode="auto">
            <a:xfrm>
              <a:off x="6554788" y="3303588"/>
              <a:ext cx="558800" cy="568325"/>
            </a:xfrm>
            <a:custGeom>
              <a:avLst/>
              <a:gdLst>
                <a:gd name="T0" fmla="*/ 136 w 352"/>
                <a:gd name="T1" fmla="*/ 358 h 358"/>
                <a:gd name="T2" fmla="*/ 124 w 352"/>
                <a:gd name="T3" fmla="*/ 339 h 358"/>
                <a:gd name="T4" fmla="*/ 136 w 352"/>
                <a:gd name="T5" fmla="*/ 339 h 358"/>
                <a:gd name="T6" fmla="*/ 156 w 352"/>
                <a:gd name="T7" fmla="*/ 339 h 358"/>
                <a:gd name="T8" fmla="*/ 158 w 352"/>
                <a:gd name="T9" fmla="*/ 358 h 358"/>
                <a:gd name="T10" fmla="*/ 136 w 352"/>
                <a:gd name="T11" fmla="*/ 358 h 358"/>
                <a:gd name="T12" fmla="*/ 89 w 352"/>
                <a:gd name="T13" fmla="*/ 354 h 358"/>
                <a:gd name="T14" fmla="*/ 58 w 352"/>
                <a:gd name="T15" fmla="*/ 343 h 358"/>
                <a:gd name="T16" fmla="*/ 63 w 352"/>
                <a:gd name="T17" fmla="*/ 326 h 358"/>
                <a:gd name="T18" fmla="*/ 93 w 352"/>
                <a:gd name="T19" fmla="*/ 336 h 358"/>
                <a:gd name="T20" fmla="*/ 189 w 352"/>
                <a:gd name="T21" fmla="*/ 352 h 358"/>
                <a:gd name="T22" fmla="*/ 186 w 352"/>
                <a:gd name="T23" fmla="*/ 334 h 358"/>
                <a:gd name="T24" fmla="*/ 215 w 352"/>
                <a:gd name="T25" fmla="*/ 323 h 358"/>
                <a:gd name="T26" fmla="*/ 223 w 352"/>
                <a:gd name="T27" fmla="*/ 341 h 358"/>
                <a:gd name="T28" fmla="*/ 189 w 352"/>
                <a:gd name="T29" fmla="*/ 352 h 358"/>
                <a:gd name="T30" fmla="*/ 26 w 352"/>
                <a:gd name="T31" fmla="*/ 328 h 358"/>
                <a:gd name="T32" fmla="*/ 13 w 352"/>
                <a:gd name="T33" fmla="*/ 319 h 358"/>
                <a:gd name="T34" fmla="*/ 11 w 352"/>
                <a:gd name="T35" fmla="*/ 295 h 358"/>
                <a:gd name="T36" fmla="*/ 24 w 352"/>
                <a:gd name="T37" fmla="*/ 304 h 358"/>
                <a:gd name="T38" fmla="*/ 26 w 352"/>
                <a:gd name="T39" fmla="*/ 328 h 358"/>
                <a:gd name="T40" fmla="*/ 241 w 352"/>
                <a:gd name="T41" fmla="*/ 310 h 358"/>
                <a:gd name="T42" fmla="*/ 254 w 352"/>
                <a:gd name="T43" fmla="*/ 300 h 358"/>
                <a:gd name="T44" fmla="*/ 278 w 352"/>
                <a:gd name="T45" fmla="*/ 304 h 358"/>
                <a:gd name="T46" fmla="*/ 265 w 352"/>
                <a:gd name="T47" fmla="*/ 315 h 358"/>
                <a:gd name="T48" fmla="*/ 252 w 352"/>
                <a:gd name="T49" fmla="*/ 324 h 358"/>
                <a:gd name="T50" fmla="*/ 288 w 352"/>
                <a:gd name="T51" fmla="*/ 269 h 358"/>
                <a:gd name="T52" fmla="*/ 297 w 352"/>
                <a:gd name="T53" fmla="*/ 256 h 358"/>
                <a:gd name="T54" fmla="*/ 323 w 352"/>
                <a:gd name="T55" fmla="*/ 252 h 358"/>
                <a:gd name="T56" fmla="*/ 313 w 352"/>
                <a:gd name="T57" fmla="*/ 267 h 358"/>
                <a:gd name="T58" fmla="*/ 302 w 352"/>
                <a:gd name="T59" fmla="*/ 280 h 358"/>
                <a:gd name="T60" fmla="*/ 319 w 352"/>
                <a:gd name="T61" fmla="*/ 215 h 358"/>
                <a:gd name="T62" fmla="*/ 325 w 352"/>
                <a:gd name="T63" fmla="*/ 200 h 358"/>
                <a:gd name="T64" fmla="*/ 347 w 352"/>
                <a:gd name="T65" fmla="*/ 189 h 358"/>
                <a:gd name="T66" fmla="*/ 343 w 352"/>
                <a:gd name="T67" fmla="*/ 206 h 358"/>
                <a:gd name="T68" fmla="*/ 338 w 352"/>
                <a:gd name="T69" fmla="*/ 223 h 358"/>
                <a:gd name="T70" fmla="*/ 334 w 352"/>
                <a:gd name="T71" fmla="*/ 156 h 358"/>
                <a:gd name="T72" fmla="*/ 334 w 352"/>
                <a:gd name="T73" fmla="*/ 141 h 358"/>
                <a:gd name="T74" fmla="*/ 334 w 352"/>
                <a:gd name="T75" fmla="*/ 124 h 358"/>
                <a:gd name="T76" fmla="*/ 351 w 352"/>
                <a:gd name="T77" fmla="*/ 123 h 358"/>
                <a:gd name="T78" fmla="*/ 352 w 352"/>
                <a:gd name="T79" fmla="*/ 141 h 358"/>
                <a:gd name="T80" fmla="*/ 352 w 352"/>
                <a:gd name="T81" fmla="*/ 156 h 358"/>
                <a:gd name="T82" fmla="*/ 328 w 352"/>
                <a:gd name="T83" fmla="*/ 95 h 358"/>
                <a:gd name="T84" fmla="*/ 317 w 352"/>
                <a:gd name="T85" fmla="*/ 65 h 358"/>
                <a:gd name="T86" fmla="*/ 336 w 352"/>
                <a:gd name="T87" fmla="*/ 58 h 358"/>
                <a:gd name="T88" fmla="*/ 345 w 352"/>
                <a:gd name="T89" fmla="*/ 89 h 358"/>
                <a:gd name="T90" fmla="*/ 304 w 352"/>
                <a:gd name="T91" fmla="*/ 37 h 358"/>
                <a:gd name="T92" fmla="*/ 295 w 352"/>
                <a:gd name="T93" fmla="*/ 24 h 358"/>
                <a:gd name="T94" fmla="*/ 299 w 352"/>
                <a:gd name="T95" fmla="*/ 0 h 358"/>
                <a:gd name="T96" fmla="*/ 310 w 352"/>
                <a:gd name="T97" fmla="*/ 13 h 358"/>
                <a:gd name="T98" fmla="*/ 304 w 352"/>
                <a:gd name="T99" fmla="*/ 3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2" h="358">
                  <a:moveTo>
                    <a:pt x="136" y="358"/>
                  </a:moveTo>
                  <a:lnTo>
                    <a:pt x="136" y="358"/>
                  </a:lnTo>
                  <a:lnTo>
                    <a:pt x="123" y="358"/>
                  </a:lnTo>
                  <a:lnTo>
                    <a:pt x="124" y="339"/>
                  </a:lnTo>
                  <a:lnTo>
                    <a:pt x="124" y="339"/>
                  </a:lnTo>
                  <a:lnTo>
                    <a:pt x="136" y="339"/>
                  </a:lnTo>
                  <a:lnTo>
                    <a:pt x="136" y="339"/>
                  </a:lnTo>
                  <a:lnTo>
                    <a:pt x="156" y="339"/>
                  </a:lnTo>
                  <a:lnTo>
                    <a:pt x="158" y="358"/>
                  </a:lnTo>
                  <a:lnTo>
                    <a:pt x="158" y="358"/>
                  </a:lnTo>
                  <a:lnTo>
                    <a:pt x="136" y="358"/>
                  </a:lnTo>
                  <a:lnTo>
                    <a:pt x="136" y="358"/>
                  </a:lnTo>
                  <a:close/>
                  <a:moveTo>
                    <a:pt x="89" y="354"/>
                  </a:moveTo>
                  <a:lnTo>
                    <a:pt x="89" y="354"/>
                  </a:lnTo>
                  <a:lnTo>
                    <a:pt x="73" y="349"/>
                  </a:lnTo>
                  <a:lnTo>
                    <a:pt x="58" y="343"/>
                  </a:lnTo>
                  <a:lnTo>
                    <a:pt x="63" y="326"/>
                  </a:lnTo>
                  <a:lnTo>
                    <a:pt x="63" y="326"/>
                  </a:lnTo>
                  <a:lnTo>
                    <a:pt x="78" y="332"/>
                  </a:lnTo>
                  <a:lnTo>
                    <a:pt x="93" y="336"/>
                  </a:lnTo>
                  <a:lnTo>
                    <a:pt x="89" y="354"/>
                  </a:lnTo>
                  <a:close/>
                  <a:moveTo>
                    <a:pt x="189" y="352"/>
                  </a:moveTo>
                  <a:lnTo>
                    <a:pt x="186" y="334"/>
                  </a:lnTo>
                  <a:lnTo>
                    <a:pt x="186" y="334"/>
                  </a:lnTo>
                  <a:lnTo>
                    <a:pt x="200" y="328"/>
                  </a:lnTo>
                  <a:lnTo>
                    <a:pt x="215" y="323"/>
                  </a:lnTo>
                  <a:lnTo>
                    <a:pt x="223" y="341"/>
                  </a:lnTo>
                  <a:lnTo>
                    <a:pt x="223" y="341"/>
                  </a:lnTo>
                  <a:lnTo>
                    <a:pt x="206" y="347"/>
                  </a:lnTo>
                  <a:lnTo>
                    <a:pt x="189" y="352"/>
                  </a:lnTo>
                  <a:lnTo>
                    <a:pt x="189" y="352"/>
                  </a:lnTo>
                  <a:close/>
                  <a:moveTo>
                    <a:pt x="26" y="328"/>
                  </a:moveTo>
                  <a:lnTo>
                    <a:pt x="26" y="328"/>
                  </a:lnTo>
                  <a:lnTo>
                    <a:pt x="13" y="319"/>
                  </a:lnTo>
                  <a:lnTo>
                    <a:pt x="0" y="310"/>
                  </a:lnTo>
                  <a:lnTo>
                    <a:pt x="11" y="295"/>
                  </a:lnTo>
                  <a:lnTo>
                    <a:pt x="11" y="295"/>
                  </a:lnTo>
                  <a:lnTo>
                    <a:pt x="24" y="304"/>
                  </a:lnTo>
                  <a:lnTo>
                    <a:pt x="37" y="313"/>
                  </a:lnTo>
                  <a:lnTo>
                    <a:pt x="26" y="328"/>
                  </a:lnTo>
                  <a:close/>
                  <a:moveTo>
                    <a:pt x="252" y="324"/>
                  </a:moveTo>
                  <a:lnTo>
                    <a:pt x="241" y="310"/>
                  </a:lnTo>
                  <a:lnTo>
                    <a:pt x="241" y="310"/>
                  </a:lnTo>
                  <a:lnTo>
                    <a:pt x="254" y="300"/>
                  </a:lnTo>
                  <a:lnTo>
                    <a:pt x="267" y="289"/>
                  </a:lnTo>
                  <a:lnTo>
                    <a:pt x="278" y="304"/>
                  </a:lnTo>
                  <a:lnTo>
                    <a:pt x="278" y="304"/>
                  </a:lnTo>
                  <a:lnTo>
                    <a:pt x="265" y="315"/>
                  </a:lnTo>
                  <a:lnTo>
                    <a:pt x="252" y="324"/>
                  </a:lnTo>
                  <a:lnTo>
                    <a:pt x="252" y="324"/>
                  </a:lnTo>
                  <a:close/>
                  <a:moveTo>
                    <a:pt x="302" y="280"/>
                  </a:moveTo>
                  <a:lnTo>
                    <a:pt x="288" y="269"/>
                  </a:lnTo>
                  <a:lnTo>
                    <a:pt x="288" y="269"/>
                  </a:lnTo>
                  <a:lnTo>
                    <a:pt x="297" y="256"/>
                  </a:lnTo>
                  <a:lnTo>
                    <a:pt x="306" y="243"/>
                  </a:lnTo>
                  <a:lnTo>
                    <a:pt x="323" y="252"/>
                  </a:lnTo>
                  <a:lnTo>
                    <a:pt x="323" y="252"/>
                  </a:lnTo>
                  <a:lnTo>
                    <a:pt x="313" y="267"/>
                  </a:lnTo>
                  <a:lnTo>
                    <a:pt x="302" y="280"/>
                  </a:lnTo>
                  <a:lnTo>
                    <a:pt x="302" y="280"/>
                  </a:lnTo>
                  <a:close/>
                  <a:moveTo>
                    <a:pt x="338" y="223"/>
                  </a:moveTo>
                  <a:lnTo>
                    <a:pt x="319" y="215"/>
                  </a:lnTo>
                  <a:lnTo>
                    <a:pt x="319" y="215"/>
                  </a:lnTo>
                  <a:lnTo>
                    <a:pt x="325" y="200"/>
                  </a:lnTo>
                  <a:lnTo>
                    <a:pt x="328" y="186"/>
                  </a:lnTo>
                  <a:lnTo>
                    <a:pt x="347" y="189"/>
                  </a:lnTo>
                  <a:lnTo>
                    <a:pt x="347" y="189"/>
                  </a:lnTo>
                  <a:lnTo>
                    <a:pt x="343" y="206"/>
                  </a:lnTo>
                  <a:lnTo>
                    <a:pt x="338" y="223"/>
                  </a:lnTo>
                  <a:lnTo>
                    <a:pt x="338" y="223"/>
                  </a:lnTo>
                  <a:close/>
                  <a:moveTo>
                    <a:pt x="352" y="156"/>
                  </a:moveTo>
                  <a:lnTo>
                    <a:pt x="334" y="156"/>
                  </a:lnTo>
                  <a:lnTo>
                    <a:pt x="334" y="156"/>
                  </a:lnTo>
                  <a:lnTo>
                    <a:pt x="334" y="141"/>
                  </a:lnTo>
                  <a:lnTo>
                    <a:pt x="334" y="141"/>
                  </a:lnTo>
                  <a:lnTo>
                    <a:pt x="334" y="124"/>
                  </a:lnTo>
                  <a:lnTo>
                    <a:pt x="351" y="123"/>
                  </a:lnTo>
                  <a:lnTo>
                    <a:pt x="351" y="123"/>
                  </a:lnTo>
                  <a:lnTo>
                    <a:pt x="352" y="141"/>
                  </a:lnTo>
                  <a:lnTo>
                    <a:pt x="352" y="141"/>
                  </a:lnTo>
                  <a:lnTo>
                    <a:pt x="352" y="156"/>
                  </a:lnTo>
                  <a:lnTo>
                    <a:pt x="352" y="156"/>
                  </a:lnTo>
                  <a:close/>
                  <a:moveTo>
                    <a:pt x="328" y="95"/>
                  </a:moveTo>
                  <a:lnTo>
                    <a:pt x="328" y="95"/>
                  </a:lnTo>
                  <a:lnTo>
                    <a:pt x="323" y="80"/>
                  </a:lnTo>
                  <a:lnTo>
                    <a:pt x="317" y="65"/>
                  </a:lnTo>
                  <a:lnTo>
                    <a:pt x="336" y="58"/>
                  </a:lnTo>
                  <a:lnTo>
                    <a:pt x="336" y="58"/>
                  </a:lnTo>
                  <a:lnTo>
                    <a:pt x="341" y="73"/>
                  </a:lnTo>
                  <a:lnTo>
                    <a:pt x="345" y="89"/>
                  </a:lnTo>
                  <a:lnTo>
                    <a:pt x="328" y="95"/>
                  </a:lnTo>
                  <a:close/>
                  <a:moveTo>
                    <a:pt x="304" y="37"/>
                  </a:moveTo>
                  <a:lnTo>
                    <a:pt x="304" y="37"/>
                  </a:lnTo>
                  <a:lnTo>
                    <a:pt x="295" y="24"/>
                  </a:lnTo>
                  <a:lnTo>
                    <a:pt x="286" y="13"/>
                  </a:lnTo>
                  <a:lnTo>
                    <a:pt x="299" y="0"/>
                  </a:lnTo>
                  <a:lnTo>
                    <a:pt x="299" y="0"/>
                  </a:lnTo>
                  <a:lnTo>
                    <a:pt x="310" y="13"/>
                  </a:lnTo>
                  <a:lnTo>
                    <a:pt x="319" y="28"/>
                  </a:lnTo>
                  <a:lnTo>
                    <a:pt x="30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12" name="Freeform 160">
              <a:extLst>
                <a:ext uri="{FF2B5EF4-FFF2-40B4-BE49-F238E27FC236}">
                  <a16:creationId xmlns:a16="http://schemas.microsoft.com/office/drawing/2014/main" id="{FD092DAA-F250-4F15-A446-719279A13ED1}"/>
                </a:ext>
              </a:extLst>
            </p:cNvPr>
            <p:cNvSpPr>
              <a:spLocks noEditPoints="1"/>
            </p:cNvSpPr>
            <p:nvPr/>
          </p:nvSpPr>
          <p:spPr bwMode="auto">
            <a:xfrm>
              <a:off x="9993313" y="3162301"/>
              <a:ext cx="36513" cy="565150"/>
            </a:xfrm>
            <a:custGeom>
              <a:avLst/>
              <a:gdLst>
                <a:gd name="T0" fmla="*/ 23 w 23"/>
                <a:gd name="T1" fmla="*/ 356 h 356"/>
                <a:gd name="T2" fmla="*/ 0 w 23"/>
                <a:gd name="T3" fmla="*/ 356 h 356"/>
                <a:gd name="T4" fmla="*/ 0 w 23"/>
                <a:gd name="T5" fmla="*/ 317 h 356"/>
                <a:gd name="T6" fmla="*/ 23 w 23"/>
                <a:gd name="T7" fmla="*/ 317 h 356"/>
                <a:gd name="T8" fmla="*/ 23 w 23"/>
                <a:gd name="T9" fmla="*/ 356 h 356"/>
                <a:gd name="T10" fmla="*/ 23 w 23"/>
                <a:gd name="T11" fmla="*/ 278 h 356"/>
                <a:gd name="T12" fmla="*/ 0 w 23"/>
                <a:gd name="T13" fmla="*/ 278 h 356"/>
                <a:gd name="T14" fmla="*/ 0 w 23"/>
                <a:gd name="T15" fmla="*/ 237 h 356"/>
                <a:gd name="T16" fmla="*/ 23 w 23"/>
                <a:gd name="T17" fmla="*/ 237 h 356"/>
                <a:gd name="T18" fmla="*/ 23 w 23"/>
                <a:gd name="T19" fmla="*/ 278 h 356"/>
                <a:gd name="T20" fmla="*/ 23 w 23"/>
                <a:gd name="T21" fmla="*/ 199 h 356"/>
                <a:gd name="T22" fmla="*/ 0 w 23"/>
                <a:gd name="T23" fmla="*/ 199 h 356"/>
                <a:gd name="T24" fmla="*/ 0 w 23"/>
                <a:gd name="T25" fmla="*/ 158 h 356"/>
                <a:gd name="T26" fmla="*/ 23 w 23"/>
                <a:gd name="T27" fmla="*/ 158 h 356"/>
                <a:gd name="T28" fmla="*/ 23 w 23"/>
                <a:gd name="T29" fmla="*/ 199 h 356"/>
                <a:gd name="T30" fmla="*/ 23 w 23"/>
                <a:gd name="T31" fmla="*/ 119 h 356"/>
                <a:gd name="T32" fmla="*/ 0 w 23"/>
                <a:gd name="T33" fmla="*/ 119 h 356"/>
                <a:gd name="T34" fmla="*/ 0 w 23"/>
                <a:gd name="T35" fmla="*/ 80 h 356"/>
                <a:gd name="T36" fmla="*/ 23 w 23"/>
                <a:gd name="T37" fmla="*/ 80 h 356"/>
                <a:gd name="T38" fmla="*/ 23 w 23"/>
                <a:gd name="T39" fmla="*/ 119 h 356"/>
                <a:gd name="T40" fmla="*/ 23 w 23"/>
                <a:gd name="T41" fmla="*/ 39 h 356"/>
                <a:gd name="T42" fmla="*/ 0 w 23"/>
                <a:gd name="T43" fmla="*/ 39 h 356"/>
                <a:gd name="T44" fmla="*/ 0 w 23"/>
                <a:gd name="T45" fmla="*/ 0 h 356"/>
                <a:gd name="T46" fmla="*/ 23 w 23"/>
                <a:gd name="T47" fmla="*/ 0 h 356"/>
                <a:gd name="T48" fmla="*/ 23 w 23"/>
                <a:gd name="T49" fmla="*/ 3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 h="356">
                  <a:moveTo>
                    <a:pt x="23" y="356"/>
                  </a:moveTo>
                  <a:lnTo>
                    <a:pt x="0" y="356"/>
                  </a:lnTo>
                  <a:lnTo>
                    <a:pt x="0" y="317"/>
                  </a:lnTo>
                  <a:lnTo>
                    <a:pt x="23" y="317"/>
                  </a:lnTo>
                  <a:lnTo>
                    <a:pt x="23" y="356"/>
                  </a:lnTo>
                  <a:close/>
                  <a:moveTo>
                    <a:pt x="23" y="278"/>
                  </a:moveTo>
                  <a:lnTo>
                    <a:pt x="0" y="278"/>
                  </a:lnTo>
                  <a:lnTo>
                    <a:pt x="0" y="237"/>
                  </a:lnTo>
                  <a:lnTo>
                    <a:pt x="23" y="237"/>
                  </a:lnTo>
                  <a:lnTo>
                    <a:pt x="23" y="278"/>
                  </a:lnTo>
                  <a:close/>
                  <a:moveTo>
                    <a:pt x="23" y="199"/>
                  </a:moveTo>
                  <a:lnTo>
                    <a:pt x="0" y="199"/>
                  </a:lnTo>
                  <a:lnTo>
                    <a:pt x="0" y="158"/>
                  </a:lnTo>
                  <a:lnTo>
                    <a:pt x="23" y="158"/>
                  </a:lnTo>
                  <a:lnTo>
                    <a:pt x="23" y="199"/>
                  </a:lnTo>
                  <a:close/>
                  <a:moveTo>
                    <a:pt x="23" y="119"/>
                  </a:moveTo>
                  <a:lnTo>
                    <a:pt x="0" y="119"/>
                  </a:lnTo>
                  <a:lnTo>
                    <a:pt x="0" y="80"/>
                  </a:lnTo>
                  <a:lnTo>
                    <a:pt x="23" y="80"/>
                  </a:lnTo>
                  <a:lnTo>
                    <a:pt x="23" y="119"/>
                  </a:lnTo>
                  <a:close/>
                  <a:moveTo>
                    <a:pt x="23" y="39"/>
                  </a:moveTo>
                  <a:lnTo>
                    <a:pt x="0" y="39"/>
                  </a:lnTo>
                  <a:lnTo>
                    <a:pt x="0" y="0"/>
                  </a:lnTo>
                  <a:lnTo>
                    <a:pt x="23" y="0"/>
                  </a:lnTo>
                  <a:lnTo>
                    <a:pt x="23"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grpSp>
          <p:nvGrpSpPr>
            <p:cNvPr id="113" name="Group 2">
              <a:extLst>
                <a:ext uri="{FF2B5EF4-FFF2-40B4-BE49-F238E27FC236}">
                  <a16:creationId xmlns:a16="http://schemas.microsoft.com/office/drawing/2014/main" id="{51104A53-E49C-44AA-A9C3-A7095B06B548}"/>
                </a:ext>
              </a:extLst>
            </p:cNvPr>
            <p:cNvGrpSpPr/>
            <p:nvPr/>
          </p:nvGrpSpPr>
          <p:grpSpPr>
            <a:xfrm>
              <a:off x="10455276" y="3662363"/>
              <a:ext cx="974725" cy="1409700"/>
              <a:chOff x="10455276" y="3662363"/>
              <a:chExt cx="974725" cy="1409700"/>
            </a:xfrm>
          </p:grpSpPr>
          <p:sp>
            <p:nvSpPr>
              <p:cNvPr id="134" name="Freeform 53">
                <a:extLst>
                  <a:ext uri="{FF2B5EF4-FFF2-40B4-BE49-F238E27FC236}">
                    <a16:creationId xmlns:a16="http://schemas.microsoft.com/office/drawing/2014/main" id="{1D6F92DF-DD1E-4EB5-8EED-E4DB162F0FF6}"/>
                  </a:ext>
                </a:extLst>
              </p:cNvPr>
              <p:cNvSpPr>
                <a:spLocks noEditPoints="1"/>
              </p:cNvSpPr>
              <p:nvPr/>
            </p:nvSpPr>
            <p:spPr bwMode="auto">
              <a:xfrm>
                <a:off x="10455276" y="4313238"/>
                <a:ext cx="461963" cy="461963"/>
              </a:xfrm>
              <a:custGeom>
                <a:avLst/>
                <a:gdLst>
                  <a:gd name="T0" fmla="*/ 95 w 291"/>
                  <a:gd name="T1" fmla="*/ 281 h 291"/>
                  <a:gd name="T2" fmla="*/ 89 w 291"/>
                  <a:gd name="T3" fmla="*/ 246 h 291"/>
                  <a:gd name="T4" fmla="*/ 39 w 291"/>
                  <a:gd name="T5" fmla="*/ 244 h 291"/>
                  <a:gd name="T6" fmla="*/ 34 w 291"/>
                  <a:gd name="T7" fmla="*/ 178 h 291"/>
                  <a:gd name="T8" fmla="*/ 30 w 291"/>
                  <a:gd name="T9" fmla="*/ 159 h 291"/>
                  <a:gd name="T10" fmla="*/ 8 w 291"/>
                  <a:gd name="T11" fmla="*/ 94 h 291"/>
                  <a:gd name="T12" fmla="*/ 43 w 291"/>
                  <a:gd name="T13" fmla="*/ 89 h 291"/>
                  <a:gd name="T14" fmla="*/ 47 w 291"/>
                  <a:gd name="T15" fmla="*/ 39 h 291"/>
                  <a:gd name="T16" fmla="*/ 113 w 291"/>
                  <a:gd name="T17" fmla="*/ 33 h 291"/>
                  <a:gd name="T18" fmla="*/ 132 w 291"/>
                  <a:gd name="T19" fmla="*/ 29 h 291"/>
                  <a:gd name="T20" fmla="*/ 195 w 291"/>
                  <a:gd name="T21" fmla="*/ 9 h 291"/>
                  <a:gd name="T22" fmla="*/ 202 w 291"/>
                  <a:gd name="T23" fmla="*/ 42 h 291"/>
                  <a:gd name="T24" fmla="*/ 252 w 291"/>
                  <a:gd name="T25" fmla="*/ 46 h 291"/>
                  <a:gd name="T26" fmla="*/ 258 w 291"/>
                  <a:gd name="T27" fmla="*/ 113 h 291"/>
                  <a:gd name="T28" fmla="*/ 261 w 291"/>
                  <a:gd name="T29" fmla="*/ 131 h 291"/>
                  <a:gd name="T30" fmla="*/ 282 w 291"/>
                  <a:gd name="T31" fmla="*/ 194 h 291"/>
                  <a:gd name="T32" fmla="*/ 247 w 291"/>
                  <a:gd name="T33" fmla="*/ 202 h 291"/>
                  <a:gd name="T34" fmla="*/ 245 w 291"/>
                  <a:gd name="T35" fmla="*/ 252 h 291"/>
                  <a:gd name="T36" fmla="*/ 178 w 291"/>
                  <a:gd name="T37" fmla="*/ 257 h 291"/>
                  <a:gd name="T38" fmla="*/ 160 w 291"/>
                  <a:gd name="T39" fmla="*/ 261 h 291"/>
                  <a:gd name="T40" fmla="*/ 117 w 291"/>
                  <a:gd name="T41" fmla="*/ 261 h 291"/>
                  <a:gd name="T42" fmla="*/ 145 w 291"/>
                  <a:gd name="T43" fmla="*/ 237 h 291"/>
                  <a:gd name="T44" fmla="*/ 150 w 291"/>
                  <a:gd name="T45" fmla="*/ 237 h 291"/>
                  <a:gd name="T46" fmla="*/ 176 w 291"/>
                  <a:gd name="T47" fmla="*/ 231 h 291"/>
                  <a:gd name="T48" fmla="*/ 208 w 291"/>
                  <a:gd name="T49" fmla="*/ 246 h 291"/>
                  <a:gd name="T50" fmla="*/ 210 w 291"/>
                  <a:gd name="T51" fmla="*/ 211 h 291"/>
                  <a:gd name="T52" fmla="*/ 213 w 291"/>
                  <a:gd name="T53" fmla="*/ 205 h 291"/>
                  <a:gd name="T54" fmla="*/ 228 w 291"/>
                  <a:gd name="T55" fmla="*/ 185 h 291"/>
                  <a:gd name="T56" fmla="*/ 261 w 291"/>
                  <a:gd name="T57" fmla="*/ 174 h 291"/>
                  <a:gd name="T58" fmla="*/ 237 w 291"/>
                  <a:gd name="T59" fmla="*/ 146 h 291"/>
                  <a:gd name="T60" fmla="*/ 237 w 291"/>
                  <a:gd name="T61" fmla="*/ 139 h 291"/>
                  <a:gd name="T62" fmla="*/ 232 w 291"/>
                  <a:gd name="T63" fmla="*/ 115 h 291"/>
                  <a:gd name="T64" fmla="*/ 247 w 291"/>
                  <a:gd name="T65" fmla="*/ 83 h 291"/>
                  <a:gd name="T66" fmla="*/ 210 w 291"/>
                  <a:gd name="T67" fmla="*/ 81 h 291"/>
                  <a:gd name="T68" fmla="*/ 206 w 291"/>
                  <a:gd name="T69" fmla="*/ 76 h 291"/>
                  <a:gd name="T70" fmla="*/ 185 w 291"/>
                  <a:gd name="T71" fmla="*/ 63 h 291"/>
                  <a:gd name="T72" fmla="*/ 174 w 291"/>
                  <a:gd name="T73" fmla="*/ 29 h 291"/>
                  <a:gd name="T74" fmla="*/ 147 w 291"/>
                  <a:gd name="T75" fmla="*/ 53 h 291"/>
                  <a:gd name="T76" fmla="*/ 139 w 291"/>
                  <a:gd name="T77" fmla="*/ 53 h 291"/>
                  <a:gd name="T78" fmla="*/ 115 w 291"/>
                  <a:gd name="T79" fmla="*/ 59 h 291"/>
                  <a:gd name="T80" fmla="*/ 84 w 291"/>
                  <a:gd name="T81" fmla="*/ 42 h 291"/>
                  <a:gd name="T82" fmla="*/ 80 w 291"/>
                  <a:gd name="T83" fmla="*/ 79 h 291"/>
                  <a:gd name="T84" fmla="*/ 76 w 291"/>
                  <a:gd name="T85" fmla="*/ 85 h 291"/>
                  <a:gd name="T86" fmla="*/ 63 w 291"/>
                  <a:gd name="T87" fmla="*/ 105 h 291"/>
                  <a:gd name="T88" fmla="*/ 30 w 291"/>
                  <a:gd name="T89" fmla="*/ 116 h 291"/>
                  <a:gd name="T90" fmla="*/ 54 w 291"/>
                  <a:gd name="T91" fmla="*/ 144 h 291"/>
                  <a:gd name="T92" fmla="*/ 54 w 291"/>
                  <a:gd name="T93" fmla="*/ 152 h 291"/>
                  <a:gd name="T94" fmla="*/ 59 w 291"/>
                  <a:gd name="T95" fmla="*/ 176 h 291"/>
                  <a:gd name="T96" fmla="*/ 43 w 291"/>
                  <a:gd name="T97" fmla="*/ 207 h 291"/>
                  <a:gd name="T98" fmla="*/ 80 w 291"/>
                  <a:gd name="T99" fmla="*/ 209 h 291"/>
                  <a:gd name="T100" fmla="*/ 85 w 291"/>
                  <a:gd name="T101" fmla="*/ 213 h 291"/>
                  <a:gd name="T102" fmla="*/ 106 w 291"/>
                  <a:gd name="T103" fmla="*/ 228 h 291"/>
                  <a:gd name="T104" fmla="*/ 117 w 291"/>
                  <a:gd name="T105" fmla="*/ 26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1" h="291">
                    <a:moveTo>
                      <a:pt x="141" y="291"/>
                    </a:moveTo>
                    <a:lnTo>
                      <a:pt x="95" y="281"/>
                    </a:lnTo>
                    <a:lnTo>
                      <a:pt x="89" y="246"/>
                    </a:lnTo>
                    <a:lnTo>
                      <a:pt x="89" y="246"/>
                    </a:lnTo>
                    <a:lnTo>
                      <a:pt x="74" y="237"/>
                    </a:lnTo>
                    <a:lnTo>
                      <a:pt x="39" y="244"/>
                    </a:lnTo>
                    <a:lnTo>
                      <a:pt x="13" y="205"/>
                    </a:lnTo>
                    <a:lnTo>
                      <a:pt x="34" y="178"/>
                    </a:lnTo>
                    <a:lnTo>
                      <a:pt x="34" y="178"/>
                    </a:lnTo>
                    <a:lnTo>
                      <a:pt x="30" y="159"/>
                    </a:lnTo>
                    <a:lnTo>
                      <a:pt x="0" y="141"/>
                    </a:lnTo>
                    <a:lnTo>
                      <a:pt x="8" y="94"/>
                    </a:lnTo>
                    <a:lnTo>
                      <a:pt x="43" y="89"/>
                    </a:lnTo>
                    <a:lnTo>
                      <a:pt x="43" y="89"/>
                    </a:lnTo>
                    <a:lnTo>
                      <a:pt x="54" y="74"/>
                    </a:lnTo>
                    <a:lnTo>
                      <a:pt x="47" y="39"/>
                    </a:lnTo>
                    <a:lnTo>
                      <a:pt x="84" y="13"/>
                    </a:lnTo>
                    <a:lnTo>
                      <a:pt x="113" y="33"/>
                    </a:lnTo>
                    <a:lnTo>
                      <a:pt x="113" y="33"/>
                    </a:lnTo>
                    <a:lnTo>
                      <a:pt x="132" y="29"/>
                    </a:lnTo>
                    <a:lnTo>
                      <a:pt x="150" y="0"/>
                    </a:lnTo>
                    <a:lnTo>
                      <a:pt x="195" y="9"/>
                    </a:lnTo>
                    <a:lnTo>
                      <a:pt x="202" y="42"/>
                    </a:lnTo>
                    <a:lnTo>
                      <a:pt x="202" y="42"/>
                    </a:lnTo>
                    <a:lnTo>
                      <a:pt x="217" y="53"/>
                    </a:lnTo>
                    <a:lnTo>
                      <a:pt x="252" y="46"/>
                    </a:lnTo>
                    <a:lnTo>
                      <a:pt x="278" y="83"/>
                    </a:lnTo>
                    <a:lnTo>
                      <a:pt x="258" y="113"/>
                    </a:lnTo>
                    <a:lnTo>
                      <a:pt x="258" y="113"/>
                    </a:lnTo>
                    <a:lnTo>
                      <a:pt x="261" y="131"/>
                    </a:lnTo>
                    <a:lnTo>
                      <a:pt x="291" y="150"/>
                    </a:lnTo>
                    <a:lnTo>
                      <a:pt x="282" y="194"/>
                    </a:lnTo>
                    <a:lnTo>
                      <a:pt x="247" y="202"/>
                    </a:lnTo>
                    <a:lnTo>
                      <a:pt x="247" y="202"/>
                    </a:lnTo>
                    <a:lnTo>
                      <a:pt x="237" y="216"/>
                    </a:lnTo>
                    <a:lnTo>
                      <a:pt x="245" y="252"/>
                    </a:lnTo>
                    <a:lnTo>
                      <a:pt x="206" y="278"/>
                    </a:lnTo>
                    <a:lnTo>
                      <a:pt x="178" y="257"/>
                    </a:lnTo>
                    <a:lnTo>
                      <a:pt x="178" y="257"/>
                    </a:lnTo>
                    <a:lnTo>
                      <a:pt x="160" y="261"/>
                    </a:lnTo>
                    <a:lnTo>
                      <a:pt x="141" y="291"/>
                    </a:lnTo>
                    <a:close/>
                    <a:moveTo>
                      <a:pt x="117" y="261"/>
                    </a:moveTo>
                    <a:lnTo>
                      <a:pt x="128" y="263"/>
                    </a:lnTo>
                    <a:lnTo>
                      <a:pt x="145" y="237"/>
                    </a:lnTo>
                    <a:lnTo>
                      <a:pt x="150" y="237"/>
                    </a:lnTo>
                    <a:lnTo>
                      <a:pt x="150" y="237"/>
                    </a:lnTo>
                    <a:lnTo>
                      <a:pt x="163" y="235"/>
                    </a:lnTo>
                    <a:lnTo>
                      <a:pt x="176" y="231"/>
                    </a:lnTo>
                    <a:lnTo>
                      <a:pt x="182" y="229"/>
                    </a:lnTo>
                    <a:lnTo>
                      <a:pt x="208" y="246"/>
                    </a:lnTo>
                    <a:lnTo>
                      <a:pt x="217" y="241"/>
                    </a:lnTo>
                    <a:lnTo>
                      <a:pt x="210" y="211"/>
                    </a:lnTo>
                    <a:lnTo>
                      <a:pt x="213" y="205"/>
                    </a:lnTo>
                    <a:lnTo>
                      <a:pt x="213" y="205"/>
                    </a:lnTo>
                    <a:lnTo>
                      <a:pt x="223" y="196"/>
                    </a:lnTo>
                    <a:lnTo>
                      <a:pt x="228" y="185"/>
                    </a:lnTo>
                    <a:lnTo>
                      <a:pt x="230" y="179"/>
                    </a:lnTo>
                    <a:lnTo>
                      <a:pt x="261" y="174"/>
                    </a:lnTo>
                    <a:lnTo>
                      <a:pt x="263" y="161"/>
                    </a:lnTo>
                    <a:lnTo>
                      <a:pt x="237" y="146"/>
                    </a:lnTo>
                    <a:lnTo>
                      <a:pt x="237" y="139"/>
                    </a:lnTo>
                    <a:lnTo>
                      <a:pt x="237" y="139"/>
                    </a:lnTo>
                    <a:lnTo>
                      <a:pt x="236" y="128"/>
                    </a:lnTo>
                    <a:lnTo>
                      <a:pt x="232" y="115"/>
                    </a:lnTo>
                    <a:lnTo>
                      <a:pt x="230" y="109"/>
                    </a:lnTo>
                    <a:lnTo>
                      <a:pt x="247" y="83"/>
                    </a:lnTo>
                    <a:lnTo>
                      <a:pt x="241" y="74"/>
                    </a:lnTo>
                    <a:lnTo>
                      <a:pt x="210" y="81"/>
                    </a:lnTo>
                    <a:lnTo>
                      <a:pt x="206" y="76"/>
                    </a:lnTo>
                    <a:lnTo>
                      <a:pt x="206" y="76"/>
                    </a:lnTo>
                    <a:lnTo>
                      <a:pt x="197" y="68"/>
                    </a:lnTo>
                    <a:lnTo>
                      <a:pt x="185" y="63"/>
                    </a:lnTo>
                    <a:lnTo>
                      <a:pt x="180" y="59"/>
                    </a:lnTo>
                    <a:lnTo>
                      <a:pt x="174" y="29"/>
                    </a:lnTo>
                    <a:lnTo>
                      <a:pt x="161" y="28"/>
                    </a:lnTo>
                    <a:lnTo>
                      <a:pt x="147" y="53"/>
                    </a:lnTo>
                    <a:lnTo>
                      <a:pt x="139" y="53"/>
                    </a:lnTo>
                    <a:lnTo>
                      <a:pt x="139" y="53"/>
                    </a:lnTo>
                    <a:lnTo>
                      <a:pt x="126" y="55"/>
                    </a:lnTo>
                    <a:lnTo>
                      <a:pt x="115" y="59"/>
                    </a:lnTo>
                    <a:lnTo>
                      <a:pt x="110" y="61"/>
                    </a:lnTo>
                    <a:lnTo>
                      <a:pt x="84" y="42"/>
                    </a:lnTo>
                    <a:lnTo>
                      <a:pt x="74" y="50"/>
                    </a:lnTo>
                    <a:lnTo>
                      <a:pt x="80" y="79"/>
                    </a:lnTo>
                    <a:lnTo>
                      <a:pt x="76" y="85"/>
                    </a:lnTo>
                    <a:lnTo>
                      <a:pt x="76" y="85"/>
                    </a:lnTo>
                    <a:lnTo>
                      <a:pt x="69" y="94"/>
                    </a:lnTo>
                    <a:lnTo>
                      <a:pt x="63" y="105"/>
                    </a:lnTo>
                    <a:lnTo>
                      <a:pt x="59" y="111"/>
                    </a:lnTo>
                    <a:lnTo>
                      <a:pt x="30" y="116"/>
                    </a:lnTo>
                    <a:lnTo>
                      <a:pt x="28" y="128"/>
                    </a:lnTo>
                    <a:lnTo>
                      <a:pt x="54" y="144"/>
                    </a:lnTo>
                    <a:lnTo>
                      <a:pt x="54" y="152"/>
                    </a:lnTo>
                    <a:lnTo>
                      <a:pt x="54" y="152"/>
                    </a:lnTo>
                    <a:lnTo>
                      <a:pt x="56" y="163"/>
                    </a:lnTo>
                    <a:lnTo>
                      <a:pt x="59" y="176"/>
                    </a:lnTo>
                    <a:lnTo>
                      <a:pt x="61" y="181"/>
                    </a:lnTo>
                    <a:lnTo>
                      <a:pt x="43" y="207"/>
                    </a:lnTo>
                    <a:lnTo>
                      <a:pt x="50" y="216"/>
                    </a:lnTo>
                    <a:lnTo>
                      <a:pt x="80" y="209"/>
                    </a:lnTo>
                    <a:lnTo>
                      <a:pt x="85" y="213"/>
                    </a:lnTo>
                    <a:lnTo>
                      <a:pt x="85" y="213"/>
                    </a:lnTo>
                    <a:lnTo>
                      <a:pt x="95" y="222"/>
                    </a:lnTo>
                    <a:lnTo>
                      <a:pt x="106" y="228"/>
                    </a:lnTo>
                    <a:lnTo>
                      <a:pt x="111" y="229"/>
                    </a:lnTo>
                    <a:lnTo>
                      <a:pt x="117" y="2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5" name="Freeform 54">
                <a:extLst>
                  <a:ext uri="{FF2B5EF4-FFF2-40B4-BE49-F238E27FC236}">
                    <a16:creationId xmlns:a16="http://schemas.microsoft.com/office/drawing/2014/main" id="{86C298FB-57F3-4E33-81E0-DD5839D13B29}"/>
                  </a:ext>
                </a:extLst>
              </p:cNvPr>
              <p:cNvSpPr>
                <a:spLocks/>
              </p:cNvSpPr>
              <p:nvPr/>
            </p:nvSpPr>
            <p:spPr bwMode="auto">
              <a:xfrm>
                <a:off x="10596563" y="4454526"/>
                <a:ext cx="179388" cy="179388"/>
              </a:xfrm>
              <a:custGeom>
                <a:avLst/>
                <a:gdLst>
                  <a:gd name="T0" fmla="*/ 45 w 113"/>
                  <a:gd name="T1" fmla="*/ 111 h 113"/>
                  <a:gd name="T2" fmla="*/ 45 w 113"/>
                  <a:gd name="T3" fmla="*/ 111 h 113"/>
                  <a:gd name="T4" fmla="*/ 35 w 113"/>
                  <a:gd name="T5" fmla="*/ 109 h 113"/>
                  <a:gd name="T6" fmla="*/ 24 w 113"/>
                  <a:gd name="T7" fmla="*/ 103 h 113"/>
                  <a:gd name="T8" fmla="*/ 17 w 113"/>
                  <a:gd name="T9" fmla="*/ 96 h 113"/>
                  <a:gd name="T10" fmla="*/ 9 w 113"/>
                  <a:gd name="T11" fmla="*/ 87 h 113"/>
                  <a:gd name="T12" fmla="*/ 4 w 113"/>
                  <a:gd name="T13" fmla="*/ 77 h 113"/>
                  <a:gd name="T14" fmla="*/ 0 w 113"/>
                  <a:gd name="T15" fmla="*/ 68 h 113"/>
                  <a:gd name="T16" fmla="*/ 0 w 113"/>
                  <a:gd name="T17" fmla="*/ 57 h 113"/>
                  <a:gd name="T18" fmla="*/ 0 w 113"/>
                  <a:gd name="T19" fmla="*/ 46 h 113"/>
                  <a:gd name="T20" fmla="*/ 0 w 113"/>
                  <a:gd name="T21" fmla="*/ 46 h 113"/>
                  <a:gd name="T22" fmla="*/ 4 w 113"/>
                  <a:gd name="T23" fmla="*/ 35 h 113"/>
                  <a:gd name="T24" fmla="*/ 9 w 113"/>
                  <a:gd name="T25" fmla="*/ 24 h 113"/>
                  <a:gd name="T26" fmla="*/ 17 w 113"/>
                  <a:gd name="T27" fmla="*/ 16 h 113"/>
                  <a:gd name="T28" fmla="*/ 24 w 113"/>
                  <a:gd name="T29" fmla="*/ 9 h 113"/>
                  <a:gd name="T30" fmla="*/ 33 w 113"/>
                  <a:gd name="T31" fmla="*/ 3 h 113"/>
                  <a:gd name="T32" fmla="*/ 45 w 113"/>
                  <a:gd name="T33" fmla="*/ 0 h 113"/>
                  <a:gd name="T34" fmla="*/ 56 w 113"/>
                  <a:gd name="T35" fmla="*/ 0 h 113"/>
                  <a:gd name="T36" fmla="*/ 67 w 113"/>
                  <a:gd name="T37" fmla="*/ 0 h 113"/>
                  <a:gd name="T38" fmla="*/ 67 w 113"/>
                  <a:gd name="T39" fmla="*/ 0 h 113"/>
                  <a:gd name="T40" fmla="*/ 78 w 113"/>
                  <a:gd name="T41" fmla="*/ 3 h 113"/>
                  <a:gd name="T42" fmla="*/ 87 w 113"/>
                  <a:gd name="T43" fmla="*/ 9 h 113"/>
                  <a:gd name="T44" fmla="*/ 96 w 113"/>
                  <a:gd name="T45" fmla="*/ 16 h 113"/>
                  <a:gd name="T46" fmla="*/ 104 w 113"/>
                  <a:gd name="T47" fmla="*/ 24 h 113"/>
                  <a:gd name="T48" fmla="*/ 109 w 113"/>
                  <a:gd name="T49" fmla="*/ 33 h 113"/>
                  <a:gd name="T50" fmla="*/ 111 w 113"/>
                  <a:gd name="T51" fmla="*/ 44 h 113"/>
                  <a:gd name="T52" fmla="*/ 113 w 113"/>
                  <a:gd name="T53" fmla="*/ 55 h 113"/>
                  <a:gd name="T54" fmla="*/ 111 w 113"/>
                  <a:gd name="T55" fmla="*/ 66 h 113"/>
                  <a:gd name="T56" fmla="*/ 111 w 113"/>
                  <a:gd name="T57" fmla="*/ 66 h 113"/>
                  <a:gd name="T58" fmla="*/ 109 w 113"/>
                  <a:gd name="T59" fmla="*/ 77 h 113"/>
                  <a:gd name="T60" fmla="*/ 104 w 113"/>
                  <a:gd name="T61" fmla="*/ 87 h 113"/>
                  <a:gd name="T62" fmla="*/ 96 w 113"/>
                  <a:gd name="T63" fmla="*/ 96 h 113"/>
                  <a:gd name="T64" fmla="*/ 87 w 113"/>
                  <a:gd name="T65" fmla="*/ 103 h 113"/>
                  <a:gd name="T66" fmla="*/ 78 w 113"/>
                  <a:gd name="T67" fmla="*/ 109 h 113"/>
                  <a:gd name="T68" fmla="*/ 69 w 113"/>
                  <a:gd name="T69" fmla="*/ 111 h 113"/>
                  <a:gd name="T70" fmla="*/ 58 w 113"/>
                  <a:gd name="T71" fmla="*/ 113 h 113"/>
                  <a:gd name="T72" fmla="*/ 45 w 113"/>
                  <a:gd name="T73" fmla="*/ 111 h 113"/>
                  <a:gd name="T74" fmla="*/ 45 w 113"/>
                  <a:gd name="T75" fmla="*/ 11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13">
                    <a:moveTo>
                      <a:pt x="45" y="111"/>
                    </a:moveTo>
                    <a:lnTo>
                      <a:pt x="45" y="111"/>
                    </a:lnTo>
                    <a:lnTo>
                      <a:pt x="35" y="109"/>
                    </a:lnTo>
                    <a:lnTo>
                      <a:pt x="24" y="103"/>
                    </a:lnTo>
                    <a:lnTo>
                      <a:pt x="17" y="96"/>
                    </a:lnTo>
                    <a:lnTo>
                      <a:pt x="9" y="87"/>
                    </a:lnTo>
                    <a:lnTo>
                      <a:pt x="4" y="77"/>
                    </a:lnTo>
                    <a:lnTo>
                      <a:pt x="0" y="68"/>
                    </a:lnTo>
                    <a:lnTo>
                      <a:pt x="0" y="57"/>
                    </a:lnTo>
                    <a:lnTo>
                      <a:pt x="0" y="46"/>
                    </a:lnTo>
                    <a:lnTo>
                      <a:pt x="0" y="46"/>
                    </a:lnTo>
                    <a:lnTo>
                      <a:pt x="4" y="35"/>
                    </a:lnTo>
                    <a:lnTo>
                      <a:pt x="9" y="24"/>
                    </a:lnTo>
                    <a:lnTo>
                      <a:pt x="17" y="16"/>
                    </a:lnTo>
                    <a:lnTo>
                      <a:pt x="24" y="9"/>
                    </a:lnTo>
                    <a:lnTo>
                      <a:pt x="33" y="3"/>
                    </a:lnTo>
                    <a:lnTo>
                      <a:pt x="45" y="0"/>
                    </a:lnTo>
                    <a:lnTo>
                      <a:pt x="56" y="0"/>
                    </a:lnTo>
                    <a:lnTo>
                      <a:pt x="67" y="0"/>
                    </a:lnTo>
                    <a:lnTo>
                      <a:pt x="67" y="0"/>
                    </a:lnTo>
                    <a:lnTo>
                      <a:pt x="78" y="3"/>
                    </a:lnTo>
                    <a:lnTo>
                      <a:pt x="87" y="9"/>
                    </a:lnTo>
                    <a:lnTo>
                      <a:pt x="96" y="16"/>
                    </a:lnTo>
                    <a:lnTo>
                      <a:pt x="104" y="24"/>
                    </a:lnTo>
                    <a:lnTo>
                      <a:pt x="109" y="33"/>
                    </a:lnTo>
                    <a:lnTo>
                      <a:pt x="111" y="44"/>
                    </a:lnTo>
                    <a:lnTo>
                      <a:pt x="113" y="55"/>
                    </a:lnTo>
                    <a:lnTo>
                      <a:pt x="111" y="66"/>
                    </a:lnTo>
                    <a:lnTo>
                      <a:pt x="111" y="66"/>
                    </a:lnTo>
                    <a:lnTo>
                      <a:pt x="109" y="77"/>
                    </a:lnTo>
                    <a:lnTo>
                      <a:pt x="104" y="87"/>
                    </a:lnTo>
                    <a:lnTo>
                      <a:pt x="96" y="96"/>
                    </a:lnTo>
                    <a:lnTo>
                      <a:pt x="87" y="103"/>
                    </a:lnTo>
                    <a:lnTo>
                      <a:pt x="78" y="109"/>
                    </a:lnTo>
                    <a:lnTo>
                      <a:pt x="69" y="111"/>
                    </a:lnTo>
                    <a:lnTo>
                      <a:pt x="58" y="113"/>
                    </a:lnTo>
                    <a:lnTo>
                      <a:pt x="45" y="111"/>
                    </a:lnTo>
                    <a:lnTo>
                      <a:pt x="45" y="111"/>
                    </a:lnTo>
                    <a:close/>
                  </a:path>
                </a:pathLst>
              </a:custGeom>
              <a:solidFill>
                <a:srgbClr val="FDD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6" name="Freeform 134">
                <a:extLst>
                  <a:ext uri="{FF2B5EF4-FFF2-40B4-BE49-F238E27FC236}">
                    <a16:creationId xmlns:a16="http://schemas.microsoft.com/office/drawing/2014/main" id="{8DFE67E8-CE15-463A-988D-8F0AEF0CB1FB}"/>
                  </a:ext>
                </a:extLst>
              </p:cNvPr>
              <p:cNvSpPr>
                <a:spLocks/>
              </p:cNvSpPr>
              <p:nvPr/>
            </p:nvSpPr>
            <p:spPr bwMode="auto">
              <a:xfrm>
                <a:off x="10596563" y="5024438"/>
                <a:ext cx="47625" cy="47625"/>
              </a:xfrm>
              <a:custGeom>
                <a:avLst/>
                <a:gdLst>
                  <a:gd name="T0" fmla="*/ 11 w 30"/>
                  <a:gd name="T1" fmla="*/ 30 h 30"/>
                  <a:gd name="T2" fmla="*/ 11 w 30"/>
                  <a:gd name="T3" fmla="*/ 30 h 30"/>
                  <a:gd name="T4" fmla="*/ 0 w 30"/>
                  <a:gd name="T5" fmla="*/ 15 h 30"/>
                  <a:gd name="T6" fmla="*/ 19 w 30"/>
                  <a:gd name="T7" fmla="*/ 0 h 30"/>
                  <a:gd name="T8" fmla="*/ 19 w 30"/>
                  <a:gd name="T9" fmla="*/ 0 h 30"/>
                  <a:gd name="T10" fmla="*/ 30 w 30"/>
                  <a:gd name="T11" fmla="*/ 17 h 30"/>
                  <a:gd name="T12" fmla="*/ 11 w 3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11" y="30"/>
                    </a:moveTo>
                    <a:lnTo>
                      <a:pt x="11" y="30"/>
                    </a:lnTo>
                    <a:lnTo>
                      <a:pt x="0" y="15"/>
                    </a:lnTo>
                    <a:lnTo>
                      <a:pt x="19" y="0"/>
                    </a:lnTo>
                    <a:lnTo>
                      <a:pt x="19" y="0"/>
                    </a:lnTo>
                    <a:lnTo>
                      <a:pt x="30" y="17"/>
                    </a:lnTo>
                    <a:lnTo>
                      <a:pt x="11"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7" name="Freeform 138">
                <a:extLst>
                  <a:ext uri="{FF2B5EF4-FFF2-40B4-BE49-F238E27FC236}">
                    <a16:creationId xmlns:a16="http://schemas.microsoft.com/office/drawing/2014/main" id="{7B75CE77-332A-4F49-AD5A-887D7014F876}"/>
                  </a:ext>
                </a:extLst>
              </p:cNvPr>
              <p:cNvSpPr>
                <a:spLocks/>
              </p:cNvSpPr>
              <p:nvPr/>
            </p:nvSpPr>
            <p:spPr bwMode="auto">
              <a:xfrm>
                <a:off x="10934701" y="3662363"/>
                <a:ext cx="38100" cy="41275"/>
              </a:xfrm>
              <a:custGeom>
                <a:avLst/>
                <a:gdLst>
                  <a:gd name="T0" fmla="*/ 4 w 24"/>
                  <a:gd name="T1" fmla="*/ 26 h 26"/>
                  <a:gd name="T2" fmla="*/ 0 w 24"/>
                  <a:gd name="T3" fmla="*/ 2 h 26"/>
                  <a:gd name="T4" fmla="*/ 0 w 24"/>
                  <a:gd name="T5" fmla="*/ 2 h 26"/>
                  <a:gd name="T6" fmla="*/ 22 w 24"/>
                  <a:gd name="T7" fmla="*/ 0 h 26"/>
                  <a:gd name="T8" fmla="*/ 24 w 24"/>
                  <a:gd name="T9" fmla="*/ 23 h 26"/>
                  <a:gd name="T10" fmla="*/ 24 w 24"/>
                  <a:gd name="T11" fmla="*/ 23 h 26"/>
                  <a:gd name="T12" fmla="*/ 4 w 24"/>
                  <a:gd name="T13" fmla="*/ 26 h 26"/>
                  <a:gd name="T14" fmla="*/ 4 w 2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6">
                    <a:moveTo>
                      <a:pt x="4" y="26"/>
                    </a:moveTo>
                    <a:lnTo>
                      <a:pt x="0" y="2"/>
                    </a:lnTo>
                    <a:lnTo>
                      <a:pt x="0" y="2"/>
                    </a:lnTo>
                    <a:lnTo>
                      <a:pt x="22" y="0"/>
                    </a:lnTo>
                    <a:lnTo>
                      <a:pt x="24" y="23"/>
                    </a:lnTo>
                    <a:lnTo>
                      <a:pt x="24" y="23"/>
                    </a:lnTo>
                    <a:lnTo>
                      <a:pt x="4" y="26"/>
                    </a:lnTo>
                    <a:lnTo>
                      <a:pt x="4"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8" name="Freeform 139">
                <a:extLst>
                  <a:ext uri="{FF2B5EF4-FFF2-40B4-BE49-F238E27FC236}">
                    <a16:creationId xmlns:a16="http://schemas.microsoft.com/office/drawing/2014/main" id="{125C96E5-F69F-4659-9509-5DCD9ED37664}"/>
                  </a:ext>
                </a:extLst>
              </p:cNvPr>
              <p:cNvSpPr>
                <a:spLocks noEditPoints="1"/>
              </p:cNvSpPr>
              <p:nvPr/>
            </p:nvSpPr>
            <p:spPr bwMode="auto">
              <a:xfrm>
                <a:off x="11041063" y="3662363"/>
                <a:ext cx="211138" cy="112713"/>
              </a:xfrm>
              <a:custGeom>
                <a:avLst/>
                <a:gdLst>
                  <a:gd name="T0" fmla="*/ 119 w 133"/>
                  <a:gd name="T1" fmla="*/ 71 h 71"/>
                  <a:gd name="T2" fmla="*/ 119 w 133"/>
                  <a:gd name="T3" fmla="*/ 71 h 71"/>
                  <a:gd name="T4" fmla="*/ 100 w 133"/>
                  <a:gd name="T5" fmla="*/ 58 h 71"/>
                  <a:gd name="T6" fmla="*/ 81 w 133"/>
                  <a:gd name="T7" fmla="*/ 48 h 71"/>
                  <a:gd name="T8" fmla="*/ 93 w 133"/>
                  <a:gd name="T9" fmla="*/ 26 h 71"/>
                  <a:gd name="T10" fmla="*/ 93 w 133"/>
                  <a:gd name="T11" fmla="*/ 26 h 71"/>
                  <a:gd name="T12" fmla="*/ 113 w 133"/>
                  <a:gd name="T13" fmla="*/ 39 h 71"/>
                  <a:gd name="T14" fmla="*/ 133 w 133"/>
                  <a:gd name="T15" fmla="*/ 52 h 71"/>
                  <a:gd name="T16" fmla="*/ 119 w 133"/>
                  <a:gd name="T17" fmla="*/ 71 h 71"/>
                  <a:gd name="T18" fmla="*/ 43 w 133"/>
                  <a:gd name="T19" fmla="*/ 32 h 71"/>
                  <a:gd name="T20" fmla="*/ 43 w 133"/>
                  <a:gd name="T21" fmla="*/ 32 h 71"/>
                  <a:gd name="T22" fmla="*/ 20 w 133"/>
                  <a:gd name="T23" fmla="*/ 26 h 71"/>
                  <a:gd name="T24" fmla="*/ 0 w 133"/>
                  <a:gd name="T25" fmla="*/ 23 h 71"/>
                  <a:gd name="T26" fmla="*/ 2 w 133"/>
                  <a:gd name="T27" fmla="*/ 0 h 71"/>
                  <a:gd name="T28" fmla="*/ 2 w 133"/>
                  <a:gd name="T29" fmla="*/ 0 h 71"/>
                  <a:gd name="T30" fmla="*/ 26 w 133"/>
                  <a:gd name="T31" fmla="*/ 4 h 71"/>
                  <a:gd name="T32" fmla="*/ 48 w 133"/>
                  <a:gd name="T33" fmla="*/ 10 h 71"/>
                  <a:gd name="T34" fmla="*/ 43 w 133"/>
                  <a:gd name="T35"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71">
                    <a:moveTo>
                      <a:pt x="119" y="71"/>
                    </a:moveTo>
                    <a:lnTo>
                      <a:pt x="119" y="71"/>
                    </a:lnTo>
                    <a:lnTo>
                      <a:pt x="100" y="58"/>
                    </a:lnTo>
                    <a:lnTo>
                      <a:pt x="81" y="48"/>
                    </a:lnTo>
                    <a:lnTo>
                      <a:pt x="93" y="26"/>
                    </a:lnTo>
                    <a:lnTo>
                      <a:pt x="93" y="26"/>
                    </a:lnTo>
                    <a:lnTo>
                      <a:pt x="113" y="39"/>
                    </a:lnTo>
                    <a:lnTo>
                      <a:pt x="133" y="52"/>
                    </a:lnTo>
                    <a:lnTo>
                      <a:pt x="119" y="71"/>
                    </a:lnTo>
                    <a:close/>
                    <a:moveTo>
                      <a:pt x="43" y="32"/>
                    </a:moveTo>
                    <a:lnTo>
                      <a:pt x="43" y="32"/>
                    </a:lnTo>
                    <a:lnTo>
                      <a:pt x="20" y="26"/>
                    </a:lnTo>
                    <a:lnTo>
                      <a:pt x="0" y="23"/>
                    </a:lnTo>
                    <a:lnTo>
                      <a:pt x="2" y="0"/>
                    </a:lnTo>
                    <a:lnTo>
                      <a:pt x="2" y="0"/>
                    </a:lnTo>
                    <a:lnTo>
                      <a:pt x="26" y="4"/>
                    </a:lnTo>
                    <a:lnTo>
                      <a:pt x="48" y="10"/>
                    </a:lnTo>
                    <a:lnTo>
                      <a:pt x="4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9" name="Freeform 140">
                <a:extLst>
                  <a:ext uri="{FF2B5EF4-FFF2-40B4-BE49-F238E27FC236}">
                    <a16:creationId xmlns:a16="http://schemas.microsoft.com/office/drawing/2014/main" id="{EE80F489-38A5-42E6-A4BF-079333C1E311}"/>
                  </a:ext>
                </a:extLst>
              </p:cNvPr>
              <p:cNvSpPr>
                <a:spLocks noEditPoints="1"/>
              </p:cNvSpPr>
              <p:nvPr/>
            </p:nvSpPr>
            <p:spPr bwMode="auto">
              <a:xfrm>
                <a:off x="11179176" y="3795713"/>
                <a:ext cx="250825" cy="704850"/>
              </a:xfrm>
              <a:custGeom>
                <a:avLst/>
                <a:gdLst>
                  <a:gd name="T0" fmla="*/ 11 w 158"/>
                  <a:gd name="T1" fmla="*/ 444 h 444"/>
                  <a:gd name="T2" fmla="*/ 0 w 158"/>
                  <a:gd name="T3" fmla="*/ 424 h 444"/>
                  <a:gd name="T4" fmla="*/ 0 w 158"/>
                  <a:gd name="T5" fmla="*/ 424 h 444"/>
                  <a:gd name="T6" fmla="*/ 19 w 158"/>
                  <a:gd name="T7" fmla="*/ 413 h 444"/>
                  <a:gd name="T8" fmla="*/ 37 w 158"/>
                  <a:gd name="T9" fmla="*/ 402 h 444"/>
                  <a:gd name="T10" fmla="*/ 52 w 158"/>
                  <a:gd name="T11" fmla="*/ 420 h 444"/>
                  <a:gd name="T12" fmla="*/ 52 w 158"/>
                  <a:gd name="T13" fmla="*/ 420 h 444"/>
                  <a:gd name="T14" fmla="*/ 32 w 158"/>
                  <a:gd name="T15" fmla="*/ 433 h 444"/>
                  <a:gd name="T16" fmla="*/ 11 w 158"/>
                  <a:gd name="T17" fmla="*/ 444 h 444"/>
                  <a:gd name="T18" fmla="*/ 11 w 158"/>
                  <a:gd name="T19" fmla="*/ 444 h 444"/>
                  <a:gd name="T20" fmla="*/ 85 w 158"/>
                  <a:gd name="T21" fmla="*/ 389 h 444"/>
                  <a:gd name="T22" fmla="*/ 69 w 158"/>
                  <a:gd name="T23" fmla="*/ 372 h 444"/>
                  <a:gd name="T24" fmla="*/ 69 w 158"/>
                  <a:gd name="T25" fmla="*/ 372 h 444"/>
                  <a:gd name="T26" fmla="*/ 83 w 158"/>
                  <a:gd name="T27" fmla="*/ 355 h 444"/>
                  <a:gd name="T28" fmla="*/ 95 w 158"/>
                  <a:gd name="T29" fmla="*/ 339 h 444"/>
                  <a:gd name="T30" fmla="*/ 115 w 158"/>
                  <a:gd name="T31" fmla="*/ 350 h 444"/>
                  <a:gd name="T32" fmla="*/ 115 w 158"/>
                  <a:gd name="T33" fmla="*/ 350 h 444"/>
                  <a:gd name="T34" fmla="*/ 102 w 158"/>
                  <a:gd name="T35" fmla="*/ 370 h 444"/>
                  <a:gd name="T36" fmla="*/ 85 w 158"/>
                  <a:gd name="T37" fmla="*/ 389 h 444"/>
                  <a:gd name="T38" fmla="*/ 85 w 158"/>
                  <a:gd name="T39" fmla="*/ 389 h 444"/>
                  <a:gd name="T40" fmla="*/ 137 w 158"/>
                  <a:gd name="T41" fmla="*/ 309 h 444"/>
                  <a:gd name="T42" fmla="*/ 115 w 158"/>
                  <a:gd name="T43" fmla="*/ 300 h 444"/>
                  <a:gd name="T44" fmla="*/ 115 w 158"/>
                  <a:gd name="T45" fmla="*/ 300 h 444"/>
                  <a:gd name="T46" fmla="*/ 122 w 158"/>
                  <a:gd name="T47" fmla="*/ 279 h 444"/>
                  <a:gd name="T48" fmla="*/ 128 w 158"/>
                  <a:gd name="T49" fmla="*/ 257 h 444"/>
                  <a:gd name="T50" fmla="*/ 150 w 158"/>
                  <a:gd name="T51" fmla="*/ 263 h 444"/>
                  <a:gd name="T52" fmla="*/ 150 w 158"/>
                  <a:gd name="T53" fmla="*/ 263 h 444"/>
                  <a:gd name="T54" fmla="*/ 145 w 158"/>
                  <a:gd name="T55" fmla="*/ 287 h 444"/>
                  <a:gd name="T56" fmla="*/ 137 w 158"/>
                  <a:gd name="T57" fmla="*/ 309 h 444"/>
                  <a:gd name="T58" fmla="*/ 137 w 158"/>
                  <a:gd name="T59" fmla="*/ 309 h 444"/>
                  <a:gd name="T60" fmla="*/ 158 w 158"/>
                  <a:gd name="T61" fmla="*/ 216 h 444"/>
                  <a:gd name="T62" fmla="*/ 133 w 158"/>
                  <a:gd name="T63" fmla="*/ 215 h 444"/>
                  <a:gd name="T64" fmla="*/ 133 w 158"/>
                  <a:gd name="T65" fmla="*/ 215 h 444"/>
                  <a:gd name="T66" fmla="*/ 133 w 158"/>
                  <a:gd name="T67" fmla="*/ 200 h 444"/>
                  <a:gd name="T68" fmla="*/ 133 w 158"/>
                  <a:gd name="T69" fmla="*/ 200 h 444"/>
                  <a:gd name="T70" fmla="*/ 133 w 158"/>
                  <a:gd name="T71" fmla="*/ 172 h 444"/>
                  <a:gd name="T72" fmla="*/ 156 w 158"/>
                  <a:gd name="T73" fmla="*/ 170 h 444"/>
                  <a:gd name="T74" fmla="*/ 156 w 158"/>
                  <a:gd name="T75" fmla="*/ 170 h 444"/>
                  <a:gd name="T76" fmla="*/ 158 w 158"/>
                  <a:gd name="T77" fmla="*/ 200 h 444"/>
                  <a:gd name="T78" fmla="*/ 158 w 158"/>
                  <a:gd name="T79" fmla="*/ 200 h 444"/>
                  <a:gd name="T80" fmla="*/ 158 w 158"/>
                  <a:gd name="T81" fmla="*/ 216 h 444"/>
                  <a:gd name="T82" fmla="*/ 158 w 158"/>
                  <a:gd name="T83" fmla="*/ 216 h 444"/>
                  <a:gd name="T84" fmla="*/ 126 w 158"/>
                  <a:gd name="T85" fmla="*/ 129 h 444"/>
                  <a:gd name="T86" fmla="*/ 126 w 158"/>
                  <a:gd name="T87" fmla="*/ 129 h 444"/>
                  <a:gd name="T88" fmla="*/ 119 w 158"/>
                  <a:gd name="T89" fmla="*/ 109 h 444"/>
                  <a:gd name="T90" fmla="*/ 111 w 158"/>
                  <a:gd name="T91" fmla="*/ 89 h 444"/>
                  <a:gd name="T92" fmla="*/ 132 w 158"/>
                  <a:gd name="T93" fmla="*/ 79 h 444"/>
                  <a:gd name="T94" fmla="*/ 132 w 158"/>
                  <a:gd name="T95" fmla="*/ 79 h 444"/>
                  <a:gd name="T96" fmla="*/ 141 w 158"/>
                  <a:gd name="T97" fmla="*/ 100 h 444"/>
                  <a:gd name="T98" fmla="*/ 148 w 158"/>
                  <a:gd name="T99" fmla="*/ 124 h 444"/>
                  <a:gd name="T100" fmla="*/ 126 w 158"/>
                  <a:gd name="T101" fmla="*/ 129 h 444"/>
                  <a:gd name="T102" fmla="*/ 91 w 158"/>
                  <a:gd name="T103" fmla="*/ 50 h 444"/>
                  <a:gd name="T104" fmla="*/ 91 w 158"/>
                  <a:gd name="T105" fmla="*/ 50 h 444"/>
                  <a:gd name="T106" fmla="*/ 78 w 158"/>
                  <a:gd name="T107" fmla="*/ 33 h 444"/>
                  <a:gd name="T108" fmla="*/ 63 w 158"/>
                  <a:gd name="T109" fmla="*/ 16 h 444"/>
                  <a:gd name="T110" fmla="*/ 82 w 158"/>
                  <a:gd name="T111" fmla="*/ 0 h 444"/>
                  <a:gd name="T112" fmla="*/ 82 w 158"/>
                  <a:gd name="T113" fmla="*/ 0 h 444"/>
                  <a:gd name="T114" fmla="*/ 96 w 158"/>
                  <a:gd name="T115" fmla="*/ 18 h 444"/>
                  <a:gd name="T116" fmla="*/ 109 w 158"/>
                  <a:gd name="T117" fmla="*/ 37 h 444"/>
                  <a:gd name="T118" fmla="*/ 91 w 158"/>
                  <a:gd name="T119" fmla="*/ 5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444">
                    <a:moveTo>
                      <a:pt x="11" y="444"/>
                    </a:moveTo>
                    <a:lnTo>
                      <a:pt x="0" y="424"/>
                    </a:lnTo>
                    <a:lnTo>
                      <a:pt x="0" y="424"/>
                    </a:lnTo>
                    <a:lnTo>
                      <a:pt x="19" y="413"/>
                    </a:lnTo>
                    <a:lnTo>
                      <a:pt x="37" y="402"/>
                    </a:lnTo>
                    <a:lnTo>
                      <a:pt x="52" y="420"/>
                    </a:lnTo>
                    <a:lnTo>
                      <a:pt x="52" y="420"/>
                    </a:lnTo>
                    <a:lnTo>
                      <a:pt x="32" y="433"/>
                    </a:lnTo>
                    <a:lnTo>
                      <a:pt x="11" y="444"/>
                    </a:lnTo>
                    <a:lnTo>
                      <a:pt x="11" y="444"/>
                    </a:lnTo>
                    <a:close/>
                    <a:moveTo>
                      <a:pt x="85" y="389"/>
                    </a:moveTo>
                    <a:lnTo>
                      <a:pt x="69" y="372"/>
                    </a:lnTo>
                    <a:lnTo>
                      <a:pt x="69" y="372"/>
                    </a:lnTo>
                    <a:lnTo>
                      <a:pt x="83" y="355"/>
                    </a:lnTo>
                    <a:lnTo>
                      <a:pt x="95" y="339"/>
                    </a:lnTo>
                    <a:lnTo>
                      <a:pt x="115" y="350"/>
                    </a:lnTo>
                    <a:lnTo>
                      <a:pt x="115" y="350"/>
                    </a:lnTo>
                    <a:lnTo>
                      <a:pt x="102" y="370"/>
                    </a:lnTo>
                    <a:lnTo>
                      <a:pt x="85" y="389"/>
                    </a:lnTo>
                    <a:lnTo>
                      <a:pt x="85" y="389"/>
                    </a:lnTo>
                    <a:close/>
                    <a:moveTo>
                      <a:pt x="137" y="309"/>
                    </a:moveTo>
                    <a:lnTo>
                      <a:pt x="115" y="300"/>
                    </a:lnTo>
                    <a:lnTo>
                      <a:pt x="115" y="300"/>
                    </a:lnTo>
                    <a:lnTo>
                      <a:pt x="122" y="279"/>
                    </a:lnTo>
                    <a:lnTo>
                      <a:pt x="128" y="257"/>
                    </a:lnTo>
                    <a:lnTo>
                      <a:pt x="150" y="263"/>
                    </a:lnTo>
                    <a:lnTo>
                      <a:pt x="150" y="263"/>
                    </a:lnTo>
                    <a:lnTo>
                      <a:pt x="145" y="287"/>
                    </a:lnTo>
                    <a:lnTo>
                      <a:pt x="137" y="309"/>
                    </a:lnTo>
                    <a:lnTo>
                      <a:pt x="137" y="309"/>
                    </a:lnTo>
                    <a:close/>
                    <a:moveTo>
                      <a:pt x="158" y="216"/>
                    </a:moveTo>
                    <a:lnTo>
                      <a:pt x="133" y="215"/>
                    </a:lnTo>
                    <a:lnTo>
                      <a:pt x="133" y="215"/>
                    </a:lnTo>
                    <a:lnTo>
                      <a:pt x="133" y="200"/>
                    </a:lnTo>
                    <a:lnTo>
                      <a:pt x="133" y="200"/>
                    </a:lnTo>
                    <a:lnTo>
                      <a:pt x="133" y="172"/>
                    </a:lnTo>
                    <a:lnTo>
                      <a:pt x="156" y="170"/>
                    </a:lnTo>
                    <a:lnTo>
                      <a:pt x="156" y="170"/>
                    </a:lnTo>
                    <a:lnTo>
                      <a:pt x="158" y="200"/>
                    </a:lnTo>
                    <a:lnTo>
                      <a:pt x="158" y="200"/>
                    </a:lnTo>
                    <a:lnTo>
                      <a:pt x="158" y="216"/>
                    </a:lnTo>
                    <a:lnTo>
                      <a:pt x="158" y="216"/>
                    </a:lnTo>
                    <a:close/>
                    <a:moveTo>
                      <a:pt x="126" y="129"/>
                    </a:moveTo>
                    <a:lnTo>
                      <a:pt x="126" y="129"/>
                    </a:lnTo>
                    <a:lnTo>
                      <a:pt x="119" y="109"/>
                    </a:lnTo>
                    <a:lnTo>
                      <a:pt x="111" y="89"/>
                    </a:lnTo>
                    <a:lnTo>
                      <a:pt x="132" y="79"/>
                    </a:lnTo>
                    <a:lnTo>
                      <a:pt x="132" y="79"/>
                    </a:lnTo>
                    <a:lnTo>
                      <a:pt x="141" y="100"/>
                    </a:lnTo>
                    <a:lnTo>
                      <a:pt x="148" y="124"/>
                    </a:lnTo>
                    <a:lnTo>
                      <a:pt x="126" y="129"/>
                    </a:lnTo>
                    <a:close/>
                    <a:moveTo>
                      <a:pt x="91" y="50"/>
                    </a:moveTo>
                    <a:lnTo>
                      <a:pt x="91" y="50"/>
                    </a:lnTo>
                    <a:lnTo>
                      <a:pt x="78" y="33"/>
                    </a:lnTo>
                    <a:lnTo>
                      <a:pt x="63" y="16"/>
                    </a:lnTo>
                    <a:lnTo>
                      <a:pt x="82" y="0"/>
                    </a:lnTo>
                    <a:lnTo>
                      <a:pt x="82" y="0"/>
                    </a:lnTo>
                    <a:lnTo>
                      <a:pt x="96" y="18"/>
                    </a:lnTo>
                    <a:lnTo>
                      <a:pt x="109" y="37"/>
                    </a:lnTo>
                    <a:lnTo>
                      <a:pt x="91"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40" name="Freeform 141">
                <a:extLst>
                  <a:ext uri="{FF2B5EF4-FFF2-40B4-BE49-F238E27FC236}">
                    <a16:creationId xmlns:a16="http://schemas.microsoft.com/office/drawing/2014/main" id="{DCAC4837-55BB-41A5-A261-4FB07160D3A3}"/>
                  </a:ext>
                </a:extLst>
              </p:cNvPr>
              <p:cNvSpPr>
                <a:spLocks/>
              </p:cNvSpPr>
              <p:nvPr/>
            </p:nvSpPr>
            <p:spPr bwMode="auto">
              <a:xfrm>
                <a:off x="11085513" y="4492626"/>
                <a:ext cx="41275" cy="44450"/>
              </a:xfrm>
              <a:custGeom>
                <a:avLst/>
                <a:gdLst>
                  <a:gd name="T0" fmla="*/ 3 w 26"/>
                  <a:gd name="T1" fmla="*/ 28 h 28"/>
                  <a:gd name="T2" fmla="*/ 0 w 26"/>
                  <a:gd name="T3" fmla="*/ 5 h 28"/>
                  <a:gd name="T4" fmla="*/ 0 w 26"/>
                  <a:gd name="T5" fmla="*/ 5 h 28"/>
                  <a:gd name="T6" fmla="*/ 18 w 26"/>
                  <a:gd name="T7" fmla="*/ 0 h 28"/>
                  <a:gd name="T8" fmla="*/ 26 w 26"/>
                  <a:gd name="T9" fmla="*/ 22 h 28"/>
                  <a:gd name="T10" fmla="*/ 26 w 26"/>
                  <a:gd name="T11" fmla="*/ 22 h 28"/>
                  <a:gd name="T12" fmla="*/ 3 w 26"/>
                  <a:gd name="T13" fmla="*/ 28 h 28"/>
                  <a:gd name="T14" fmla="*/ 3 w 2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8">
                    <a:moveTo>
                      <a:pt x="3" y="28"/>
                    </a:moveTo>
                    <a:lnTo>
                      <a:pt x="0" y="5"/>
                    </a:lnTo>
                    <a:lnTo>
                      <a:pt x="0" y="5"/>
                    </a:lnTo>
                    <a:lnTo>
                      <a:pt x="18" y="0"/>
                    </a:lnTo>
                    <a:lnTo>
                      <a:pt x="26" y="22"/>
                    </a:lnTo>
                    <a:lnTo>
                      <a:pt x="26" y="22"/>
                    </a:lnTo>
                    <a:lnTo>
                      <a:pt x="3" y="28"/>
                    </a:lnTo>
                    <a:lnTo>
                      <a:pt x="3"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41" name="Freeform 161">
                <a:extLst>
                  <a:ext uri="{FF2B5EF4-FFF2-40B4-BE49-F238E27FC236}">
                    <a16:creationId xmlns:a16="http://schemas.microsoft.com/office/drawing/2014/main" id="{5A3B05A6-9054-4B8F-80C1-A7FADEE31B09}"/>
                  </a:ext>
                </a:extLst>
              </p:cNvPr>
              <p:cNvSpPr>
                <a:spLocks/>
              </p:cNvSpPr>
              <p:nvPr/>
            </p:nvSpPr>
            <p:spPr bwMode="auto">
              <a:xfrm>
                <a:off x="11020426" y="3841751"/>
                <a:ext cx="190500" cy="427038"/>
              </a:xfrm>
              <a:custGeom>
                <a:avLst/>
                <a:gdLst>
                  <a:gd name="T0" fmla="*/ 106 w 120"/>
                  <a:gd name="T1" fmla="*/ 269 h 269"/>
                  <a:gd name="T2" fmla="*/ 106 w 120"/>
                  <a:gd name="T3" fmla="*/ 269 h 269"/>
                  <a:gd name="T4" fmla="*/ 109 w 120"/>
                  <a:gd name="T5" fmla="*/ 262 h 269"/>
                  <a:gd name="T6" fmla="*/ 115 w 120"/>
                  <a:gd name="T7" fmla="*/ 243 h 269"/>
                  <a:gd name="T8" fmla="*/ 117 w 120"/>
                  <a:gd name="T9" fmla="*/ 228 h 269"/>
                  <a:gd name="T10" fmla="*/ 119 w 120"/>
                  <a:gd name="T11" fmla="*/ 212 h 269"/>
                  <a:gd name="T12" fmla="*/ 120 w 120"/>
                  <a:gd name="T13" fmla="*/ 195 h 269"/>
                  <a:gd name="T14" fmla="*/ 120 w 120"/>
                  <a:gd name="T15" fmla="*/ 174 h 269"/>
                  <a:gd name="T16" fmla="*/ 117 w 120"/>
                  <a:gd name="T17" fmla="*/ 154 h 269"/>
                  <a:gd name="T18" fmla="*/ 111 w 120"/>
                  <a:gd name="T19" fmla="*/ 132 h 269"/>
                  <a:gd name="T20" fmla="*/ 104 w 120"/>
                  <a:gd name="T21" fmla="*/ 110 h 269"/>
                  <a:gd name="T22" fmla="*/ 93 w 120"/>
                  <a:gd name="T23" fmla="*/ 87 h 269"/>
                  <a:gd name="T24" fmla="*/ 76 w 120"/>
                  <a:gd name="T25" fmla="*/ 65 h 269"/>
                  <a:gd name="T26" fmla="*/ 56 w 120"/>
                  <a:gd name="T27" fmla="*/ 43 h 269"/>
                  <a:gd name="T28" fmla="*/ 31 w 120"/>
                  <a:gd name="T29" fmla="*/ 21 h 269"/>
                  <a:gd name="T30" fmla="*/ 0 w 120"/>
                  <a:gd name="T3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269">
                    <a:moveTo>
                      <a:pt x="106" y="269"/>
                    </a:moveTo>
                    <a:lnTo>
                      <a:pt x="106" y="269"/>
                    </a:lnTo>
                    <a:lnTo>
                      <a:pt x="109" y="262"/>
                    </a:lnTo>
                    <a:lnTo>
                      <a:pt x="115" y="243"/>
                    </a:lnTo>
                    <a:lnTo>
                      <a:pt x="117" y="228"/>
                    </a:lnTo>
                    <a:lnTo>
                      <a:pt x="119" y="212"/>
                    </a:lnTo>
                    <a:lnTo>
                      <a:pt x="120" y="195"/>
                    </a:lnTo>
                    <a:lnTo>
                      <a:pt x="120" y="174"/>
                    </a:lnTo>
                    <a:lnTo>
                      <a:pt x="117" y="154"/>
                    </a:lnTo>
                    <a:lnTo>
                      <a:pt x="111" y="132"/>
                    </a:lnTo>
                    <a:lnTo>
                      <a:pt x="104" y="110"/>
                    </a:lnTo>
                    <a:lnTo>
                      <a:pt x="93" y="87"/>
                    </a:lnTo>
                    <a:lnTo>
                      <a:pt x="76" y="65"/>
                    </a:lnTo>
                    <a:lnTo>
                      <a:pt x="56" y="43"/>
                    </a:lnTo>
                    <a:lnTo>
                      <a:pt x="31" y="21"/>
                    </a:lnTo>
                    <a:lnTo>
                      <a:pt x="0" y="0"/>
                    </a:lnTo>
                  </a:path>
                </a:pathLst>
              </a:custGeom>
              <a:noFill/>
              <a:ln w="30163">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42" name="Freeform 162">
                <a:extLst>
                  <a:ext uri="{FF2B5EF4-FFF2-40B4-BE49-F238E27FC236}">
                    <a16:creationId xmlns:a16="http://schemas.microsoft.com/office/drawing/2014/main" id="{19DD5C3F-92CB-4CF1-9B8C-685ECA62B9DF}"/>
                  </a:ext>
                </a:extLst>
              </p:cNvPr>
              <p:cNvSpPr>
                <a:spLocks/>
              </p:cNvSpPr>
              <p:nvPr/>
            </p:nvSpPr>
            <p:spPr bwMode="auto">
              <a:xfrm>
                <a:off x="10775951" y="4065588"/>
                <a:ext cx="165100" cy="165100"/>
              </a:xfrm>
              <a:custGeom>
                <a:avLst/>
                <a:gdLst>
                  <a:gd name="T0" fmla="*/ 100 w 104"/>
                  <a:gd name="T1" fmla="*/ 72 h 104"/>
                  <a:gd name="T2" fmla="*/ 100 w 104"/>
                  <a:gd name="T3" fmla="*/ 72 h 104"/>
                  <a:gd name="T4" fmla="*/ 95 w 104"/>
                  <a:gd name="T5" fmla="*/ 82 h 104"/>
                  <a:gd name="T6" fmla="*/ 89 w 104"/>
                  <a:gd name="T7" fmla="*/ 89 h 104"/>
                  <a:gd name="T8" fmla="*/ 80 w 104"/>
                  <a:gd name="T9" fmla="*/ 96 h 104"/>
                  <a:gd name="T10" fmla="*/ 72 w 104"/>
                  <a:gd name="T11" fmla="*/ 100 h 104"/>
                  <a:gd name="T12" fmla="*/ 61 w 104"/>
                  <a:gd name="T13" fmla="*/ 104 h 104"/>
                  <a:gd name="T14" fmla="*/ 52 w 104"/>
                  <a:gd name="T15" fmla="*/ 104 h 104"/>
                  <a:gd name="T16" fmla="*/ 43 w 104"/>
                  <a:gd name="T17" fmla="*/ 102 h 104"/>
                  <a:gd name="T18" fmla="*/ 32 w 104"/>
                  <a:gd name="T19" fmla="*/ 100 h 104"/>
                  <a:gd name="T20" fmla="*/ 32 w 104"/>
                  <a:gd name="T21" fmla="*/ 100 h 104"/>
                  <a:gd name="T22" fmla="*/ 22 w 104"/>
                  <a:gd name="T23" fmla="*/ 95 h 104"/>
                  <a:gd name="T24" fmla="*/ 15 w 104"/>
                  <a:gd name="T25" fmla="*/ 87 h 104"/>
                  <a:gd name="T26" fmla="*/ 9 w 104"/>
                  <a:gd name="T27" fmla="*/ 80 h 104"/>
                  <a:gd name="T28" fmla="*/ 4 w 104"/>
                  <a:gd name="T29" fmla="*/ 71 h 104"/>
                  <a:gd name="T30" fmla="*/ 2 w 104"/>
                  <a:gd name="T31" fmla="*/ 61 h 104"/>
                  <a:gd name="T32" fmla="*/ 0 w 104"/>
                  <a:gd name="T33" fmla="*/ 52 h 104"/>
                  <a:gd name="T34" fmla="*/ 2 w 104"/>
                  <a:gd name="T35" fmla="*/ 41 h 104"/>
                  <a:gd name="T36" fmla="*/ 6 w 104"/>
                  <a:gd name="T37" fmla="*/ 32 h 104"/>
                  <a:gd name="T38" fmla="*/ 6 w 104"/>
                  <a:gd name="T39" fmla="*/ 32 h 104"/>
                  <a:gd name="T40" fmla="*/ 11 w 104"/>
                  <a:gd name="T41" fmla="*/ 22 h 104"/>
                  <a:gd name="T42" fmla="*/ 17 w 104"/>
                  <a:gd name="T43" fmla="*/ 15 h 104"/>
                  <a:gd name="T44" fmla="*/ 26 w 104"/>
                  <a:gd name="T45" fmla="*/ 8 h 104"/>
                  <a:gd name="T46" fmla="*/ 34 w 104"/>
                  <a:gd name="T47" fmla="*/ 4 h 104"/>
                  <a:gd name="T48" fmla="*/ 43 w 104"/>
                  <a:gd name="T49" fmla="*/ 0 h 104"/>
                  <a:gd name="T50" fmla="*/ 54 w 104"/>
                  <a:gd name="T51" fmla="*/ 0 h 104"/>
                  <a:gd name="T52" fmla="*/ 63 w 104"/>
                  <a:gd name="T53" fmla="*/ 2 h 104"/>
                  <a:gd name="T54" fmla="*/ 74 w 104"/>
                  <a:gd name="T55" fmla="*/ 4 h 104"/>
                  <a:gd name="T56" fmla="*/ 74 w 104"/>
                  <a:gd name="T57" fmla="*/ 4 h 104"/>
                  <a:gd name="T58" fmla="*/ 84 w 104"/>
                  <a:gd name="T59" fmla="*/ 9 h 104"/>
                  <a:gd name="T60" fmla="*/ 91 w 104"/>
                  <a:gd name="T61" fmla="*/ 17 h 104"/>
                  <a:gd name="T62" fmla="*/ 97 w 104"/>
                  <a:gd name="T63" fmla="*/ 24 h 104"/>
                  <a:gd name="T64" fmla="*/ 102 w 104"/>
                  <a:gd name="T65" fmla="*/ 33 h 104"/>
                  <a:gd name="T66" fmla="*/ 104 w 104"/>
                  <a:gd name="T67" fmla="*/ 43 h 104"/>
                  <a:gd name="T68" fmla="*/ 104 w 104"/>
                  <a:gd name="T69" fmla="*/ 52 h 104"/>
                  <a:gd name="T70" fmla="*/ 104 w 104"/>
                  <a:gd name="T71" fmla="*/ 63 h 104"/>
                  <a:gd name="T72" fmla="*/ 100 w 104"/>
                  <a:gd name="T73" fmla="*/ 72 h 104"/>
                  <a:gd name="T74" fmla="*/ 100 w 104"/>
                  <a:gd name="T75" fmla="*/ 7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104">
                    <a:moveTo>
                      <a:pt x="100" y="72"/>
                    </a:moveTo>
                    <a:lnTo>
                      <a:pt x="100" y="72"/>
                    </a:lnTo>
                    <a:lnTo>
                      <a:pt x="95" y="82"/>
                    </a:lnTo>
                    <a:lnTo>
                      <a:pt x="89" y="89"/>
                    </a:lnTo>
                    <a:lnTo>
                      <a:pt x="80" y="96"/>
                    </a:lnTo>
                    <a:lnTo>
                      <a:pt x="72" y="100"/>
                    </a:lnTo>
                    <a:lnTo>
                      <a:pt x="61" y="104"/>
                    </a:lnTo>
                    <a:lnTo>
                      <a:pt x="52" y="104"/>
                    </a:lnTo>
                    <a:lnTo>
                      <a:pt x="43" y="102"/>
                    </a:lnTo>
                    <a:lnTo>
                      <a:pt x="32" y="100"/>
                    </a:lnTo>
                    <a:lnTo>
                      <a:pt x="32" y="100"/>
                    </a:lnTo>
                    <a:lnTo>
                      <a:pt x="22" y="95"/>
                    </a:lnTo>
                    <a:lnTo>
                      <a:pt x="15" y="87"/>
                    </a:lnTo>
                    <a:lnTo>
                      <a:pt x="9" y="80"/>
                    </a:lnTo>
                    <a:lnTo>
                      <a:pt x="4" y="71"/>
                    </a:lnTo>
                    <a:lnTo>
                      <a:pt x="2" y="61"/>
                    </a:lnTo>
                    <a:lnTo>
                      <a:pt x="0" y="52"/>
                    </a:lnTo>
                    <a:lnTo>
                      <a:pt x="2" y="41"/>
                    </a:lnTo>
                    <a:lnTo>
                      <a:pt x="6" y="32"/>
                    </a:lnTo>
                    <a:lnTo>
                      <a:pt x="6" y="32"/>
                    </a:lnTo>
                    <a:lnTo>
                      <a:pt x="11" y="22"/>
                    </a:lnTo>
                    <a:lnTo>
                      <a:pt x="17" y="15"/>
                    </a:lnTo>
                    <a:lnTo>
                      <a:pt x="26" y="8"/>
                    </a:lnTo>
                    <a:lnTo>
                      <a:pt x="34" y="4"/>
                    </a:lnTo>
                    <a:lnTo>
                      <a:pt x="43" y="0"/>
                    </a:lnTo>
                    <a:lnTo>
                      <a:pt x="54" y="0"/>
                    </a:lnTo>
                    <a:lnTo>
                      <a:pt x="63" y="2"/>
                    </a:lnTo>
                    <a:lnTo>
                      <a:pt x="74" y="4"/>
                    </a:lnTo>
                    <a:lnTo>
                      <a:pt x="74" y="4"/>
                    </a:lnTo>
                    <a:lnTo>
                      <a:pt x="84" y="9"/>
                    </a:lnTo>
                    <a:lnTo>
                      <a:pt x="91" y="17"/>
                    </a:lnTo>
                    <a:lnTo>
                      <a:pt x="97" y="24"/>
                    </a:lnTo>
                    <a:lnTo>
                      <a:pt x="102" y="33"/>
                    </a:lnTo>
                    <a:lnTo>
                      <a:pt x="104" y="43"/>
                    </a:lnTo>
                    <a:lnTo>
                      <a:pt x="104" y="52"/>
                    </a:lnTo>
                    <a:lnTo>
                      <a:pt x="104" y="63"/>
                    </a:lnTo>
                    <a:lnTo>
                      <a:pt x="100" y="72"/>
                    </a:lnTo>
                    <a:lnTo>
                      <a:pt x="100" y="72"/>
                    </a:lnTo>
                    <a:close/>
                  </a:path>
                </a:pathLst>
              </a:custGeom>
              <a:noFill/>
              <a:ln w="30163">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43" name="Freeform 163">
                <a:extLst>
                  <a:ext uri="{FF2B5EF4-FFF2-40B4-BE49-F238E27FC236}">
                    <a16:creationId xmlns:a16="http://schemas.microsoft.com/office/drawing/2014/main" id="{C6CCC782-C1B4-4CA4-AE91-E831516B3FE2}"/>
                  </a:ext>
                </a:extLst>
              </p:cNvPr>
              <p:cNvSpPr>
                <a:spLocks/>
              </p:cNvSpPr>
              <p:nvPr/>
            </p:nvSpPr>
            <p:spPr bwMode="auto">
              <a:xfrm>
                <a:off x="10968038" y="3968751"/>
                <a:ext cx="104775" cy="247650"/>
              </a:xfrm>
              <a:custGeom>
                <a:avLst/>
                <a:gdLst>
                  <a:gd name="T0" fmla="*/ 61 w 66"/>
                  <a:gd name="T1" fmla="*/ 156 h 156"/>
                  <a:gd name="T2" fmla="*/ 61 w 66"/>
                  <a:gd name="T3" fmla="*/ 156 h 156"/>
                  <a:gd name="T4" fmla="*/ 64 w 66"/>
                  <a:gd name="T5" fmla="*/ 139 h 156"/>
                  <a:gd name="T6" fmla="*/ 66 w 66"/>
                  <a:gd name="T7" fmla="*/ 122 h 156"/>
                  <a:gd name="T8" fmla="*/ 66 w 66"/>
                  <a:gd name="T9" fmla="*/ 100 h 156"/>
                  <a:gd name="T10" fmla="*/ 64 w 66"/>
                  <a:gd name="T11" fmla="*/ 89 h 156"/>
                  <a:gd name="T12" fmla="*/ 61 w 66"/>
                  <a:gd name="T13" fmla="*/ 76 h 156"/>
                  <a:gd name="T14" fmla="*/ 55 w 66"/>
                  <a:gd name="T15" fmla="*/ 63 h 156"/>
                  <a:gd name="T16" fmla="*/ 48 w 66"/>
                  <a:gd name="T17" fmla="*/ 50 h 156"/>
                  <a:gd name="T18" fmla="*/ 40 w 66"/>
                  <a:gd name="T19" fmla="*/ 37 h 156"/>
                  <a:gd name="T20" fmla="*/ 29 w 66"/>
                  <a:gd name="T21" fmla="*/ 24 h 156"/>
                  <a:gd name="T22" fmla="*/ 14 w 66"/>
                  <a:gd name="T23" fmla="*/ 11 h 156"/>
                  <a:gd name="T24" fmla="*/ 0 w 66"/>
                  <a:gd name="T2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56">
                    <a:moveTo>
                      <a:pt x="61" y="156"/>
                    </a:moveTo>
                    <a:lnTo>
                      <a:pt x="61" y="156"/>
                    </a:lnTo>
                    <a:lnTo>
                      <a:pt x="64" y="139"/>
                    </a:lnTo>
                    <a:lnTo>
                      <a:pt x="66" y="122"/>
                    </a:lnTo>
                    <a:lnTo>
                      <a:pt x="66" y="100"/>
                    </a:lnTo>
                    <a:lnTo>
                      <a:pt x="64" y="89"/>
                    </a:lnTo>
                    <a:lnTo>
                      <a:pt x="61" y="76"/>
                    </a:lnTo>
                    <a:lnTo>
                      <a:pt x="55" y="63"/>
                    </a:lnTo>
                    <a:lnTo>
                      <a:pt x="48" y="50"/>
                    </a:lnTo>
                    <a:lnTo>
                      <a:pt x="40" y="37"/>
                    </a:lnTo>
                    <a:lnTo>
                      <a:pt x="29" y="24"/>
                    </a:lnTo>
                    <a:lnTo>
                      <a:pt x="14" y="11"/>
                    </a:lnTo>
                    <a:lnTo>
                      <a:pt x="0" y="0"/>
                    </a:lnTo>
                  </a:path>
                </a:pathLst>
              </a:custGeom>
              <a:noFill/>
              <a:ln w="30163">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44" name="Freeform 164">
                <a:extLst>
                  <a:ext uri="{FF2B5EF4-FFF2-40B4-BE49-F238E27FC236}">
                    <a16:creationId xmlns:a16="http://schemas.microsoft.com/office/drawing/2014/main" id="{5D62906E-CF57-425B-8867-BEF6E38A7F94}"/>
                  </a:ext>
                </a:extLst>
              </p:cNvPr>
              <p:cNvSpPr>
                <a:spLocks/>
              </p:cNvSpPr>
              <p:nvPr/>
            </p:nvSpPr>
            <p:spPr bwMode="auto">
              <a:xfrm>
                <a:off x="10817226" y="4103688"/>
                <a:ext cx="85725" cy="88900"/>
              </a:xfrm>
              <a:custGeom>
                <a:avLst/>
                <a:gdLst>
                  <a:gd name="T0" fmla="*/ 54 w 54"/>
                  <a:gd name="T1" fmla="*/ 28 h 56"/>
                  <a:gd name="T2" fmla="*/ 54 w 54"/>
                  <a:gd name="T3" fmla="*/ 28 h 56"/>
                  <a:gd name="T4" fmla="*/ 54 w 54"/>
                  <a:gd name="T5" fmla="*/ 34 h 56"/>
                  <a:gd name="T6" fmla="*/ 52 w 54"/>
                  <a:gd name="T7" fmla="*/ 39 h 56"/>
                  <a:gd name="T8" fmla="*/ 46 w 54"/>
                  <a:gd name="T9" fmla="*/ 47 h 56"/>
                  <a:gd name="T10" fmla="*/ 37 w 54"/>
                  <a:gd name="T11" fmla="*/ 54 h 56"/>
                  <a:gd name="T12" fmla="*/ 32 w 54"/>
                  <a:gd name="T13" fmla="*/ 54 h 56"/>
                  <a:gd name="T14" fmla="*/ 26 w 54"/>
                  <a:gd name="T15" fmla="*/ 56 h 56"/>
                  <a:gd name="T16" fmla="*/ 26 w 54"/>
                  <a:gd name="T17" fmla="*/ 56 h 56"/>
                  <a:gd name="T18" fmla="*/ 20 w 54"/>
                  <a:gd name="T19" fmla="*/ 54 h 56"/>
                  <a:gd name="T20" fmla="*/ 17 w 54"/>
                  <a:gd name="T21" fmla="*/ 54 h 56"/>
                  <a:gd name="T22" fmla="*/ 8 w 54"/>
                  <a:gd name="T23" fmla="*/ 47 h 56"/>
                  <a:gd name="T24" fmla="*/ 2 w 54"/>
                  <a:gd name="T25" fmla="*/ 39 h 56"/>
                  <a:gd name="T26" fmla="*/ 0 w 54"/>
                  <a:gd name="T27" fmla="*/ 34 h 56"/>
                  <a:gd name="T28" fmla="*/ 0 w 54"/>
                  <a:gd name="T29" fmla="*/ 28 h 56"/>
                  <a:gd name="T30" fmla="*/ 0 w 54"/>
                  <a:gd name="T31" fmla="*/ 28 h 56"/>
                  <a:gd name="T32" fmla="*/ 0 w 54"/>
                  <a:gd name="T33" fmla="*/ 22 h 56"/>
                  <a:gd name="T34" fmla="*/ 2 w 54"/>
                  <a:gd name="T35" fmla="*/ 17 h 56"/>
                  <a:gd name="T36" fmla="*/ 8 w 54"/>
                  <a:gd name="T37" fmla="*/ 9 h 56"/>
                  <a:gd name="T38" fmla="*/ 17 w 54"/>
                  <a:gd name="T39" fmla="*/ 2 h 56"/>
                  <a:gd name="T40" fmla="*/ 20 w 54"/>
                  <a:gd name="T41" fmla="*/ 2 h 56"/>
                  <a:gd name="T42" fmla="*/ 26 w 54"/>
                  <a:gd name="T43" fmla="*/ 0 h 56"/>
                  <a:gd name="T44" fmla="*/ 26 w 54"/>
                  <a:gd name="T45" fmla="*/ 0 h 56"/>
                  <a:gd name="T46" fmla="*/ 32 w 54"/>
                  <a:gd name="T47" fmla="*/ 2 h 56"/>
                  <a:gd name="T48" fmla="*/ 37 w 54"/>
                  <a:gd name="T49" fmla="*/ 2 h 56"/>
                  <a:gd name="T50" fmla="*/ 46 w 54"/>
                  <a:gd name="T51" fmla="*/ 9 h 56"/>
                  <a:gd name="T52" fmla="*/ 52 w 54"/>
                  <a:gd name="T53" fmla="*/ 17 h 56"/>
                  <a:gd name="T54" fmla="*/ 54 w 54"/>
                  <a:gd name="T55" fmla="*/ 22 h 56"/>
                  <a:gd name="T56" fmla="*/ 54 w 54"/>
                  <a:gd name="T57" fmla="*/ 28 h 56"/>
                  <a:gd name="T58" fmla="*/ 54 w 54"/>
                  <a:gd name="T59"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56">
                    <a:moveTo>
                      <a:pt x="54" y="28"/>
                    </a:moveTo>
                    <a:lnTo>
                      <a:pt x="54" y="28"/>
                    </a:lnTo>
                    <a:lnTo>
                      <a:pt x="54" y="34"/>
                    </a:lnTo>
                    <a:lnTo>
                      <a:pt x="52" y="39"/>
                    </a:lnTo>
                    <a:lnTo>
                      <a:pt x="46" y="47"/>
                    </a:lnTo>
                    <a:lnTo>
                      <a:pt x="37" y="54"/>
                    </a:lnTo>
                    <a:lnTo>
                      <a:pt x="32" y="54"/>
                    </a:lnTo>
                    <a:lnTo>
                      <a:pt x="26" y="56"/>
                    </a:lnTo>
                    <a:lnTo>
                      <a:pt x="26" y="56"/>
                    </a:lnTo>
                    <a:lnTo>
                      <a:pt x="20" y="54"/>
                    </a:lnTo>
                    <a:lnTo>
                      <a:pt x="17" y="54"/>
                    </a:lnTo>
                    <a:lnTo>
                      <a:pt x="8" y="47"/>
                    </a:lnTo>
                    <a:lnTo>
                      <a:pt x="2" y="39"/>
                    </a:lnTo>
                    <a:lnTo>
                      <a:pt x="0" y="34"/>
                    </a:lnTo>
                    <a:lnTo>
                      <a:pt x="0" y="28"/>
                    </a:lnTo>
                    <a:lnTo>
                      <a:pt x="0" y="28"/>
                    </a:lnTo>
                    <a:lnTo>
                      <a:pt x="0" y="22"/>
                    </a:lnTo>
                    <a:lnTo>
                      <a:pt x="2" y="17"/>
                    </a:lnTo>
                    <a:lnTo>
                      <a:pt x="8" y="9"/>
                    </a:lnTo>
                    <a:lnTo>
                      <a:pt x="17" y="2"/>
                    </a:lnTo>
                    <a:lnTo>
                      <a:pt x="20" y="2"/>
                    </a:lnTo>
                    <a:lnTo>
                      <a:pt x="26" y="0"/>
                    </a:lnTo>
                    <a:lnTo>
                      <a:pt x="26" y="0"/>
                    </a:lnTo>
                    <a:lnTo>
                      <a:pt x="32" y="2"/>
                    </a:lnTo>
                    <a:lnTo>
                      <a:pt x="37" y="2"/>
                    </a:lnTo>
                    <a:lnTo>
                      <a:pt x="46" y="9"/>
                    </a:lnTo>
                    <a:lnTo>
                      <a:pt x="52" y="17"/>
                    </a:lnTo>
                    <a:lnTo>
                      <a:pt x="54" y="22"/>
                    </a:lnTo>
                    <a:lnTo>
                      <a:pt x="54" y="28"/>
                    </a:lnTo>
                    <a:lnTo>
                      <a:pt x="54" y="28"/>
                    </a:lnTo>
                    <a:close/>
                  </a:path>
                </a:pathLst>
              </a:custGeom>
              <a:solidFill>
                <a:srgbClr val="FCD3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grpSp>
        <p:sp>
          <p:nvSpPr>
            <p:cNvPr id="114" name="Freeform 165">
              <a:extLst>
                <a:ext uri="{FF2B5EF4-FFF2-40B4-BE49-F238E27FC236}">
                  <a16:creationId xmlns:a16="http://schemas.microsoft.com/office/drawing/2014/main" id="{B65EAC9B-8BDA-4CCE-8F9F-94DB434D288B}"/>
                </a:ext>
              </a:extLst>
            </p:cNvPr>
            <p:cNvSpPr>
              <a:spLocks/>
            </p:cNvSpPr>
            <p:nvPr/>
          </p:nvSpPr>
          <p:spPr bwMode="auto">
            <a:xfrm>
              <a:off x="9850438" y="4575176"/>
              <a:ext cx="460375" cy="460375"/>
            </a:xfrm>
            <a:custGeom>
              <a:avLst/>
              <a:gdLst>
                <a:gd name="T0" fmla="*/ 290 w 290"/>
                <a:gd name="T1" fmla="*/ 252 h 290"/>
                <a:gd name="T2" fmla="*/ 38 w 290"/>
                <a:gd name="T3" fmla="*/ 290 h 290"/>
                <a:gd name="T4" fmla="*/ 0 w 290"/>
                <a:gd name="T5" fmla="*/ 37 h 290"/>
                <a:gd name="T6" fmla="*/ 253 w 290"/>
                <a:gd name="T7" fmla="*/ 0 h 290"/>
                <a:gd name="T8" fmla="*/ 290 w 290"/>
                <a:gd name="T9" fmla="*/ 252 h 290"/>
              </a:gdLst>
              <a:ahLst/>
              <a:cxnLst>
                <a:cxn ang="0">
                  <a:pos x="T0" y="T1"/>
                </a:cxn>
                <a:cxn ang="0">
                  <a:pos x="T2" y="T3"/>
                </a:cxn>
                <a:cxn ang="0">
                  <a:pos x="T4" y="T5"/>
                </a:cxn>
                <a:cxn ang="0">
                  <a:pos x="T6" y="T7"/>
                </a:cxn>
                <a:cxn ang="0">
                  <a:pos x="T8" y="T9"/>
                </a:cxn>
              </a:cxnLst>
              <a:rect l="0" t="0" r="r" b="b"/>
              <a:pathLst>
                <a:path w="290" h="290">
                  <a:moveTo>
                    <a:pt x="290" y="252"/>
                  </a:moveTo>
                  <a:lnTo>
                    <a:pt x="38" y="290"/>
                  </a:lnTo>
                  <a:lnTo>
                    <a:pt x="0" y="37"/>
                  </a:lnTo>
                  <a:lnTo>
                    <a:pt x="253" y="0"/>
                  </a:lnTo>
                  <a:lnTo>
                    <a:pt x="290" y="252"/>
                  </a:lnTo>
                  <a:close/>
                </a:path>
              </a:pathLst>
            </a:custGeom>
            <a:solidFill>
              <a:srgbClr val="046A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15" name="Freeform 166">
              <a:extLst>
                <a:ext uri="{FF2B5EF4-FFF2-40B4-BE49-F238E27FC236}">
                  <a16:creationId xmlns:a16="http://schemas.microsoft.com/office/drawing/2014/main" id="{57BA9CB2-91AF-49ED-A655-9A7F7C11C4A2}"/>
                </a:ext>
              </a:extLst>
            </p:cNvPr>
            <p:cNvSpPr>
              <a:spLocks/>
            </p:cNvSpPr>
            <p:nvPr/>
          </p:nvSpPr>
          <p:spPr bwMode="auto">
            <a:xfrm>
              <a:off x="10188576" y="4845051"/>
              <a:ext cx="320675" cy="309563"/>
            </a:xfrm>
            <a:custGeom>
              <a:avLst/>
              <a:gdLst>
                <a:gd name="T0" fmla="*/ 116 w 202"/>
                <a:gd name="T1" fmla="*/ 195 h 195"/>
                <a:gd name="T2" fmla="*/ 0 w 202"/>
                <a:gd name="T3" fmla="*/ 0 h 195"/>
                <a:gd name="T4" fmla="*/ 202 w 202"/>
                <a:gd name="T5" fmla="*/ 56 h 195"/>
                <a:gd name="T6" fmla="*/ 126 w 202"/>
                <a:gd name="T7" fmla="*/ 96 h 195"/>
                <a:gd name="T8" fmla="*/ 116 w 202"/>
                <a:gd name="T9" fmla="*/ 195 h 195"/>
              </a:gdLst>
              <a:ahLst/>
              <a:cxnLst>
                <a:cxn ang="0">
                  <a:pos x="T0" y="T1"/>
                </a:cxn>
                <a:cxn ang="0">
                  <a:pos x="T2" y="T3"/>
                </a:cxn>
                <a:cxn ang="0">
                  <a:pos x="T4" y="T5"/>
                </a:cxn>
                <a:cxn ang="0">
                  <a:pos x="T6" y="T7"/>
                </a:cxn>
                <a:cxn ang="0">
                  <a:pos x="T8" y="T9"/>
                </a:cxn>
              </a:cxnLst>
              <a:rect l="0" t="0" r="r" b="b"/>
              <a:pathLst>
                <a:path w="202" h="195">
                  <a:moveTo>
                    <a:pt x="116" y="195"/>
                  </a:moveTo>
                  <a:lnTo>
                    <a:pt x="0" y="0"/>
                  </a:lnTo>
                  <a:lnTo>
                    <a:pt x="202" y="56"/>
                  </a:lnTo>
                  <a:lnTo>
                    <a:pt x="126" y="96"/>
                  </a:lnTo>
                  <a:lnTo>
                    <a:pt x="116" y="195"/>
                  </a:lnTo>
                  <a:close/>
                </a:path>
              </a:pathLst>
            </a:custGeom>
            <a:noFill/>
            <a:ln w="317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16" name="Line 167">
              <a:extLst>
                <a:ext uri="{FF2B5EF4-FFF2-40B4-BE49-F238E27FC236}">
                  <a16:creationId xmlns:a16="http://schemas.microsoft.com/office/drawing/2014/main" id="{237985B8-EFC5-4400-A1F7-3E6535A48CC2}"/>
                </a:ext>
              </a:extLst>
            </p:cNvPr>
            <p:cNvSpPr>
              <a:spLocks noChangeShapeType="1"/>
            </p:cNvSpPr>
            <p:nvPr/>
          </p:nvSpPr>
          <p:spPr bwMode="auto">
            <a:xfrm>
              <a:off x="10388601" y="4997451"/>
              <a:ext cx="104775" cy="79375"/>
            </a:xfrm>
            <a:prstGeom prst="line">
              <a:avLst/>
            </a:prstGeom>
            <a:noFill/>
            <a:ln w="317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17" name="Freeform 168">
              <a:extLst>
                <a:ext uri="{FF2B5EF4-FFF2-40B4-BE49-F238E27FC236}">
                  <a16:creationId xmlns:a16="http://schemas.microsoft.com/office/drawing/2014/main" id="{6E0B262E-8A70-428D-9F49-F631F46F40DB}"/>
                </a:ext>
              </a:extLst>
            </p:cNvPr>
            <p:cNvSpPr>
              <a:spLocks noEditPoints="1"/>
            </p:cNvSpPr>
            <p:nvPr/>
          </p:nvSpPr>
          <p:spPr bwMode="auto">
            <a:xfrm>
              <a:off x="9647238" y="4418013"/>
              <a:ext cx="561975" cy="823913"/>
            </a:xfrm>
            <a:custGeom>
              <a:avLst/>
              <a:gdLst>
                <a:gd name="T0" fmla="*/ 79 w 354"/>
                <a:gd name="T1" fmla="*/ 482 h 519"/>
                <a:gd name="T2" fmla="*/ 105 w 354"/>
                <a:gd name="T3" fmla="*/ 493 h 519"/>
                <a:gd name="T4" fmla="*/ 111 w 354"/>
                <a:gd name="T5" fmla="*/ 517 h 519"/>
                <a:gd name="T6" fmla="*/ 152 w 354"/>
                <a:gd name="T7" fmla="*/ 512 h 519"/>
                <a:gd name="T8" fmla="*/ 189 w 354"/>
                <a:gd name="T9" fmla="*/ 484 h 519"/>
                <a:gd name="T10" fmla="*/ 152 w 354"/>
                <a:gd name="T11" fmla="*/ 512 h 519"/>
                <a:gd name="T12" fmla="*/ 229 w 354"/>
                <a:gd name="T13" fmla="*/ 478 h 519"/>
                <a:gd name="T14" fmla="*/ 272 w 354"/>
                <a:gd name="T15" fmla="*/ 497 h 519"/>
                <a:gd name="T16" fmla="*/ 313 w 354"/>
                <a:gd name="T17" fmla="*/ 493 h 519"/>
                <a:gd name="T18" fmla="*/ 350 w 354"/>
                <a:gd name="T19" fmla="*/ 465 h 519"/>
                <a:gd name="T20" fmla="*/ 313 w 354"/>
                <a:gd name="T21" fmla="*/ 493 h 519"/>
                <a:gd name="T22" fmla="*/ 66 w 354"/>
                <a:gd name="T23" fmla="*/ 402 h 519"/>
                <a:gd name="T24" fmla="*/ 96 w 354"/>
                <a:gd name="T25" fmla="*/ 438 h 519"/>
                <a:gd name="T26" fmla="*/ 59 w 354"/>
                <a:gd name="T27" fmla="*/ 362 h 519"/>
                <a:gd name="T28" fmla="*/ 74 w 354"/>
                <a:gd name="T29" fmla="*/ 317 h 519"/>
                <a:gd name="T30" fmla="*/ 59 w 354"/>
                <a:gd name="T31" fmla="*/ 362 h 519"/>
                <a:gd name="T32" fmla="*/ 39 w 354"/>
                <a:gd name="T33" fmla="*/ 241 h 519"/>
                <a:gd name="T34" fmla="*/ 68 w 354"/>
                <a:gd name="T35" fmla="*/ 278 h 519"/>
                <a:gd name="T36" fmla="*/ 31 w 354"/>
                <a:gd name="T37" fmla="*/ 202 h 519"/>
                <a:gd name="T38" fmla="*/ 48 w 354"/>
                <a:gd name="T39" fmla="*/ 158 h 519"/>
                <a:gd name="T40" fmla="*/ 31 w 354"/>
                <a:gd name="T41" fmla="*/ 202 h 519"/>
                <a:gd name="T42" fmla="*/ 11 w 354"/>
                <a:gd name="T43" fmla="*/ 82 h 519"/>
                <a:gd name="T44" fmla="*/ 40 w 354"/>
                <a:gd name="T45" fmla="*/ 117 h 519"/>
                <a:gd name="T46" fmla="*/ 3 w 354"/>
                <a:gd name="T47" fmla="*/ 41 h 519"/>
                <a:gd name="T48" fmla="*/ 44 w 354"/>
                <a:gd name="T49" fmla="*/ 15 h 519"/>
                <a:gd name="T50" fmla="*/ 14 w 354"/>
                <a:gd name="T51" fmla="*/ 41 h 519"/>
                <a:gd name="T52" fmla="*/ 3 w 354"/>
                <a:gd name="T53" fmla="*/ 41 h 519"/>
                <a:gd name="T54" fmla="*/ 85 w 354"/>
                <a:gd name="T55" fmla="*/ 13 h 519"/>
                <a:gd name="T56" fmla="*/ 126 w 354"/>
                <a:gd name="T57" fmla="*/ 34 h 519"/>
                <a:gd name="T58" fmla="*/ 166 w 354"/>
                <a:gd name="T59" fmla="*/ 32 h 519"/>
                <a:gd name="T60" fmla="*/ 205 w 354"/>
                <a:gd name="T61" fmla="*/ 6 h 519"/>
                <a:gd name="T62" fmla="*/ 166 w 354"/>
                <a:gd name="T63" fmla="*/ 32 h 519"/>
                <a:gd name="T64" fmla="*/ 246 w 354"/>
                <a:gd name="T65" fmla="*/ 2 h 519"/>
                <a:gd name="T66" fmla="*/ 289 w 354"/>
                <a:gd name="T67" fmla="*/ 23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4" h="519">
                  <a:moveTo>
                    <a:pt x="85" y="519"/>
                  </a:moveTo>
                  <a:lnTo>
                    <a:pt x="79" y="482"/>
                  </a:lnTo>
                  <a:lnTo>
                    <a:pt x="102" y="478"/>
                  </a:lnTo>
                  <a:lnTo>
                    <a:pt x="105" y="493"/>
                  </a:lnTo>
                  <a:lnTo>
                    <a:pt x="107" y="493"/>
                  </a:lnTo>
                  <a:lnTo>
                    <a:pt x="111" y="517"/>
                  </a:lnTo>
                  <a:lnTo>
                    <a:pt x="85" y="519"/>
                  </a:lnTo>
                  <a:close/>
                  <a:moveTo>
                    <a:pt x="152" y="512"/>
                  </a:moveTo>
                  <a:lnTo>
                    <a:pt x="148" y="488"/>
                  </a:lnTo>
                  <a:lnTo>
                    <a:pt x="189" y="484"/>
                  </a:lnTo>
                  <a:lnTo>
                    <a:pt x="191" y="506"/>
                  </a:lnTo>
                  <a:lnTo>
                    <a:pt x="152" y="512"/>
                  </a:lnTo>
                  <a:close/>
                  <a:moveTo>
                    <a:pt x="231" y="503"/>
                  </a:moveTo>
                  <a:lnTo>
                    <a:pt x="229" y="478"/>
                  </a:lnTo>
                  <a:lnTo>
                    <a:pt x="270" y="475"/>
                  </a:lnTo>
                  <a:lnTo>
                    <a:pt x="272" y="497"/>
                  </a:lnTo>
                  <a:lnTo>
                    <a:pt x="231" y="503"/>
                  </a:lnTo>
                  <a:close/>
                  <a:moveTo>
                    <a:pt x="313" y="493"/>
                  </a:moveTo>
                  <a:lnTo>
                    <a:pt x="309" y="469"/>
                  </a:lnTo>
                  <a:lnTo>
                    <a:pt x="350" y="465"/>
                  </a:lnTo>
                  <a:lnTo>
                    <a:pt x="354" y="488"/>
                  </a:lnTo>
                  <a:lnTo>
                    <a:pt x="313" y="493"/>
                  </a:lnTo>
                  <a:close/>
                  <a:moveTo>
                    <a:pt x="72" y="441"/>
                  </a:moveTo>
                  <a:lnTo>
                    <a:pt x="66" y="402"/>
                  </a:lnTo>
                  <a:lnTo>
                    <a:pt x="89" y="399"/>
                  </a:lnTo>
                  <a:lnTo>
                    <a:pt x="96" y="438"/>
                  </a:lnTo>
                  <a:lnTo>
                    <a:pt x="72" y="441"/>
                  </a:lnTo>
                  <a:close/>
                  <a:moveTo>
                    <a:pt x="59" y="362"/>
                  </a:moveTo>
                  <a:lnTo>
                    <a:pt x="52" y="321"/>
                  </a:lnTo>
                  <a:lnTo>
                    <a:pt x="74" y="317"/>
                  </a:lnTo>
                  <a:lnTo>
                    <a:pt x="81" y="358"/>
                  </a:lnTo>
                  <a:lnTo>
                    <a:pt x="59" y="362"/>
                  </a:lnTo>
                  <a:close/>
                  <a:moveTo>
                    <a:pt x="44" y="282"/>
                  </a:moveTo>
                  <a:lnTo>
                    <a:pt x="39" y="241"/>
                  </a:lnTo>
                  <a:lnTo>
                    <a:pt x="61" y="238"/>
                  </a:lnTo>
                  <a:lnTo>
                    <a:pt x="68" y="278"/>
                  </a:lnTo>
                  <a:lnTo>
                    <a:pt x="44" y="282"/>
                  </a:lnTo>
                  <a:close/>
                  <a:moveTo>
                    <a:pt x="31" y="202"/>
                  </a:moveTo>
                  <a:lnTo>
                    <a:pt x="24" y="162"/>
                  </a:lnTo>
                  <a:lnTo>
                    <a:pt x="48" y="158"/>
                  </a:lnTo>
                  <a:lnTo>
                    <a:pt x="53" y="197"/>
                  </a:lnTo>
                  <a:lnTo>
                    <a:pt x="31" y="202"/>
                  </a:lnTo>
                  <a:close/>
                  <a:moveTo>
                    <a:pt x="18" y="121"/>
                  </a:moveTo>
                  <a:lnTo>
                    <a:pt x="11" y="82"/>
                  </a:lnTo>
                  <a:lnTo>
                    <a:pt x="33" y="76"/>
                  </a:lnTo>
                  <a:lnTo>
                    <a:pt x="40" y="117"/>
                  </a:lnTo>
                  <a:lnTo>
                    <a:pt x="18" y="121"/>
                  </a:lnTo>
                  <a:close/>
                  <a:moveTo>
                    <a:pt x="3" y="41"/>
                  </a:moveTo>
                  <a:lnTo>
                    <a:pt x="0" y="19"/>
                  </a:lnTo>
                  <a:lnTo>
                    <a:pt x="44" y="15"/>
                  </a:lnTo>
                  <a:lnTo>
                    <a:pt x="44" y="39"/>
                  </a:lnTo>
                  <a:lnTo>
                    <a:pt x="14" y="41"/>
                  </a:lnTo>
                  <a:lnTo>
                    <a:pt x="14" y="39"/>
                  </a:lnTo>
                  <a:lnTo>
                    <a:pt x="3" y="41"/>
                  </a:lnTo>
                  <a:close/>
                  <a:moveTo>
                    <a:pt x="85" y="36"/>
                  </a:moveTo>
                  <a:lnTo>
                    <a:pt x="85" y="13"/>
                  </a:lnTo>
                  <a:lnTo>
                    <a:pt x="124" y="10"/>
                  </a:lnTo>
                  <a:lnTo>
                    <a:pt x="126" y="34"/>
                  </a:lnTo>
                  <a:lnTo>
                    <a:pt x="85" y="36"/>
                  </a:lnTo>
                  <a:close/>
                  <a:moveTo>
                    <a:pt x="166" y="32"/>
                  </a:moveTo>
                  <a:lnTo>
                    <a:pt x="165" y="8"/>
                  </a:lnTo>
                  <a:lnTo>
                    <a:pt x="205" y="6"/>
                  </a:lnTo>
                  <a:lnTo>
                    <a:pt x="207" y="28"/>
                  </a:lnTo>
                  <a:lnTo>
                    <a:pt x="166" y="32"/>
                  </a:lnTo>
                  <a:close/>
                  <a:moveTo>
                    <a:pt x="248" y="26"/>
                  </a:moveTo>
                  <a:lnTo>
                    <a:pt x="246" y="2"/>
                  </a:lnTo>
                  <a:lnTo>
                    <a:pt x="287" y="0"/>
                  </a:lnTo>
                  <a:lnTo>
                    <a:pt x="289" y="23"/>
                  </a:lnTo>
                  <a:lnTo>
                    <a:pt x="248"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18" name="Freeform 169">
              <a:extLst>
                <a:ext uri="{FF2B5EF4-FFF2-40B4-BE49-F238E27FC236}">
                  <a16:creationId xmlns:a16="http://schemas.microsoft.com/office/drawing/2014/main" id="{D70539D6-EBF7-463C-A7D4-C6BD140CBB89}"/>
                </a:ext>
              </a:extLst>
            </p:cNvPr>
            <p:cNvSpPr>
              <a:spLocks/>
            </p:cNvSpPr>
            <p:nvPr/>
          </p:nvSpPr>
          <p:spPr bwMode="auto">
            <a:xfrm>
              <a:off x="10347326" y="1298576"/>
              <a:ext cx="663575" cy="452438"/>
            </a:xfrm>
            <a:custGeom>
              <a:avLst/>
              <a:gdLst>
                <a:gd name="T0" fmla="*/ 109 w 418"/>
                <a:gd name="T1" fmla="*/ 233 h 285"/>
                <a:gd name="T2" fmla="*/ 55 w 418"/>
                <a:gd name="T3" fmla="*/ 285 h 285"/>
                <a:gd name="T4" fmla="*/ 55 w 418"/>
                <a:gd name="T5" fmla="*/ 233 h 285"/>
                <a:gd name="T6" fmla="*/ 0 w 418"/>
                <a:gd name="T7" fmla="*/ 233 h 285"/>
                <a:gd name="T8" fmla="*/ 0 w 418"/>
                <a:gd name="T9" fmla="*/ 0 h 285"/>
                <a:gd name="T10" fmla="*/ 418 w 418"/>
                <a:gd name="T11" fmla="*/ 0 h 285"/>
                <a:gd name="T12" fmla="*/ 418 w 418"/>
                <a:gd name="T13" fmla="*/ 233 h 285"/>
                <a:gd name="T14" fmla="*/ 109 w 418"/>
                <a:gd name="T15" fmla="*/ 233 h 2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8" h="285">
                  <a:moveTo>
                    <a:pt x="109" y="233"/>
                  </a:moveTo>
                  <a:lnTo>
                    <a:pt x="55" y="285"/>
                  </a:lnTo>
                  <a:lnTo>
                    <a:pt x="55" y="233"/>
                  </a:lnTo>
                  <a:lnTo>
                    <a:pt x="0" y="233"/>
                  </a:lnTo>
                  <a:lnTo>
                    <a:pt x="0" y="0"/>
                  </a:lnTo>
                  <a:lnTo>
                    <a:pt x="418" y="0"/>
                  </a:lnTo>
                  <a:lnTo>
                    <a:pt x="418" y="233"/>
                  </a:lnTo>
                  <a:lnTo>
                    <a:pt x="109" y="233"/>
                  </a:lnTo>
                  <a:close/>
                </a:path>
              </a:pathLst>
            </a:cu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19" name="Line 171">
              <a:extLst>
                <a:ext uri="{FF2B5EF4-FFF2-40B4-BE49-F238E27FC236}">
                  <a16:creationId xmlns:a16="http://schemas.microsoft.com/office/drawing/2014/main" id="{8FDB618A-4EB3-4785-80FC-10973E0E7B4D}"/>
                </a:ext>
              </a:extLst>
            </p:cNvPr>
            <p:cNvSpPr>
              <a:spLocks noChangeShapeType="1"/>
            </p:cNvSpPr>
            <p:nvPr/>
          </p:nvSpPr>
          <p:spPr bwMode="auto">
            <a:xfrm flipH="1">
              <a:off x="10993438" y="1833563"/>
              <a:ext cx="327025" cy="0"/>
            </a:xfrm>
            <a:prstGeom prst="line">
              <a:avLst/>
            </a:prstGeom>
            <a:noFill/>
            <a:ln w="412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20" name="Line 172">
              <a:extLst>
                <a:ext uri="{FF2B5EF4-FFF2-40B4-BE49-F238E27FC236}">
                  <a16:creationId xmlns:a16="http://schemas.microsoft.com/office/drawing/2014/main" id="{845E8D70-DD8C-4ACB-8CA4-13D81C8A3D84}"/>
                </a:ext>
              </a:extLst>
            </p:cNvPr>
            <p:cNvSpPr>
              <a:spLocks noChangeShapeType="1"/>
            </p:cNvSpPr>
            <p:nvPr/>
          </p:nvSpPr>
          <p:spPr bwMode="auto">
            <a:xfrm flipH="1">
              <a:off x="10906126" y="1582738"/>
              <a:ext cx="23813" cy="0"/>
            </a:xfrm>
            <a:prstGeom prst="line">
              <a:avLst/>
            </a:prstGeom>
            <a:noFill/>
            <a:ln w="317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21" name="Line 173">
              <a:extLst>
                <a:ext uri="{FF2B5EF4-FFF2-40B4-BE49-F238E27FC236}">
                  <a16:creationId xmlns:a16="http://schemas.microsoft.com/office/drawing/2014/main" id="{A5AF625A-6527-4EF7-857B-963F7D15CCD3}"/>
                </a:ext>
              </a:extLst>
            </p:cNvPr>
            <p:cNvSpPr>
              <a:spLocks noChangeShapeType="1"/>
            </p:cNvSpPr>
            <p:nvPr/>
          </p:nvSpPr>
          <p:spPr bwMode="auto">
            <a:xfrm flipH="1">
              <a:off x="10858501" y="1582738"/>
              <a:ext cx="23813" cy="0"/>
            </a:xfrm>
            <a:prstGeom prst="line">
              <a:avLst/>
            </a:prstGeom>
            <a:noFill/>
            <a:ln w="317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22" name="Line 174">
              <a:extLst>
                <a:ext uri="{FF2B5EF4-FFF2-40B4-BE49-F238E27FC236}">
                  <a16:creationId xmlns:a16="http://schemas.microsoft.com/office/drawing/2014/main" id="{73617453-A2C0-40CC-9B6E-F7A7FD6B49C1}"/>
                </a:ext>
              </a:extLst>
            </p:cNvPr>
            <p:cNvSpPr>
              <a:spLocks noChangeShapeType="1"/>
            </p:cNvSpPr>
            <p:nvPr/>
          </p:nvSpPr>
          <p:spPr bwMode="auto">
            <a:xfrm flipH="1">
              <a:off x="10810876" y="1582738"/>
              <a:ext cx="23813" cy="0"/>
            </a:xfrm>
            <a:prstGeom prst="line">
              <a:avLst/>
            </a:prstGeom>
            <a:noFill/>
            <a:ln w="317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23" name="Line 175">
              <a:extLst>
                <a:ext uri="{FF2B5EF4-FFF2-40B4-BE49-F238E27FC236}">
                  <a16:creationId xmlns:a16="http://schemas.microsoft.com/office/drawing/2014/main" id="{6431D133-6740-440E-A68E-A5EE065E2850}"/>
                </a:ext>
              </a:extLst>
            </p:cNvPr>
            <p:cNvSpPr>
              <a:spLocks noChangeShapeType="1"/>
            </p:cNvSpPr>
            <p:nvPr/>
          </p:nvSpPr>
          <p:spPr bwMode="auto">
            <a:xfrm flipH="1">
              <a:off x="10764838" y="1582738"/>
              <a:ext cx="23813" cy="0"/>
            </a:xfrm>
            <a:prstGeom prst="line">
              <a:avLst/>
            </a:prstGeom>
            <a:noFill/>
            <a:ln w="317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24" name="Line 176">
              <a:extLst>
                <a:ext uri="{FF2B5EF4-FFF2-40B4-BE49-F238E27FC236}">
                  <a16:creationId xmlns:a16="http://schemas.microsoft.com/office/drawing/2014/main" id="{5DEE900A-D36A-49C2-B219-4909A672829A}"/>
                </a:ext>
              </a:extLst>
            </p:cNvPr>
            <p:cNvSpPr>
              <a:spLocks noChangeShapeType="1"/>
            </p:cNvSpPr>
            <p:nvPr/>
          </p:nvSpPr>
          <p:spPr bwMode="auto">
            <a:xfrm flipH="1">
              <a:off x="10717213" y="1582738"/>
              <a:ext cx="23813" cy="0"/>
            </a:xfrm>
            <a:prstGeom prst="line">
              <a:avLst/>
            </a:prstGeom>
            <a:noFill/>
            <a:ln w="317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25" name="Line 177">
              <a:extLst>
                <a:ext uri="{FF2B5EF4-FFF2-40B4-BE49-F238E27FC236}">
                  <a16:creationId xmlns:a16="http://schemas.microsoft.com/office/drawing/2014/main" id="{A997E322-820A-4FF4-9EAF-92ABF078C9E1}"/>
                </a:ext>
              </a:extLst>
            </p:cNvPr>
            <p:cNvSpPr>
              <a:spLocks noChangeShapeType="1"/>
            </p:cNvSpPr>
            <p:nvPr/>
          </p:nvSpPr>
          <p:spPr bwMode="auto">
            <a:xfrm flipH="1">
              <a:off x="10993438" y="1892301"/>
              <a:ext cx="327025" cy="0"/>
            </a:xfrm>
            <a:prstGeom prst="line">
              <a:avLst/>
            </a:prstGeom>
            <a:noFill/>
            <a:ln w="412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sl-SI" dirty="0"/>
            </a:p>
          </p:txBody>
        </p:sp>
        <p:sp>
          <p:nvSpPr>
            <p:cNvPr id="127" name="Freeform 179">
              <a:extLst>
                <a:ext uri="{FF2B5EF4-FFF2-40B4-BE49-F238E27FC236}">
                  <a16:creationId xmlns:a16="http://schemas.microsoft.com/office/drawing/2014/main" id="{1CDD4D5F-8B9B-4105-BACE-34238E5E3230}"/>
                </a:ext>
              </a:extLst>
            </p:cNvPr>
            <p:cNvSpPr>
              <a:spLocks/>
            </p:cNvSpPr>
            <p:nvPr/>
          </p:nvSpPr>
          <p:spPr bwMode="auto">
            <a:xfrm>
              <a:off x="10240963" y="1171576"/>
              <a:ext cx="111125" cy="111125"/>
            </a:xfrm>
            <a:custGeom>
              <a:avLst/>
              <a:gdLst>
                <a:gd name="T0" fmla="*/ 18 w 70"/>
                <a:gd name="T1" fmla="*/ 0 h 70"/>
                <a:gd name="T2" fmla="*/ 39 w 70"/>
                <a:gd name="T3" fmla="*/ 15 h 70"/>
                <a:gd name="T4" fmla="*/ 61 w 70"/>
                <a:gd name="T5" fmla="*/ 6 h 70"/>
                <a:gd name="T6" fmla="*/ 54 w 70"/>
                <a:gd name="T7" fmla="*/ 30 h 70"/>
                <a:gd name="T8" fmla="*/ 70 w 70"/>
                <a:gd name="T9" fmla="*/ 48 h 70"/>
                <a:gd name="T10" fmla="*/ 46 w 70"/>
                <a:gd name="T11" fmla="*/ 48 h 70"/>
                <a:gd name="T12" fmla="*/ 33 w 70"/>
                <a:gd name="T13" fmla="*/ 70 h 70"/>
                <a:gd name="T14" fmla="*/ 24 w 70"/>
                <a:gd name="T15" fmla="*/ 46 h 70"/>
                <a:gd name="T16" fmla="*/ 0 w 70"/>
                <a:gd name="T17" fmla="*/ 41 h 70"/>
                <a:gd name="T18" fmla="*/ 20 w 70"/>
                <a:gd name="T19" fmla="*/ 26 h 70"/>
                <a:gd name="T20" fmla="*/ 18 w 70"/>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70">
                  <a:moveTo>
                    <a:pt x="18" y="0"/>
                  </a:moveTo>
                  <a:lnTo>
                    <a:pt x="39" y="15"/>
                  </a:lnTo>
                  <a:lnTo>
                    <a:pt x="61" y="6"/>
                  </a:lnTo>
                  <a:lnTo>
                    <a:pt x="54" y="30"/>
                  </a:lnTo>
                  <a:lnTo>
                    <a:pt x="70" y="48"/>
                  </a:lnTo>
                  <a:lnTo>
                    <a:pt x="46" y="48"/>
                  </a:lnTo>
                  <a:lnTo>
                    <a:pt x="33" y="70"/>
                  </a:lnTo>
                  <a:lnTo>
                    <a:pt x="24" y="46"/>
                  </a:lnTo>
                  <a:lnTo>
                    <a:pt x="0" y="41"/>
                  </a:lnTo>
                  <a:lnTo>
                    <a:pt x="20" y="26"/>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28" name="Freeform 180">
              <a:extLst>
                <a:ext uri="{FF2B5EF4-FFF2-40B4-BE49-F238E27FC236}">
                  <a16:creationId xmlns:a16="http://schemas.microsoft.com/office/drawing/2014/main" id="{AA4FD63E-2793-47AF-B6DE-C18E9111E7EB}"/>
                </a:ext>
              </a:extLst>
            </p:cNvPr>
            <p:cNvSpPr>
              <a:spLocks/>
            </p:cNvSpPr>
            <p:nvPr/>
          </p:nvSpPr>
          <p:spPr bwMode="auto">
            <a:xfrm>
              <a:off x="9952038" y="5472113"/>
              <a:ext cx="112713" cy="107950"/>
            </a:xfrm>
            <a:custGeom>
              <a:avLst/>
              <a:gdLst>
                <a:gd name="T0" fmla="*/ 19 w 71"/>
                <a:gd name="T1" fmla="*/ 0 h 68"/>
                <a:gd name="T2" fmla="*/ 39 w 71"/>
                <a:gd name="T3" fmla="*/ 13 h 68"/>
                <a:gd name="T4" fmla="*/ 62 w 71"/>
                <a:gd name="T5" fmla="*/ 3 h 68"/>
                <a:gd name="T6" fmla="*/ 56 w 71"/>
                <a:gd name="T7" fmla="*/ 27 h 68"/>
                <a:gd name="T8" fmla="*/ 71 w 71"/>
                <a:gd name="T9" fmla="*/ 46 h 68"/>
                <a:gd name="T10" fmla="*/ 47 w 71"/>
                <a:gd name="T11" fmla="*/ 48 h 68"/>
                <a:gd name="T12" fmla="*/ 34 w 71"/>
                <a:gd name="T13" fmla="*/ 68 h 68"/>
                <a:gd name="T14" fmla="*/ 24 w 71"/>
                <a:gd name="T15" fmla="*/ 46 h 68"/>
                <a:gd name="T16" fmla="*/ 0 w 71"/>
                <a:gd name="T17" fmla="*/ 39 h 68"/>
                <a:gd name="T18" fmla="*/ 21 w 71"/>
                <a:gd name="T19" fmla="*/ 24 h 68"/>
                <a:gd name="T20" fmla="*/ 19 w 71"/>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68">
                  <a:moveTo>
                    <a:pt x="19" y="0"/>
                  </a:moveTo>
                  <a:lnTo>
                    <a:pt x="39" y="13"/>
                  </a:lnTo>
                  <a:lnTo>
                    <a:pt x="62" y="3"/>
                  </a:lnTo>
                  <a:lnTo>
                    <a:pt x="56" y="27"/>
                  </a:lnTo>
                  <a:lnTo>
                    <a:pt x="71" y="46"/>
                  </a:lnTo>
                  <a:lnTo>
                    <a:pt x="47" y="48"/>
                  </a:lnTo>
                  <a:lnTo>
                    <a:pt x="34" y="68"/>
                  </a:lnTo>
                  <a:lnTo>
                    <a:pt x="24" y="46"/>
                  </a:lnTo>
                  <a:lnTo>
                    <a:pt x="0" y="39"/>
                  </a:lnTo>
                  <a:lnTo>
                    <a:pt x="21" y="24"/>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29" name="Freeform 181">
              <a:extLst>
                <a:ext uri="{FF2B5EF4-FFF2-40B4-BE49-F238E27FC236}">
                  <a16:creationId xmlns:a16="http://schemas.microsoft.com/office/drawing/2014/main" id="{C4049046-C8E9-4820-97FE-FDB3718F0A72}"/>
                </a:ext>
              </a:extLst>
            </p:cNvPr>
            <p:cNvSpPr>
              <a:spLocks/>
            </p:cNvSpPr>
            <p:nvPr/>
          </p:nvSpPr>
          <p:spPr bwMode="auto">
            <a:xfrm>
              <a:off x="9823451" y="5603876"/>
              <a:ext cx="276225" cy="273050"/>
            </a:xfrm>
            <a:custGeom>
              <a:avLst/>
              <a:gdLst>
                <a:gd name="T0" fmla="*/ 44 w 174"/>
                <a:gd name="T1" fmla="*/ 0 h 172"/>
                <a:gd name="T2" fmla="*/ 94 w 174"/>
                <a:gd name="T3" fmla="*/ 35 h 172"/>
                <a:gd name="T4" fmla="*/ 152 w 174"/>
                <a:gd name="T5" fmla="*/ 13 h 172"/>
                <a:gd name="T6" fmla="*/ 135 w 174"/>
                <a:gd name="T7" fmla="*/ 72 h 172"/>
                <a:gd name="T8" fmla="*/ 174 w 174"/>
                <a:gd name="T9" fmla="*/ 119 h 172"/>
                <a:gd name="T10" fmla="*/ 113 w 174"/>
                <a:gd name="T11" fmla="*/ 120 h 172"/>
                <a:gd name="T12" fmla="*/ 80 w 174"/>
                <a:gd name="T13" fmla="*/ 172 h 172"/>
                <a:gd name="T14" fmla="*/ 59 w 174"/>
                <a:gd name="T15" fmla="*/ 115 h 172"/>
                <a:gd name="T16" fmla="*/ 0 w 174"/>
                <a:gd name="T17" fmla="*/ 100 h 172"/>
                <a:gd name="T18" fmla="*/ 48 w 174"/>
                <a:gd name="T19" fmla="*/ 63 h 172"/>
                <a:gd name="T20" fmla="*/ 44 w 174"/>
                <a:gd name="T2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172">
                  <a:moveTo>
                    <a:pt x="44" y="0"/>
                  </a:moveTo>
                  <a:lnTo>
                    <a:pt x="94" y="35"/>
                  </a:lnTo>
                  <a:lnTo>
                    <a:pt x="152" y="13"/>
                  </a:lnTo>
                  <a:lnTo>
                    <a:pt x="135" y="72"/>
                  </a:lnTo>
                  <a:lnTo>
                    <a:pt x="174" y="119"/>
                  </a:lnTo>
                  <a:lnTo>
                    <a:pt x="113" y="120"/>
                  </a:lnTo>
                  <a:lnTo>
                    <a:pt x="80" y="172"/>
                  </a:lnTo>
                  <a:lnTo>
                    <a:pt x="59" y="115"/>
                  </a:lnTo>
                  <a:lnTo>
                    <a:pt x="0" y="100"/>
                  </a:lnTo>
                  <a:lnTo>
                    <a:pt x="48" y="6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0" name="Freeform 182">
              <a:extLst>
                <a:ext uri="{FF2B5EF4-FFF2-40B4-BE49-F238E27FC236}">
                  <a16:creationId xmlns:a16="http://schemas.microsoft.com/office/drawing/2014/main" id="{474B5911-401B-45FF-8DE6-E3F4680655D9}"/>
                </a:ext>
              </a:extLst>
            </p:cNvPr>
            <p:cNvSpPr>
              <a:spLocks/>
            </p:cNvSpPr>
            <p:nvPr/>
          </p:nvSpPr>
          <p:spPr bwMode="auto">
            <a:xfrm>
              <a:off x="6270626" y="2524126"/>
              <a:ext cx="941388" cy="438150"/>
            </a:xfrm>
            <a:custGeom>
              <a:avLst/>
              <a:gdLst>
                <a:gd name="T0" fmla="*/ 587 w 593"/>
                <a:gd name="T1" fmla="*/ 245 h 276"/>
                <a:gd name="T2" fmla="*/ 570 w 593"/>
                <a:gd name="T3" fmla="*/ 267 h 276"/>
                <a:gd name="T4" fmla="*/ 546 w 593"/>
                <a:gd name="T5" fmla="*/ 256 h 276"/>
                <a:gd name="T6" fmla="*/ 563 w 593"/>
                <a:gd name="T7" fmla="*/ 247 h 276"/>
                <a:gd name="T8" fmla="*/ 572 w 593"/>
                <a:gd name="T9" fmla="*/ 224 h 276"/>
                <a:gd name="T10" fmla="*/ 567 w 593"/>
                <a:gd name="T11" fmla="*/ 206 h 276"/>
                <a:gd name="T12" fmla="*/ 546 w 593"/>
                <a:gd name="T13" fmla="*/ 193 h 276"/>
                <a:gd name="T14" fmla="*/ 531 w 593"/>
                <a:gd name="T15" fmla="*/ 193 h 276"/>
                <a:gd name="T16" fmla="*/ 518 w 593"/>
                <a:gd name="T17" fmla="*/ 187 h 276"/>
                <a:gd name="T18" fmla="*/ 511 w 593"/>
                <a:gd name="T19" fmla="*/ 160 h 276"/>
                <a:gd name="T20" fmla="*/ 476 w 593"/>
                <a:gd name="T21" fmla="*/ 124 h 276"/>
                <a:gd name="T22" fmla="*/ 433 w 593"/>
                <a:gd name="T23" fmla="*/ 123 h 276"/>
                <a:gd name="T24" fmla="*/ 394 w 593"/>
                <a:gd name="T25" fmla="*/ 150 h 276"/>
                <a:gd name="T26" fmla="*/ 383 w 593"/>
                <a:gd name="T27" fmla="*/ 154 h 276"/>
                <a:gd name="T28" fmla="*/ 352 w 593"/>
                <a:gd name="T29" fmla="*/ 137 h 276"/>
                <a:gd name="T30" fmla="*/ 315 w 593"/>
                <a:gd name="T31" fmla="*/ 137 h 276"/>
                <a:gd name="T32" fmla="*/ 307 w 593"/>
                <a:gd name="T33" fmla="*/ 128 h 276"/>
                <a:gd name="T34" fmla="*/ 283 w 593"/>
                <a:gd name="T35" fmla="*/ 69 h 276"/>
                <a:gd name="T36" fmla="*/ 211 w 593"/>
                <a:gd name="T37" fmla="*/ 23 h 276"/>
                <a:gd name="T38" fmla="*/ 166 w 593"/>
                <a:gd name="T39" fmla="*/ 23 h 276"/>
                <a:gd name="T40" fmla="*/ 107 w 593"/>
                <a:gd name="T41" fmla="*/ 56 h 276"/>
                <a:gd name="T42" fmla="*/ 74 w 593"/>
                <a:gd name="T43" fmla="*/ 115 h 276"/>
                <a:gd name="T44" fmla="*/ 72 w 593"/>
                <a:gd name="T45" fmla="*/ 147 h 276"/>
                <a:gd name="T46" fmla="*/ 66 w 593"/>
                <a:gd name="T47" fmla="*/ 156 h 276"/>
                <a:gd name="T48" fmla="*/ 46 w 593"/>
                <a:gd name="T49" fmla="*/ 161 h 276"/>
                <a:gd name="T50" fmla="*/ 22 w 593"/>
                <a:gd name="T51" fmla="*/ 187 h 276"/>
                <a:gd name="T52" fmla="*/ 20 w 593"/>
                <a:gd name="T53" fmla="*/ 215 h 276"/>
                <a:gd name="T54" fmla="*/ 39 w 593"/>
                <a:gd name="T55" fmla="*/ 245 h 276"/>
                <a:gd name="T56" fmla="*/ 63 w 593"/>
                <a:gd name="T57" fmla="*/ 276 h 276"/>
                <a:gd name="T58" fmla="*/ 27 w 593"/>
                <a:gd name="T59" fmla="*/ 262 h 276"/>
                <a:gd name="T60" fmla="*/ 1 w 593"/>
                <a:gd name="T61" fmla="*/ 219 h 276"/>
                <a:gd name="T62" fmla="*/ 3 w 593"/>
                <a:gd name="T63" fmla="*/ 184 h 276"/>
                <a:gd name="T64" fmla="*/ 27 w 593"/>
                <a:gd name="T65" fmla="*/ 150 h 276"/>
                <a:gd name="T66" fmla="*/ 51 w 593"/>
                <a:gd name="T67" fmla="*/ 134 h 276"/>
                <a:gd name="T68" fmla="*/ 59 w 593"/>
                <a:gd name="T69" fmla="*/ 93 h 276"/>
                <a:gd name="T70" fmla="*/ 85 w 593"/>
                <a:gd name="T71" fmla="*/ 48 h 276"/>
                <a:gd name="T72" fmla="*/ 126 w 593"/>
                <a:gd name="T73" fmla="*/ 17 h 276"/>
                <a:gd name="T74" fmla="*/ 176 w 593"/>
                <a:gd name="T75" fmla="*/ 2 h 276"/>
                <a:gd name="T76" fmla="*/ 237 w 593"/>
                <a:gd name="T77" fmla="*/ 10 h 276"/>
                <a:gd name="T78" fmla="*/ 307 w 593"/>
                <a:gd name="T79" fmla="*/ 67 h 276"/>
                <a:gd name="T80" fmla="*/ 331 w 593"/>
                <a:gd name="T81" fmla="*/ 115 h 276"/>
                <a:gd name="T82" fmla="*/ 368 w 593"/>
                <a:gd name="T83" fmla="*/ 121 h 276"/>
                <a:gd name="T84" fmla="*/ 387 w 593"/>
                <a:gd name="T85" fmla="*/ 126 h 276"/>
                <a:gd name="T86" fmla="*/ 450 w 593"/>
                <a:gd name="T87" fmla="*/ 100 h 276"/>
                <a:gd name="T88" fmla="*/ 492 w 593"/>
                <a:gd name="T89" fmla="*/ 111 h 276"/>
                <a:gd name="T90" fmla="*/ 531 w 593"/>
                <a:gd name="T91" fmla="*/ 152 h 276"/>
                <a:gd name="T92" fmla="*/ 541 w 593"/>
                <a:gd name="T93" fmla="*/ 173 h 276"/>
                <a:gd name="T94" fmla="*/ 578 w 593"/>
                <a:gd name="T95" fmla="*/ 187 h 276"/>
                <a:gd name="T96" fmla="*/ 593 w 593"/>
                <a:gd name="T97" fmla="*/ 22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3" h="276">
                  <a:moveTo>
                    <a:pt x="593" y="224"/>
                  </a:moveTo>
                  <a:lnTo>
                    <a:pt x="593" y="224"/>
                  </a:lnTo>
                  <a:lnTo>
                    <a:pt x="591" y="234"/>
                  </a:lnTo>
                  <a:lnTo>
                    <a:pt x="587" y="245"/>
                  </a:lnTo>
                  <a:lnTo>
                    <a:pt x="583" y="252"/>
                  </a:lnTo>
                  <a:lnTo>
                    <a:pt x="576" y="262"/>
                  </a:lnTo>
                  <a:lnTo>
                    <a:pt x="576" y="262"/>
                  </a:lnTo>
                  <a:lnTo>
                    <a:pt x="570" y="267"/>
                  </a:lnTo>
                  <a:lnTo>
                    <a:pt x="563" y="271"/>
                  </a:lnTo>
                  <a:lnTo>
                    <a:pt x="554" y="274"/>
                  </a:lnTo>
                  <a:lnTo>
                    <a:pt x="546" y="276"/>
                  </a:lnTo>
                  <a:lnTo>
                    <a:pt x="546" y="256"/>
                  </a:lnTo>
                  <a:lnTo>
                    <a:pt x="546" y="256"/>
                  </a:lnTo>
                  <a:lnTo>
                    <a:pt x="555" y="252"/>
                  </a:lnTo>
                  <a:lnTo>
                    <a:pt x="563" y="247"/>
                  </a:lnTo>
                  <a:lnTo>
                    <a:pt x="563" y="247"/>
                  </a:lnTo>
                  <a:lnTo>
                    <a:pt x="567" y="241"/>
                  </a:lnTo>
                  <a:lnTo>
                    <a:pt x="568" y="236"/>
                  </a:lnTo>
                  <a:lnTo>
                    <a:pt x="570" y="230"/>
                  </a:lnTo>
                  <a:lnTo>
                    <a:pt x="572" y="224"/>
                  </a:lnTo>
                  <a:lnTo>
                    <a:pt x="572" y="224"/>
                  </a:lnTo>
                  <a:lnTo>
                    <a:pt x="570" y="217"/>
                  </a:lnTo>
                  <a:lnTo>
                    <a:pt x="568" y="212"/>
                  </a:lnTo>
                  <a:lnTo>
                    <a:pt x="567" y="206"/>
                  </a:lnTo>
                  <a:lnTo>
                    <a:pt x="563" y="200"/>
                  </a:lnTo>
                  <a:lnTo>
                    <a:pt x="557" y="197"/>
                  </a:lnTo>
                  <a:lnTo>
                    <a:pt x="552" y="195"/>
                  </a:lnTo>
                  <a:lnTo>
                    <a:pt x="546" y="193"/>
                  </a:lnTo>
                  <a:lnTo>
                    <a:pt x="539" y="191"/>
                  </a:lnTo>
                  <a:lnTo>
                    <a:pt x="539" y="191"/>
                  </a:lnTo>
                  <a:lnTo>
                    <a:pt x="531" y="193"/>
                  </a:lnTo>
                  <a:lnTo>
                    <a:pt x="531" y="193"/>
                  </a:lnTo>
                  <a:lnTo>
                    <a:pt x="526" y="193"/>
                  </a:lnTo>
                  <a:lnTo>
                    <a:pt x="522" y="191"/>
                  </a:lnTo>
                  <a:lnTo>
                    <a:pt x="522" y="191"/>
                  </a:lnTo>
                  <a:lnTo>
                    <a:pt x="518" y="187"/>
                  </a:lnTo>
                  <a:lnTo>
                    <a:pt x="518" y="184"/>
                  </a:lnTo>
                  <a:lnTo>
                    <a:pt x="518" y="184"/>
                  </a:lnTo>
                  <a:lnTo>
                    <a:pt x="517" y="171"/>
                  </a:lnTo>
                  <a:lnTo>
                    <a:pt x="511" y="160"/>
                  </a:lnTo>
                  <a:lnTo>
                    <a:pt x="505" y="149"/>
                  </a:lnTo>
                  <a:lnTo>
                    <a:pt x="496" y="139"/>
                  </a:lnTo>
                  <a:lnTo>
                    <a:pt x="487" y="132"/>
                  </a:lnTo>
                  <a:lnTo>
                    <a:pt x="476" y="124"/>
                  </a:lnTo>
                  <a:lnTo>
                    <a:pt x="463" y="123"/>
                  </a:lnTo>
                  <a:lnTo>
                    <a:pt x="450" y="121"/>
                  </a:lnTo>
                  <a:lnTo>
                    <a:pt x="450" y="121"/>
                  </a:lnTo>
                  <a:lnTo>
                    <a:pt x="433" y="123"/>
                  </a:lnTo>
                  <a:lnTo>
                    <a:pt x="418" y="128"/>
                  </a:lnTo>
                  <a:lnTo>
                    <a:pt x="405" y="137"/>
                  </a:lnTo>
                  <a:lnTo>
                    <a:pt x="394" y="150"/>
                  </a:lnTo>
                  <a:lnTo>
                    <a:pt x="394" y="150"/>
                  </a:lnTo>
                  <a:lnTo>
                    <a:pt x="391" y="152"/>
                  </a:lnTo>
                  <a:lnTo>
                    <a:pt x="387" y="154"/>
                  </a:lnTo>
                  <a:lnTo>
                    <a:pt x="387" y="154"/>
                  </a:lnTo>
                  <a:lnTo>
                    <a:pt x="383" y="154"/>
                  </a:lnTo>
                  <a:lnTo>
                    <a:pt x="379" y="152"/>
                  </a:lnTo>
                  <a:lnTo>
                    <a:pt x="379" y="152"/>
                  </a:lnTo>
                  <a:lnTo>
                    <a:pt x="366" y="143"/>
                  </a:lnTo>
                  <a:lnTo>
                    <a:pt x="352" y="137"/>
                  </a:lnTo>
                  <a:lnTo>
                    <a:pt x="335" y="136"/>
                  </a:lnTo>
                  <a:lnTo>
                    <a:pt x="320" y="137"/>
                  </a:lnTo>
                  <a:lnTo>
                    <a:pt x="320" y="137"/>
                  </a:lnTo>
                  <a:lnTo>
                    <a:pt x="315" y="137"/>
                  </a:lnTo>
                  <a:lnTo>
                    <a:pt x="311" y="136"/>
                  </a:lnTo>
                  <a:lnTo>
                    <a:pt x="311" y="136"/>
                  </a:lnTo>
                  <a:lnTo>
                    <a:pt x="307" y="134"/>
                  </a:lnTo>
                  <a:lnTo>
                    <a:pt x="307" y="128"/>
                  </a:lnTo>
                  <a:lnTo>
                    <a:pt x="307" y="128"/>
                  </a:lnTo>
                  <a:lnTo>
                    <a:pt x="303" y="108"/>
                  </a:lnTo>
                  <a:lnTo>
                    <a:pt x="294" y="87"/>
                  </a:lnTo>
                  <a:lnTo>
                    <a:pt x="283" y="69"/>
                  </a:lnTo>
                  <a:lnTo>
                    <a:pt x="268" y="52"/>
                  </a:lnTo>
                  <a:lnTo>
                    <a:pt x="252" y="39"/>
                  </a:lnTo>
                  <a:lnTo>
                    <a:pt x="233" y="30"/>
                  </a:lnTo>
                  <a:lnTo>
                    <a:pt x="211" y="23"/>
                  </a:lnTo>
                  <a:lnTo>
                    <a:pt x="189" y="21"/>
                  </a:lnTo>
                  <a:lnTo>
                    <a:pt x="189" y="21"/>
                  </a:lnTo>
                  <a:lnTo>
                    <a:pt x="177" y="21"/>
                  </a:lnTo>
                  <a:lnTo>
                    <a:pt x="166" y="23"/>
                  </a:lnTo>
                  <a:lnTo>
                    <a:pt x="155" y="26"/>
                  </a:lnTo>
                  <a:lnTo>
                    <a:pt x="144" y="30"/>
                  </a:lnTo>
                  <a:lnTo>
                    <a:pt x="124" y="41"/>
                  </a:lnTo>
                  <a:lnTo>
                    <a:pt x="107" y="56"/>
                  </a:lnTo>
                  <a:lnTo>
                    <a:pt x="92" y="73"/>
                  </a:lnTo>
                  <a:lnTo>
                    <a:pt x="81" y="93"/>
                  </a:lnTo>
                  <a:lnTo>
                    <a:pt x="77" y="104"/>
                  </a:lnTo>
                  <a:lnTo>
                    <a:pt x="74" y="115"/>
                  </a:lnTo>
                  <a:lnTo>
                    <a:pt x="72" y="126"/>
                  </a:lnTo>
                  <a:lnTo>
                    <a:pt x="72" y="139"/>
                  </a:lnTo>
                  <a:lnTo>
                    <a:pt x="72" y="139"/>
                  </a:lnTo>
                  <a:lnTo>
                    <a:pt x="72" y="147"/>
                  </a:lnTo>
                  <a:lnTo>
                    <a:pt x="72" y="147"/>
                  </a:lnTo>
                  <a:lnTo>
                    <a:pt x="72" y="150"/>
                  </a:lnTo>
                  <a:lnTo>
                    <a:pt x="70" y="152"/>
                  </a:lnTo>
                  <a:lnTo>
                    <a:pt x="66" y="156"/>
                  </a:lnTo>
                  <a:lnTo>
                    <a:pt x="63" y="156"/>
                  </a:lnTo>
                  <a:lnTo>
                    <a:pt x="63" y="156"/>
                  </a:lnTo>
                  <a:lnTo>
                    <a:pt x="53" y="158"/>
                  </a:lnTo>
                  <a:lnTo>
                    <a:pt x="46" y="161"/>
                  </a:lnTo>
                  <a:lnTo>
                    <a:pt x="39" y="167"/>
                  </a:lnTo>
                  <a:lnTo>
                    <a:pt x="31" y="173"/>
                  </a:lnTo>
                  <a:lnTo>
                    <a:pt x="27" y="180"/>
                  </a:lnTo>
                  <a:lnTo>
                    <a:pt x="22" y="187"/>
                  </a:lnTo>
                  <a:lnTo>
                    <a:pt x="20" y="197"/>
                  </a:lnTo>
                  <a:lnTo>
                    <a:pt x="20" y="206"/>
                  </a:lnTo>
                  <a:lnTo>
                    <a:pt x="20" y="206"/>
                  </a:lnTo>
                  <a:lnTo>
                    <a:pt x="20" y="215"/>
                  </a:lnTo>
                  <a:lnTo>
                    <a:pt x="22" y="224"/>
                  </a:lnTo>
                  <a:lnTo>
                    <a:pt x="27" y="232"/>
                  </a:lnTo>
                  <a:lnTo>
                    <a:pt x="31" y="239"/>
                  </a:lnTo>
                  <a:lnTo>
                    <a:pt x="39" y="245"/>
                  </a:lnTo>
                  <a:lnTo>
                    <a:pt x="46" y="250"/>
                  </a:lnTo>
                  <a:lnTo>
                    <a:pt x="53" y="254"/>
                  </a:lnTo>
                  <a:lnTo>
                    <a:pt x="63" y="256"/>
                  </a:lnTo>
                  <a:lnTo>
                    <a:pt x="63" y="276"/>
                  </a:lnTo>
                  <a:lnTo>
                    <a:pt x="63" y="276"/>
                  </a:lnTo>
                  <a:lnTo>
                    <a:pt x="50" y="273"/>
                  </a:lnTo>
                  <a:lnTo>
                    <a:pt x="39" y="269"/>
                  </a:lnTo>
                  <a:lnTo>
                    <a:pt x="27" y="262"/>
                  </a:lnTo>
                  <a:lnTo>
                    <a:pt x="18" y="254"/>
                  </a:lnTo>
                  <a:lnTo>
                    <a:pt x="11" y="243"/>
                  </a:lnTo>
                  <a:lnTo>
                    <a:pt x="3" y="232"/>
                  </a:lnTo>
                  <a:lnTo>
                    <a:pt x="1" y="219"/>
                  </a:lnTo>
                  <a:lnTo>
                    <a:pt x="0" y="206"/>
                  </a:lnTo>
                  <a:lnTo>
                    <a:pt x="0" y="206"/>
                  </a:lnTo>
                  <a:lnTo>
                    <a:pt x="0" y="195"/>
                  </a:lnTo>
                  <a:lnTo>
                    <a:pt x="3" y="184"/>
                  </a:lnTo>
                  <a:lnTo>
                    <a:pt x="7" y="174"/>
                  </a:lnTo>
                  <a:lnTo>
                    <a:pt x="13" y="165"/>
                  </a:lnTo>
                  <a:lnTo>
                    <a:pt x="20" y="156"/>
                  </a:lnTo>
                  <a:lnTo>
                    <a:pt x="27" y="150"/>
                  </a:lnTo>
                  <a:lnTo>
                    <a:pt x="37" y="143"/>
                  </a:lnTo>
                  <a:lnTo>
                    <a:pt x="48" y="139"/>
                  </a:lnTo>
                  <a:lnTo>
                    <a:pt x="51" y="137"/>
                  </a:lnTo>
                  <a:lnTo>
                    <a:pt x="51" y="134"/>
                  </a:lnTo>
                  <a:lnTo>
                    <a:pt x="51" y="134"/>
                  </a:lnTo>
                  <a:lnTo>
                    <a:pt x="53" y="121"/>
                  </a:lnTo>
                  <a:lnTo>
                    <a:pt x="55" y="106"/>
                  </a:lnTo>
                  <a:lnTo>
                    <a:pt x="59" y="93"/>
                  </a:lnTo>
                  <a:lnTo>
                    <a:pt x="64" y="82"/>
                  </a:lnTo>
                  <a:lnTo>
                    <a:pt x="70" y="71"/>
                  </a:lnTo>
                  <a:lnTo>
                    <a:pt x="77" y="60"/>
                  </a:lnTo>
                  <a:lnTo>
                    <a:pt x="85" y="48"/>
                  </a:lnTo>
                  <a:lnTo>
                    <a:pt x="94" y="39"/>
                  </a:lnTo>
                  <a:lnTo>
                    <a:pt x="103" y="32"/>
                  </a:lnTo>
                  <a:lnTo>
                    <a:pt x="114" y="23"/>
                  </a:lnTo>
                  <a:lnTo>
                    <a:pt x="126" y="17"/>
                  </a:lnTo>
                  <a:lnTo>
                    <a:pt x="137" y="11"/>
                  </a:lnTo>
                  <a:lnTo>
                    <a:pt x="150" y="8"/>
                  </a:lnTo>
                  <a:lnTo>
                    <a:pt x="163" y="4"/>
                  </a:lnTo>
                  <a:lnTo>
                    <a:pt x="176" y="2"/>
                  </a:lnTo>
                  <a:lnTo>
                    <a:pt x="189" y="0"/>
                  </a:lnTo>
                  <a:lnTo>
                    <a:pt x="189" y="0"/>
                  </a:lnTo>
                  <a:lnTo>
                    <a:pt x="213" y="2"/>
                  </a:lnTo>
                  <a:lnTo>
                    <a:pt x="237" y="10"/>
                  </a:lnTo>
                  <a:lnTo>
                    <a:pt x="257" y="19"/>
                  </a:lnTo>
                  <a:lnTo>
                    <a:pt x="276" y="32"/>
                  </a:lnTo>
                  <a:lnTo>
                    <a:pt x="292" y="48"/>
                  </a:lnTo>
                  <a:lnTo>
                    <a:pt x="307" y="67"/>
                  </a:lnTo>
                  <a:lnTo>
                    <a:pt x="316" y="87"/>
                  </a:lnTo>
                  <a:lnTo>
                    <a:pt x="324" y="110"/>
                  </a:lnTo>
                  <a:lnTo>
                    <a:pt x="326" y="115"/>
                  </a:lnTo>
                  <a:lnTo>
                    <a:pt x="331" y="115"/>
                  </a:lnTo>
                  <a:lnTo>
                    <a:pt x="331" y="115"/>
                  </a:lnTo>
                  <a:lnTo>
                    <a:pt x="344" y="115"/>
                  </a:lnTo>
                  <a:lnTo>
                    <a:pt x="357" y="117"/>
                  </a:lnTo>
                  <a:lnTo>
                    <a:pt x="368" y="121"/>
                  </a:lnTo>
                  <a:lnTo>
                    <a:pt x="379" y="126"/>
                  </a:lnTo>
                  <a:lnTo>
                    <a:pt x="385" y="130"/>
                  </a:lnTo>
                  <a:lnTo>
                    <a:pt x="387" y="126"/>
                  </a:lnTo>
                  <a:lnTo>
                    <a:pt x="387" y="126"/>
                  </a:lnTo>
                  <a:lnTo>
                    <a:pt x="402" y="115"/>
                  </a:lnTo>
                  <a:lnTo>
                    <a:pt x="416" y="108"/>
                  </a:lnTo>
                  <a:lnTo>
                    <a:pt x="433" y="102"/>
                  </a:lnTo>
                  <a:lnTo>
                    <a:pt x="450" y="100"/>
                  </a:lnTo>
                  <a:lnTo>
                    <a:pt x="450" y="100"/>
                  </a:lnTo>
                  <a:lnTo>
                    <a:pt x="465" y="102"/>
                  </a:lnTo>
                  <a:lnTo>
                    <a:pt x="479" y="106"/>
                  </a:lnTo>
                  <a:lnTo>
                    <a:pt x="492" y="111"/>
                  </a:lnTo>
                  <a:lnTo>
                    <a:pt x="504" y="119"/>
                  </a:lnTo>
                  <a:lnTo>
                    <a:pt x="515" y="128"/>
                  </a:lnTo>
                  <a:lnTo>
                    <a:pt x="524" y="139"/>
                  </a:lnTo>
                  <a:lnTo>
                    <a:pt x="531" y="152"/>
                  </a:lnTo>
                  <a:lnTo>
                    <a:pt x="535" y="167"/>
                  </a:lnTo>
                  <a:lnTo>
                    <a:pt x="537" y="171"/>
                  </a:lnTo>
                  <a:lnTo>
                    <a:pt x="541" y="173"/>
                  </a:lnTo>
                  <a:lnTo>
                    <a:pt x="541" y="173"/>
                  </a:lnTo>
                  <a:lnTo>
                    <a:pt x="552" y="173"/>
                  </a:lnTo>
                  <a:lnTo>
                    <a:pt x="561" y="176"/>
                  </a:lnTo>
                  <a:lnTo>
                    <a:pt x="570" y="182"/>
                  </a:lnTo>
                  <a:lnTo>
                    <a:pt x="578" y="187"/>
                  </a:lnTo>
                  <a:lnTo>
                    <a:pt x="583" y="195"/>
                  </a:lnTo>
                  <a:lnTo>
                    <a:pt x="587" y="204"/>
                  </a:lnTo>
                  <a:lnTo>
                    <a:pt x="591" y="213"/>
                  </a:lnTo>
                  <a:lnTo>
                    <a:pt x="593" y="224"/>
                  </a:lnTo>
                  <a:lnTo>
                    <a:pt x="593" y="2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1" name="Freeform 183">
              <a:extLst>
                <a:ext uri="{FF2B5EF4-FFF2-40B4-BE49-F238E27FC236}">
                  <a16:creationId xmlns:a16="http://schemas.microsoft.com/office/drawing/2014/main" id="{28719248-E387-4884-BA97-5636312ACB1C}"/>
                </a:ext>
              </a:extLst>
            </p:cNvPr>
            <p:cNvSpPr>
              <a:spLocks/>
            </p:cNvSpPr>
            <p:nvPr/>
          </p:nvSpPr>
          <p:spPr bwMode="auto">
            <a:xfrm>
              <a:off x="6681788" y="2930526"/>
              <a:ext cx="376238" cy="273050"/>
            </a:xfrm>
            <a:custGeom>
              <a:avLst/>
              <a:gdLst>
                <a:gd name="T0" fmla="*/ 237 w 237"/>
                <a:gd name="T1" fmla="*/ 130 h 172"/>
                <a:gd name="T2" fmla="*/ 233 w 237"/>
                <a:gd name="T3" fmla="*/ 146 h 172"/>
                <a:gd name="T4" fmla="*/ 224 w 237"/>
                <a:gd name="T5" fmla="*/ 159 h 172"/>
                <a:gd name="T6" fmla="*/ 211 w 237"/>
                <a:gd name="T7" fmla="*/ 169 h 172"/>
                <a:gd name="T8" fmla="*/ 195 w 237"/>
                <a:gd name="T9" fmla="*/ 172 h 172"/>
                <a:gd name="T10" fmla="*/ 0 w 237"/>
                <a:gd name="T11" fmla="*/ 152 h 172"/>
                <a:gd name="T12" fmla="*/ 195 w 237"/>
                <a:gd name="T13" fmla="*/ 152 h 172"/>
                <a:gd name="T14" fmla="*/ 209 w 237"/>
                <a:gd name="T15" fmla="*/ 146 h 172"/>
                <a:gd name="T16" fmla="*/ 217 w 237"/>
                <a:gd name="T17" fmla="*/ 130 h 172"/>
                <a:gd name="T18" fmla="*/ 215 w 237"/>
                <a:gd name="T19" fmla="*/ 122 h 172"/>
                <a:gd name="T20" fmla="*/ 204 w 237"/>
                <a:gd name="T21" fmla="*/ 111 h 172"/>
                <a:gd name="T22" fmla="*/ 195 w 237"/>
                <a:gd name="T23" fmla="*/ 109 h 172"/>
                <a:gd name="T24" fmla="*/ 189 w 237"/>
                <a:gd name="T25" fmla="*/ 109 h 172"/>
                <a:gd name="T26" fmla="*/ 178 w 237"/>
                <a:gd name="T27" fmla="*/ 107 h 172"/>
                <a:gd name="T28" fmla="*/ 176 w 237"/>
                <a:gd name="T29" fmla="*/ 104 h 172"/>
                <a:gd name="T30" fmla="*/ 174 w 237"/>
                <a:gd name="T31" fmla="*/ 98 h 172"/>
                <a:gd name="T32" fmla="*/ 176 w 237"/>
                <a:gd name="T33" fmla="*/ 85 h 172"/>
                <a:gd name="T34" fmla="*/ 172 w 237"/>
                <a:gd name="T35" fmla="*/ 61 h 172"/>
                <a:gd name="T36" fmla="*/ 159 w 237"/>
                <a:gd name="T37" fmla="*/ 41 h 172"/>
                <a:gd name="T38" fmla="*/ 141 w 237"/>
                <a:gd name="T39" fmla="*/ 28 h 172"/>
                <a:gd name="T40" fmla="*/ 117 w 237"/>
                <a:gd name="T41" fmla="*/ 20 h 172"/>
                <a:gd name="T42" fmla="*/ 117 w 237"/>
                <a:gd name="T43" fmla="*/ 0 h 172"/>
                <a:gd name="T44" fmla="*/ 146 w 237"/>
                <a:gd name="T45" fmla="*/ 9 h 172"/>
                <a:gd name="T46" fmla="*/ 172 w 237"/>
                <a:gd name="T47" fmla="*/ 26 h 172"/>
                <a:gd name="T48" fmla="*/ 189 w 237"/>
                <a:gd name="T49" fmla="*/ 52 h 172"/>
                <a:gd name="T50" fmla="*/ 196 w 237"/>
                <a:gd name="T51" fmla="*/ 83 h 172"/>
                <a:gd name="T52" fmla="*/ 202 w 237"/>
                <a:gd name="T53" fmla="*/ 89 h 172"/>
                <a:gd name="T54" fmla="*/ 209 w 237"/>
                <a:gd name="T55" fmla="*/ 91 h 172"/>
                <a:gd name="T56" fmla="*/ 220 w 237"/>
                <a:gd name="T57" fmla="*/ 98 h 172"/>
                <a:gd name="T58" fmla="*/ 230 w 237"/>
                <a:gd name="T59" fmla="*/ 109 h 172"/>
                <a:gd name="T60" fmla="*/ 235 w 237"/>
                <a:gd name="T61" fmla="*/ 122 h 172"/>
                <a:gd name="T62" fmla="*/ 237 w 237"/>
                <a:gd name="T63" fmla="*/ 13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7" h="172">
                  <a:moveTo>
                    <a:pt x="237" y="130"/>
                  </a:moveTo>
                  <a:lnTo>
                    <a:pt x="237" y="130"/>
                  </a:lnTo>
                  <a:lnTo>
                    <a:pt x="235" y="139"/>
                  </a:lnTo>
                  <a:lnTo>
                    <a:pt x="233" y="146"/>
                  </a:lnTo>
                  <a:lnTo>
                    <a:pt x="230" y="154"/>
                  </a:lnTo>
                  <a:lnTo>
                    <a:pt x="224" y="159"/>
                  </a:lnTo>
                  <a:lnTo>
                    <a:pt x="219" y="165"/>
                  </a:lnTo>
                  <a:lnTo>
                    <a:pt x="211" y="169"/>
                  </a:lnTo>
                  <a:lnTo>
                    <a:pt x="204" y="170"/>
                  </a:lnTo>
                  <a:lnTo>
                    <a:pt x="195" y="172"/>
                  </a:lnTo>
                  <a:lnTo>
                    <a:pt x="0" y="172"/>
                  </a:lnTo>
                  <a:lnTo>
                    <a:pt x="0" y="152"/>
                  </a:lnTo>
                  <a:lnTo>
                    <a:pt x="195" y="152"/>
                  </a:lnTo>
                  <a:lnTo>
                    <a:pt x="195" y="152"/>
                  </a:lnTo>
                  <a:lnTo>
                    <a:pt x="204" y="150"/>
                  </a:lnTo>
                  <a:lnTo>
                    <a:pt x="209" y="146"/>
                  </a:lnTo>
                  <a:lnTo>
                    <a:pt x="215" y="139"/>
                  </a:lnTo>
                  <a:lnTo>
                    <a:pt x="217" y="130"/>
                  </a:lnTo>
                  <a:lnTo>
                    <a:pt x="217" y="130"/>
                  </a:lnTo>
                  <a:lnTo>
                    <a:pt x="215" y="122"/>
                  </a:lnTo>
                  <a:lnTo>
                    <a:pt x="209" y="115"/>
                  </a:lnTo>
                  <a:lnTo>
                    <a:pt x="204" y="111"/>
                  </a:lnTo>
                  <a:lnTo>
                    <a:pt x="195" y="109"/>
                  </a:lnTo>
                  <a:lnTo>
                    <a:pt x="195" y="109"/>
                  </a:lnTo>
                  <a:lnTo>
                    <a:pt x="189" y="109"/>
                  </a:lnTo>
                  <a:lnTo>
                    <a:pt x="189" y="109"/>
                  </a:lnTo>
                  <a:lnTo>
                    <a:pt x="183" y="111"/>
                  </a:lnTo>
                  <a:lnTo>
                    <a:pt x="178" y="107"/>
                  </a:lnTo>
                  <a:lnTo>
                    <a:pt x="178" y="107"/>
                  </a:lnTo>
                  <a:lnTo>
                    <a:pt x="176" y="104"/>
                  </a:lnTo>
                  <a:lnTo>
                    <a:pt x="174" y="98"/>
                  </a:lnTo>
                  <a:lnTo>
                    <a:pt x="174" y="98"/>
                  </a:lnTo>
                  <a:lnTo>
                    <a:pt x="176" y="85"/>
                  </a:lnTo>
                  <a:lnTo>
                    <a:pt x="176" y="85"/>
                  </a:lnTo>
                  <a:lnTo>
                    <a:pt x="174" y="74"/>
                  </a:lnTo>
                  <a:lnTo>
                    <a:pt x="172" y="61"/>
                  </a:lnTo>
                  <a:lnTo>
                    <a:pt x="167" y="52"/>
                  </a:lnTo>
                  <a:lnTo>
                    <a:pt x="159" y="41"/>
                  </a:lnTo>
                  <a:lnTo>
                    <a:pt x="150" y="33"/>
                  </a:lnTo>
                  <a:lnTo>
                    <a:pt x="141" y="28"/>
                  </a:lnTo>
                  <a:lnTo>
                    <a:pt x="128" y="22"/>
                  </a:lnTo>
                  <a:lnTo>
                    <a:pt x="117" y="20"/>
                  </a:lnTo>
                  <a:lnTo>
                    <a:pt x="117" y="0"/>
                  </a:lnTo>
                  <a:lnTo>
                    <a:pt x="117" y="0"/>
                  </a:lnTo>
                  <a:lnTo>
                    <a:pt x="132" y="4"/>
                  </a:lnTo>
                  <a:lnTo>
                    <a:pt x="146" y="9"/>
                  </a:lnTo>
                  <a:lnTo>
                    <a:pt x="161" y="17"/>
                  </a:lnTo>
                  <a:lnTo>
                    <a:pt x="172" y="26"/>
                  </a:lnTo>
                  <a:lnTo>
                    <a:pt x="182" y="39"/>
                  </a:lnTo>
                  <a:lnTo>
                    <a:pt x="189" y="52"/>
                  </a:lnTo>
                  <a:lnTo>
                    <a:pt x="195" y="67"/>
                  </a:lnTo>
                  <a:lnTo>
                    <a:pt x="196" y="83"/>
                  </a:lnTo>
                  <a:lnTo>
                    <a:pt x="196" y="89"/>
                  </a:lnTo>
                  <a:lnTo>
                    <a:pt x="202" y="89"/>
                  </a:lnTo>
                  <a:lnTo>
                    <a:pt x="202" y="89"/>
                  </a:lnTo>
                  <a:lnTo>
                    <a:pt x="209" y="91"/>
                  </a:lnTo>
                  <a:lnTo>
                    <a:pt x="215" y="94"/>
                  </a:lnTo>
                  <a:lnTo>
                    <a:pt x="220" y="98"/>
                  </a:lnTo>
                  <a:lnTo>
                    <a:pt x="226" y="104"/>
                  </a:lnTo>
                  <a:lnTo>
                    <a:pt x="230" y="109"/>
                  </a:lnTo>
                  <a:lnTo>
                    <a:pt x="233" y="117"/>
                  </a:lnTo>
                  <a:lnTo>
                    <a:pt x="235" y="122"/>
                  </a:lnTo>
                  <a:lnTo>
                    <a:pt x="237" y="130"/>
                  </a:lnTo>
                  <a:lnTo>
                    <a:pt x="237" y="1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2" name="Rectangle 184">
              <a:extLst>
                <a:ext uri="{FF2B5EF4-FFF2-40B4-BE49-F238E27FC236}">
                  <a16:creationId xmlns:a16="http://schemas.microsoft.com/office/drawing/2014/main" id="{2684F7F5-1CA4-4DDF-900E-84E05BC4C6AA}"/>
                </a:ext>
              </a:extLst>
            </p:cNvPr>
            <p:cNvSpPr>
              <a:spLocks noChangeArrowheads="1"/>
            </p:cNvSpPr>
            <p:nvPr/>
          </p:nvSpPr>
          <p:spPr bwMode="auto">
            <a:xfrm>
              <a:off x="6391276" y="2930526"/>
              <a:ext cx="246063"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sp>
          <p:nvSpPr>
            <p:cNvPr id="133" name="Rectangle 185">
              <a:extLst>
                <a:ext uri="{FF2B5EF4-FFF2-40B4-BE49-F238E27FC236}">
                  <a16:creationId xmlns:a16="http://schemas.microsoft.com/office/drawing/2014/main" id="{21BC6D82-34C1-478A-B252-CA7E03850145}"/>
                </a:ext>
              </a:extLst>
            </p:cNvPr>
            <p:cNvSpPr>
              <a:spLocks noChangeArrowheads="1"/>
            </p:cNvSpPr>
            <p:nvPr/>
          </p:nvSpPr>
          <p:spPr bwMode="auto">
            <a:xfrm>
              <a:off x="6723063" y="2930526"/>
              <a:ext cx="47625" cy="317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l-SI" dirty="0"/>
            </a:p>
          </p:txBody>
        </p:sp>
      </p:grpSp>
      <p:sp>
        <p:nvSpPr>
          <p:cNvPr id="4" name="Rectangle 3"/>
          <p:cNvSpPr/>
          <p:nvPr/>
        </p:nvSpPr>
        <p:spPr>
          <a:xfrm>
            <a:off x="723900" y="1133475"/>
            <a:ext cx="1285875" cy="5336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dirty="0"/>
          </a:p>
        </p:txBody>
      </p:sp>
      <p:pic>
        <p:nvPicPr>
          <p:cNvPr id="345408" name="Picture 345407"/>
          <p:cNvPicPr>
            <a:picLocks noChangeAspect="1"/>
          </p:cNvPicPr>
          <p:nvPr/>
        </p:nvPicPr>
        <p:blipFill rotWithShape="1">
          <a:blip r:embed="rId8"/>
          <a:srcRect l="18372" t="34496" r="15891" b="35060"/>
          <a:stretch/>
        </p:blipFill>
        <p:spPr>
          <a:xfrm>
            <a:off x="801285" y="1396535"/>
            <a:ext cx="1935552" cy="493019"/>
          </a:xfrm>
          <a:prstGeom prst="rect">
            <a:avLst/>
          </a:prstGeom>
        </p:spPr>
      </p:pic>
      <p:pic>
        <p:nvPicPr>
          <p:cNvPr id="345410" name="Picture 345409"/>
          <p:cNvPicPr>
            <a:picLocks noChangeAspect="1"/>
          </p:cNvPicPr>
          <p:nvPr/>
        </p:nvPicPr>
        <p:blipFill>
          <a:blip r:embed="rId9"/>
          <a:stretch>
            <a:fillRect/>
          </a:stretch>
        </p:blipFill>
        <p:spPr>
          <a:xfrm>
            <a:off x="801286" y="2124466"/>
            <a:ext cx="2104948" cy="522737"/>
          </a:xfrm>
          <a:prstGeom prst="rect">
            <a:avLst/>
          </a:prstGeom>
        </p:spPr>
      </p:pic>
      <p:sp>
        <p:nvSpPr>
          <p:cNvPr id="193" name="Rectangle 2"/>
          <p:cNvSpPr/>
          <p:nvPr/>
        </p:nvSpPr>
        <p:spPr>
          <a:xfrm>
            <a:off x="10173750" y="182434"/>
            <a:ext cx="1739520"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Aft>
                <a:spcPts val="0"/>
              </a:spcAft>
              <a:defRPr/>
            </a:pPr>
            <a:r>
              <a:rPr lang="sl-SI" smtClean="0">
                <a:solidFill>
                  <a:schemeClr val="tx1">
                    <a:lumMod val="65000"/>
                    <a:lumOff val="35000"/>
                  </a:schemeClr>
                </a:solidFill>
                <a:latin typeface="Arial"/>
                <a:ea typeface="+mj-ea"/>
                <a:cs typeface="Arial"/>
              </a:rPr>
              <a:t>NSP/2022/049</a:t>
            </a:r>
            <a:endParaRPr lang="en-US" dirty="0">
              <a:solidFill>
                <a:schemeClr val="tx1">
                  <a:lumMod val="65000"/>
                  <a:lumOff val="35000"/>
                </a:schemeClr>
              </a:solidFill>
              <a:latin typeface="Arial"/>
              <a:ea typeface="+mj-ea"/>
              <a:cs typeface="Arial"/>
            </a:endParaRPr>
          </a:p>
        </p:txBody>
      </p:sp>
    </p:spTree>
    <p:extLst>
      <p:ext uri="{BB962C8B-B14F-4D97-AF65-F5344CB8AC3E}">
        <p14:creationId xmlns:p14="http://schemas.microsoft.com/office/powerpoint/2010/main" val="26432271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4098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5"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l-SI" sz="2000" dirty="0">
              <a:latin typeface="Chronicle Display Black"/>
              <a:sym typeface="Chronicle Display Black"/>
            </a:endParaRPr>
          </a:p>
        </p:txBody>
      </p:sp>
      <p:sp>
        <p:nvSpPr>
          <p:cNvPr id="3" name="Text Placeholder 1"/>
          <p:cNvSpPr>
            <a:spLocks noGrp="1"/>
          </p:cNvSpPr>
          <p:nvPr>
            <p:ph type="body" sz="quarter" idx="13"/>
          </p:nvPr>
        </p:nvSpPr>
        <p:spPr>
          <a:xfrm>
            <a:off x="469900" y="410771"/>
            <a:ext cx="11252200" cy="259185"/>
          </a:xfrm>
        </p:spPr>
        <p:txBody>
          <a:bodyPr/>
          <a:lstStyle/>
          <a:p>
            <a:r>
              <a:rPr lang="sl-SI" sz="1600" dirty="0"/>
              <a:t>Pregled stanja in izvedenih aktivnosti</a:t>
            </a:r>
          </a:p>
        </p:txBody>
      </p:sp>
      <p:sp>
        <p:nvSpPr>
          <p:cNvPr id="5" name="Title 2"/>
          <p:cNvSpPr>
            <a:spLocks noGrp="1"/>
          </p:cNvSpPr>
          <p:nvPr>
            <p:ph type="title"/>
          </p:nvPr>
        </p:nvSpPr>
        <p:spPr>
          <a:xfrm>
            <a:off x="469900" y="683241"/>
            <a:ext cx="11252200" cy="698501"/>
          </a:xfrm>
        </p:spPr>
        <p:txBody>
          <a:bodyPr vert="horz"/>
          <a:lstStyle/>
          <a:p>
            <a:r>
              <a:rPr lang="sl-SI" altLang="ja-JP" dirty="0"/>
              <a:t>Projekt je trenutno v zaključnih fazah priprave Nacionalne strategije za plačila 2023-2027, sledi usklajevanje s posameznimi skupinami deležnikov NSP. Javna predstavitev dokumenta je predvidena v začetku leta 2023</a:t>
            </a:r>
          </a:p>
        </p:txBody>
      </p:sp>
      <p:sp>
        <p:nvSpPr>
          <p:cNvPr id="154" name="Freeform 263">
            <a:extLst>
              <a:ext uri="{FF2B5EF4-FFF2-40B4-BE49-F238E27FC236}">
                <a16:creationId xmlns:a16="http://schemas.microsoft.com/office/drawing/2014/main" id="{74B3CA96-DB60-4061-BA8C-A31EC14BD23F}"/>
              </a:ext>
            </a:extLst>
          </p:cNvPr>
          <p:cNvSpPr>
            <a:spLocks/>
          </p:cNvSpPr>
          <p:nvPr/>
        </p:nvSpPr>
        <p:spPr bwMode="auto">
          <a:xfrm>
            <a:off x="2669799" y="3278426"/>
            <a:ext cx="1468508" cy="179136"/>
          </a:xfrm>
          <a:custGeom>
            <a:avLst/>
            <a:gdLst>
              <a:gd name="T0" fmla="*/ 0 w 1210614"/>
              <a:gd name="T1" fmla="*/ 896580 h 1564783"/>
              <a:gd name="T2" fmla="*/ 468126 w 1210614"/>
              <a:gd name="T3" fmla="*/ 108098 h 1564783"/>
              <a:gd name="T4" fmla="*/ 1222331 w 1210614"/>
              <a:gd name="T5" fmla="*/ 1545172 h 1564783"/>
              <a:gd name="T6" fmla="*/ 0 60000 65536"/>
              <a:gd name="T7" fmla="*/ 0 60000 65536"/>
              <a:gd name="T8" fmla="*/ 0 60000 65536"/>
              <a:gd name="T9" fmla="*/ 0 w 1210614"/>
              <a:gd name="T10" fmla="*/ 0 h 1564783"/>
              <a:gd name="T11" fmla="*/ 1210614 w 1210614"/>
              <a:gd name="T12" fmla="*/ 1564783 h 1564783"/>
            </a:gdLst>
            <a:ahLst/>
            <a:cxnLst>
              <a:cxn ang="T6">
                <a:pos x="T0" y="T1"/>
              </a:cxn>
              <a:cxn ang="T7">
                <a:pos x="T2" y="T3"/>
              </a:cxn>
              <a:cxn ang="T8">
                <a:pos x="T4" y="T5"/>
              </a:cxn>
            </a:cxnLst>
            <a:rect l="T9" t="T10" r="T11" b="T12"/>
            <a:pathLst>
              <a:path w="1210614" h="1564783">
                <a:moveTo>
                  <a:pt x="0" y="907960"/>
                </a:moveTo>
                <a:cubicBezTo>
                  <a:pt x="130935" y="453980"/>
                  <a:pt x="261871" y="0"/>
                  <a:pt x="463640" y="109470"/>
                </a:cubicBezTo>
                <a:cubicBezTo>
                  <a:pt x="665409" y="218940"/>
                  <a:pt x="1210614" y="1564783"/>
                  <a:pt x="1210614" y="1564783"/>
                </a:cubicBezTo>
              </a:path>
            </a:pathLst>
          </a:custGeom>
          <a:noFill/>
          <a:ln w="25400" cap="flat" cmpd="sng">
            <a:solidFill>
              <a:schemeClr val="tx1"/>
            </a:solidFill>
            <a:prstDash val="dash"/>
            <a:round/>
            <a:headEnd type="none" w="med" len="med"/>
            <a:tailEnd type="none" w="med" len="med"/>
          </a:ln>
        </p:spPr>
        <p:txBody>
          <a:bodyPr lIns="101901" tIns="50950" rIns="101901" bIns="5095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155" name="Freeform 263">
            <a:extLst>
              <a:ext uri="{FF2B5EF4-FFF2-40B4-BE49-F238E27FC236}">
                <a16:creationId xmlns:a16="http://schemas.microsoft.com/office/drawing/2014/main" id="{278E7E9B-3393-4EB1-8966-19470A714472}"/>
              </a:ext>
            </a:extLst>
          </p:cNvPr>
          <p:cNvSpPr>
            <a:spLocks/>
          </p:cNvSpPr>
          <p:nvPr/>
        </p:nvSpPr>
        <p:spPr bwMode="auto">
          <a:xfrm rot="21156963" flipV="1">
            <a:off x="9610884" y="3486962"/>
            <a:ext cx="1543277" cy="252354"/>
          </a:xfrm>
          <a:custGeom>
            <a:avLst/>
            <a:gdLst>
              <a:gd name="T0" fmla="*/ 0 w 1210614"/>
              <a:gd name="T1" fmla="*/ 896580 h 1564783"/>
              <a:gd name="T2" fmla="*/ 468126 w 1210614"/>
              <a:gd name="T3" fmla="*/ 108098 h 1564783"/>
              <a:gd name="T4" fmla="*/ 1222331 w 1210614"/>
              <a:gd name="T5" fmla="*/ 1545172 h 1564783"/>
              <a:gd name="T6" fmla="*/ 0 60000 65536"/>
              <a:gd name="T7" fmla="*/ 0 60000 65536"/>
              <a:gd name="T8" fmla="*/ 0 60000 65536"/>
              <a:gd name="T9" fmla="*/ 0 w 1210614"/>
              <a:gd name="T10" fmla="*/ 0 h 1564783"/>
              <a:gd name="T11" fmla="*/ 1210614 w 1210614"/>
              <a:gd name="T12" fmla="*/ 1564783 h 1564783"/>
            </a:gdLst>
            <a:ahLst/>
            <a:cxnLst>
              <a:cxn ang="T6">
                <a:pos x="T0" y="T1"/>
              </a:cxn>
              <a:cxn ang="T7">
                <a:pos x="T2" y="T3"/>
              </a:cxn>
              <a:cxn ang="T8">
                <a:pos x="T4" y="T5"/>
              </a:cxn>
            </a:cxnLst>
            <a:rect l="T9" t="T10" r="T11" b="T12"/>
            <a:pathLst>
              <a:path w="1210614" h="1564783">
                <a:moveTo>
                  <a:pt x="0" y="907960"/>
                </a:moveTo>
                <a:cubicBezTo>
                  <a:pt x="130935" y="453980"/>
                  <a:pt x="261871" y="0"/>
                  <a:pt x="463640" y="109470"/>
                </a:cubicBezTo>
                <a:cubicBezTo>
                  <a:pt x="665409" y="218940"/>
                  <a:pt x="1210614" y="1564783"/>
                  <a:pt x="1210614" y="1564783"/>
                </a:cubicBezTo>
              </a:path>
            </a:pathLst>
          </a:custGeom>
          <a:noFill/>
          <a:ln w="25400" cap="flat" cmpd="sng">
            <a:solidFill>
              <a:schemeClr val="tx1"/>
            </a:solidFill>
            <a:prstDash val="dash"/>
            <a:round/>
            <a:headEnd type="none" w="med" len="med"/>
            <a:tailEnd type="none" w="med" len="med"/>
          </a:ln>
        </p:spPr>
        <p:txBody>
          <a:bodyPr lIns="101901" tIns="50950" rIns="101901" bIns="5095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156" name="Freeform 263">
            <a:extLst>
              <a:ext uri="{FF2B5EF4-FFF2-40B4-BE49-F238E27FC236}">
                <a16:creationId xmlns:a16="http://schemas.microsoft.com/office/drawing/2014/main" id="{BA3E9AAA-81C0-428A-9DEC-D30378F9E34D}"/>
              </a:ext>
            </a:extLst>
          </p:cNvPr>
          <p:cNvSpPr>
            <a:spLocks/>
          </p:cNvSpPr>
          <p:nvPr/>
        </p:nvSpPr>
        <p:spPr bwMode="auto">
          <a:xfrm flipV="1">
            <a:off x="759345" y="3690662"/>
            <a:ext cx="1141561" cy="196950"/>
          </a:xfrm>
          <a:custGeom>
            <a:avLst/>
            <a:gdLst>
              <a:gd name="T0" fmla="*/ 0 w 1210614"/>
              <a:gd name="T1" fmla="*/ 896580 h 1564783"/>
              <a:gd name="T2" fmla="*/ 468126 w 1210614"/>
              <a:gd name="T3" fmla="*/ 108098 h 1564783"/>
              <a:gd name="T4" fmla="*/ 1222331 w 1210614"/>
              <a:gd name="T5" fmla="*/ 1545172 h 1564783"/>
              <a:gd name="T6" fmla="*/ 0 60000 65536"/>
              <a:gd name="T7" fmla="*/ 0 60000 65536"/>
              <a:gd name="T8" fmla="*/ 0 60000 65536"/>
              <a:gd name="T9" fmla="*/ 0 w 1210614"/>
              <a:gd name="T10" fmla="*/ 0 h 1564783"/>
              <a:gd name="T11" fmla="*/ 1210614 w 1210614"/>
              <a:gd name="T12" fmla="*/ 1564783 h 1564783"/>
            </a:gdLst>
            <a:ahLst/>
            <a:cxnLst>
              <a:cxn ang="T6">
                <a:pos x="T0" y="T1"/>
              </a:cxn>
              <a:cxn ang="T7">
                <a:pos x="T2" y="T3"/>
              </a:cxn>
              <a:cxn ang="T8">
                <a:pos x="T4" y="T5"/>
              </a:cxn>
            </a:cxnLst>
            <a:rect l="T9" t="T10" r="T11" b="T12"/>
            <a:pathLst>
              <a:path w="1210614" h="1564783">
                <a:moveTo>
                  <a:pt x="0" y="907960"/>
                </a:moveTo>
                <a:cubicBezTo>
                  <a:pt x="130935" y="453980"/>
                  <a:pt x="261871" y="0"/>
                  <a:pt x="463640" y="109470"/>
                </a:cubicBezTo>
                <a:cubicBezTo>
                  <a:pt x="665409" y="218940"/>
                  <a:pt x="1210614" y="1564783"/>
                  <a:pt x="1210614" y="1564783"/>
                </a:cubicBezTo>
              </a:path>
            </a:pathLst>
          </a:custGeom>
          <a:noFill/>
          <a:ln w="25400" cap="flat" cmpd="sng">
            <a:solidFill>
              <a:schemeClr val="tx1"/>
            </a:solidFill>
            <a:prstDash val="dash"/>
            <a:round/>
            <a:headEnd type="none" w="med" len="med"/>
            <a:tailEnd type="none" w="med" len="med"/>
          </a:ln>
        </p:spPr>
        <p:txBody>
          <a:bodyPr lIns="101901" tIns="50950" rIns="101901" bIns="5095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157" name="Freeform 263">
            <a:extLst>
              <a:ext uri="{FF2B5EF4-FFF2-40B4-BE49-F238E27FC236}">
                <a16:creationId xmlns:a16="http://schemas.microsoft.com/office/drawing/2014/main" id="{CB7808DB-0F64-4B09-9D3B-B54538B26A55}"/>
              </a:ext>
            </a:extLst>
          </p:cNvPr>
          <p:cNvSpPr>
            <a:spLocks/>
          </p:cNvSpPr>
          <p:nvPr/>
        </p:nvSpPr>
        <p:spPr bwMode="auto">
          <a:xfrm>
            <a:off x="7310048" y="3237886"/>
            <a:ext cx="1471466" cy="294976"/>
          </a:xfrm>
          <a:custGeom>
            <a:avLst/>
            <a:gdLst>
              <a:gd name="T0" fmla="*/ 0 w 1210614"/>
              <a:gd name="T1" fmla="*/ 896580 h 1564783"/>
              <a:gd name="T2" fmla="*/ 468126 w 1210614"/>
              <a:gd name="T3" fmla="*/ 108098 h 1564783"/>
              <a:gd name="T4" fmla="*/ 1222331 w 1210614"/>
              <a:gd name="T5" fmla="*/ 1545172 h 1564783"/>
              <a:gd name="T6" fmla="*/ 0 60000 65536"/>
              <a:gd name="T7" fmla="*/ 0 60000 65536"/>
              <a:gd name="T8" fmla="*/ 0 60000 65536"/>
              <a:gd name="T9" fmla="*/ 0 w 1210614"/>
              <a:gd name="T10" fmla="*/ 0 h 1564783"/>
              <a:gd name="T11" fmla="*/ 1210614 w 1210614"/>
              <a:gd name="T12" fmla="*/ 1564783 h 1564783"/>
            </a:gdLst>
            <a:ahLst/>
            <a:cxnLst>
              <a:cxn ang="T6">
                <a:pos x="T0" y="T1"/>
              </a:cxn>
              <a:cxn ang="T7">
                <a:pos x="T2" y="T3"/>
              </a:cxn>
              <a:cxn ang="T8">
                <a:pos x="T4" y="T5"/>
              </a:cxn>
            </a:cxnLst>
            <a:rect l="T9" t="T10" r="T11" b="T12"/>
            <a:pathLst>
              <a:path w="1210614" h="1564783">
                <a:moveTo>
                  <a:pt x="0" y="907960"/>
                </a:moveTo>
                <a:cubicBezTo>
                  <a:pt x="130935" y="453980"/>
                  <a:pt x="261871" y="0"/>
                  <a:pt x="463640" y="109470"/>
                </a:cubicBezTo>
                <a:cubicBezTo>
                  <a:pt x="665409" y="218940"/>
                  <a:pt x="1210614" y="1564783"/>
                  <a:pt x="1210614" y="1564783"/>
                </a:cubicBezTo>
              </a:path>
            </a:pathLst>
          </a:custGeom>
          <a:noFill/>
          <a:ln w="25400" cap="flat" cmpd="sng">
            <a:solidFill>
              <a:schemeClr val="tx1"/>
            </a:solidFill>
            <a:prstDash val="dash"/>
            <a:round/>
            <a:headEnd type="none" w="med" len="med"/>
            <a:tailEnd type="none" w="med" len="med"/>
          </a:ln>
        </p:spPr>
        <p:txBody>
          <a:bodyPr lIns="101901" tIns="50950" rIns="101901" bIns="5095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158" name="Freeform 263">
            <a:extLst>
              <a:ext uri="{FF2B5EF4-FFF2-40B4-BE49-F238E27FC236}">
                <a16:creationId xmlns:a16="http://schemas.microsoft.com/office/drawing/2014/main" id="{1952FEAB-4DF0-4222-8151-C33FE7EF1B2E}"/>
              </a:ext>
            </a:extLst>
          </p:cNvPr>
          <p:cNvSpPr>
            <a:spLocks/>
          </p:cNvSpPr>
          <p:nvPr/>
        </p:nvSpPr>
        <p:spPr bwMode="auto">
          <a:xfrm rot="10800000">
            <a:off x="5005783" y="3696455"/>
            <a:ext cx="1445878" cy="350814"/>
          </a:xfrm>
          <a:custGeom>
            <a:avLst/>
            <a:gdLst>
              <a:gd name="T0" fmla="*/ 0 w 1210614"/>
              <a:gd name="T1" fmla="*/ 896580 h 1564783"/>
              <a:gd name="T2" fmla="*/ 468126 w 1210614"/>
              <a:gd name="T3" fmla="*/ 108098 h 1564783"/>
              <a:gd name="T4" fmla="*/ 1222331 w 1210614"/>
              <a:gd name="T5" fmla="*/ 1545172 h 1564783"/>
              <a:gd name="T6" fmla="*/ 0 60000 65536"/>
              <a:gd name="T7" fmla="*/ 0 60000 65536"/>
              <a:gd name="T8" fmla="*/ 0 60000 65536"/>
              <a:gd name="T9" fmla="*/ 0 w 1210614"/>
              <a:gd name="T10" fmla="*/ 0 h 1564783"/>
              <a:gd name="T11" fmla="*/ 1210614 w 1210614"/>
              <a:gd name="T12" fmla="*/ 1564783 h 1564783"/>
            </a:gdLst>
            <a:ahLst/>
            <a:cxnLst>
              <a:cxn ang="T6">
                <a:pos x="T0" y="T1"/>
              </a:cxn>
              <a:cxn ang="T7">
                <a:pos x="T2" y="T3"/>
              </a:cxn>
              <a:cxn ang="T8">
                <a:pos x="T4" y="T5"/>
              </a:cxn>
            </a:cxnLst>
            <a:rect l="T9" t="T10" r="T11" b="T12"/>
            <a:pathLst>
              <a:path w="1210614" h="1564783">
                <a:moveTo>
                  <a:pt x="0" y="907960"/>
                </a:moveTo>
                <a:cubicBezTo>
                  <a:pt x="130935" y="453980"/>
                  <a:pt x="261871" y="0"/>
                  <a:pt x="463640" y="109470"/>
                </a:cubicBezTo>
                <a:cubicBezTo>
                  <a:pt x="665409" y="218940"/>
                  <a:pt x="1210614" y="1564783"/>
                  <a:pt x="1210614" y="1564783"/>
                </a:cubicBezTo>
              </a:path>
            </a:pathLst>
          </a:custGeom>
          <a:noFill/>
          <a:ln w="25400" cap="flat" cmpd="sng">
            <a:solidFill>
              <a:schemeClr val="tx1"/>
            </a:solidFill>
            <a:prstDash val="dash"/>
            <a:round/>
            <a:headEnd type="none" w="med" len="med"/>
            <a:tailEnd type="none" w="med" len="med"/>
          </a:ln>
        </p:spPr>
        <p:txBody>
          <a:bodyPr lIns="101901" tIns="50950" rIns="101901" bIns="5095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grpSp>
        <p:nvGrpSpPr>
          <p:cNvPr id="181" name="Graphic 4">
            <a:extLst>
              <a:ext uri="{FF2B5EF4-FFF2-40B4-BE49-F238E27FC236}">
                <a16:creationId xmlns:a16="http://schemas.microsoft.com/office/drawing/2014/main" id="{0B998C74-3FAE-9A43-9149-AAB419B9547A}"/>
              </a:ext>
            </a:extLst>
          </p:cNvPr>
          <p:cNvGrpSpPr/>
          <p:nvPr/>
        </p:nvGrpSpPr>
        <p:grpSpPr>
          <a:xfrm>
            <a:off x="1939622" y="3172862"/>
            <a:ext cx="720000" cy="720000"/>
            <a:chOff x="4046108" y="2371173"/>
            <a:chExt cx="361670" cy="361333"/>
          </a:xfrm>
          <a:solidFill>
            <a:srgbClr val="00ABAB"/>
          </a:solidFill>
        </p:grpSpPr>
        <p:sp>
          <p:nvSpPr>
            <p:cNvPr id="182" name="Graphic 4">
              <a:extLst>
                <a:ext uri="{FF2B5EF4-FFF2-40B4-BE49-F238E27FC236}">
                  <a16:creationId xmlns:a16="http://schemas.microsoft.com/office/drawing/2014/main" id="{A7292C12-239F-0F4B-953D-677A7FDC0660}"/>
                </a:ext>
              </a:extLst>
            </p:cNvPr>
            <p:cNvSpPr/>
            <p:nvPr/>
          </p:nvSpPr>
          <p:spPr>
            <a:xfrm>
              <a:off x="4262088" y="2461187"/>
              <a:ext cx="55592" cy="55540"/>
            </a:xfrm>
            <a:custGeom>
              <a:avLst/>
              <a:gdLst>
                <a:gd name="connsiteX0" fmla="*/ 0 w 55592"/>
                <a:gd name="connsiteY0" fmla="*/ 0 h 55540"/>
                <a:gd name="connsiteX1" fmla="*/ 0 w 55592"/>
                <a:gd name="connsiteY1" fmla="*/ 55541 h 55540"/>
                <a:gd name="connsiteX2" fmla="*/ 55593 w 55592"/>
                <a:gd name="connsiteY2" fmla="*/ 55541 h 55540"/>
                <a:gd name="connsiteX3" fmla="*/ 0 w 55592"/>
                <a:gd name="connsiteY3" fmla="*/ 0 h 55540"/>
              </a:gdLst>
              <a:ahLst/>
              <a:cxnLst>
                <a:cxn ang="0">
                  <a:pos x="connsiteX0" y="connsiteY0"/>
                </a:cxn>
                <a:cxn ang="0">
                  <a:pos x="connsiteX1" y="connsiteY1"/>
                </a:cxn>
                <a:cxn ang="0">
                  <a:pos x="connsiteX2" y="connsiteY2"/>
                </a:cxn>
                <a:cxn ang="0">
                  <a:pos x="connsiteX3" y="connsiteY3"/>
                </a:cxn>
              </a:cxnLst>
              <a:rect l="l" t="t" r="r" b="b"/>
              <a:pathLst>
                <a:path w="55592" h="55540">
                  <a:moveTo>
                    <a:pt x="0" y="0"/>
                  </a:moveTo>
                  <a:lnTo>
                    <a:pt x="0" y="55541"/>
                  </a:lnTo>
                  <a:lnTo>
                    <a:pt x="55593" y="55541"/>
                  </a:lnTo>
                  <a:cubicBezTo>
                    <a:pt x="45368" y="30643"/>
                    <a:pt x="25560" y="10214"/>
                    <a:pt x="0" y="0"/>
                  </a:cubicBezTo>
                  <a:close/>
                </a:path>
              </a:pathLst>
            </a:custGeom>
            <a:solidFill>
              <a:srgbClr val="00ABAB"/>
            </a:solidFill>
            <a:ln w="6390" cap="flat">
              <a:noFill/>
              <a:prstDash val="solid"/>
              <a:miter/>
            </a:ln>
          </p:spPr>
          <p:txBody>
            <a:bodyPr rtlCol="0" anchor="ctr"/>
            <a:lstStyle/>
            <a:p>
              <a:endParaRPr lang="en-US"/>
            </a:p>
          </p:txBody>
        </p:sp>
        <p:sp>
          <p:nvSpPr>
            <p:cNvPr id="183" name="Graphic 4">
              <a:extLst>
                <a:ext uri="{FF2B5EF4-FFF2-40B4-BE49-F238E27FC236}">
                  <a16:creationId xmlns:a16="http://schemas.microsoft.com/office/drawing/2014/main" id="{FA671FFF-E62C-6F4E-9CAF-231A57559617}"/>
                </a:ext>
              </a:extLst>
            </p:cNvPr>
            <p:cNvSpPr/>
            <p:nvPr/>
          </p:nvSpPr>
          <p:spPr>
            <a:xfrm>
              <a:off x="4046108"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75723 w 361670"/>
                <a:gd name="connsiteY5" fmla="*/ 287279 h 361333"/>
                <a:gd name="connsiteX6" fmla="*/ 74762 w 361670"/>
                <a:gd name="connsiteY6" fmla="*/ 186412 h 361333"/>
                <a:gd name="connsiteX7" fmla="*/ 175723 w 361670"/>
                <a:gd name="connsiteY7" fmla="*/ 85546 h 361333"/>
                <a:gd name="connsiteX8" fmla="*/ 182113 w 361670"/>
                <a:gd name="connsiteY8" fmla="*/ 91930 h 361333"/>
                <a:gd name="connsiteX9" fmla="*/ 182113 w 361670"/>
                <a:gd name="connsiteY9" fmla="*/ 180028 h 361333"/>
                <a:gd name="connsiteX10" fmla="*/ 270294 w 361670"/>
                <a:gd name="connsiteY10" fmla="*/ 180028 h 361333"/>
                <a:gd name="connsiteX11" fmla="*/ 276684 w 361670"/>
                <a:gd name="connsiteY11" fmla="*/ 186412 h 361333"/>
                <a:gd name="connsiteX12" fmla="*/ 175723 w 361670"/>
                <a:gd name="connsiteY12" fmla="*/ 287279 h 361333"/>
                <a:gd name="connsiteX13" fmla="*/ 286269 w 361670"/>
                <a:gd name="connsiteY13" fmla="*/ 155769 h 361333"/>
                <a:gd name="connsiteX14" fmla="*/ 281157 w 361670"/>
                <a:gd name="connsiteY14" fmla="*/ 158323 h 361333"/>
                <a:gd name="connsiteX15" fmla="*/ 209590 w 361670"/>
                <a:gd name="connsiteY15" fmla="*/ 158323 h 361333"/>
                <a:gd name="connsiteX16" fmla="*/ 203200 w 361670"/>
                <a:gd name="connsiteY16" fmla="*/ 151939 h 361333"/>
                <a:gd name="connsiteX17" fmla="*/ 203200 w 361670"/>
                <a:gd name="connsiteY17" fmla="*/ 81077 h 361333"/>
                <a:gd name="connsiteX18" fmla="*/ 205756 w 361670"/>
                <a:gd name="connsiteY18" fmla="*/ 75970 h 361333"/>
                <a:gd name="connsiteX19" fmla="*/ 211507 w 361670"/>
                <a:gd name="connsiteY19" fmla="*/ 75331 h 361333"/>
                <a:gd name="connsiteX20" fmla="*/ 286908 w 361670"/>
                <a:gd name="connsiteY20" fmla="*/ 150662 h 361333"/>
                <a:gd name="connsiteX21" fmla="*/ 286269 w 361670"/>
                <a:gd name="connsiteY21" fmla="*/ 155769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175723" y="287279"/>
                  </a:moveTo>
                  <a:cubicBezTo>
                    <a:pt x="120131" y="287279"/>
                    <a:pt x="74762" y="241953"/>
                    <a:pt x="74762" y="186412"/>
                  </a:cubicBezTo>
                  <a:cubicBezTo>
                    <a:pt x="74762" y="130872"/>
                    <a:pt x="120131" y="85546"/>
                    <a:pt x="175723" y="85546"/>
                  </a:cubicBezTo>
                  <a:cubicBezTo>
                    <a:pt x="179557" y="85546"/>
                    <a:pt x="182113" y="88099"/>
                    <a:pt x="182113" y="91930"/>
                  </a:cubicBezTo>
                  <a:lnTo>
                    <a:pt x="182113" y="180028"/>
                  </a:lnTo>
                  <a:lnTo>
                    <a:pt x="270294" y="180028"/>
                  </a:lnTo>
                  <a:cubicBezTo>
                    <a:pt x="274128" y="180028"/>
                    <a:pt x="276684" y="182582"/>
                    <a:pt x="276684" y="186412"/>
                  </a:cubicBezTo>
                  <a:cubicBezTo>
                    <a:pt x="276684" y="241953"/>
                    <a:pt x="231316" y="287279"/>
                    <a:pt x="175723" y="287279"/>
                  </a:cubicBezTo>
                  <a:close/>
                  <a:moveTo>
                    <a:pt x="286269" y="155769"/>
                  </a:moveTo>
                  <a:cubicBezTo>
                    <a:pt x="284991" y="157684"/>
                    <a:pt x="283074" y="158323"/>
                    <a:pt x="281157" y="158323"/>
                  </a:cubicBezTo>
                  <a:lnTo>
                    <a:pt x="209590" y="158323"/>
                  </a:lnTo>
                  <a:cubicBezTo>
                    <a:pt x="205756" y="158323"/>
                    <a:pt x="203200" y="155769"/>
                    <a:pt x="203200" y="151939"/>
                  </a:cubicBezTo>
                  <a:lnTo>
                    <a:pt x="203200" y="81077"/>
                  </a:lnTo>
                  <a:cubicBezTo>
                    <a:pt x="203200" y="79162"/>
                    <a:pt x="204478" y="77246"/>
                    <a:pt x="205756" y="75970"/>
                  </a:cubicBezTo>
                  <a:cubicBezTo>
                    <a:pt x="207673" y="74693"/>
                    <a:pt x="209590" y="74693"/>
                    <a:pt x="211507" y="75331"/>
                  </a:cubicBezTo>
                  <a:cubicBezTo>
                    <a:pt x="247291" y="86822"/>
                    <a:pt x="275406" y="114912"/>
                    <a:pt x="286908" y="150662"/>
                  </a:cubicBezTo>
                  <a:cubicBezTo>
                    <a:pt x="287547" y="151939"/>
                    <a:pt x="286908" y="153854"/>
                    <a:pt x="286269" y="155769"/>
                  </a:cubicBezTo>
                  <a:close/>
                </a:path>
              </a:pathLst>
            </a:custGeom>
            <a:solidFill>
              <a:srgbClr val="00ABAB"/>
            </a:solidFill>
            <a:ln w="6390" cap="flat">
              <a:noFill/>
              <a:prstDash val="solid"/>
              <a:miter/>
            </a:ln>
          </p:spPr>
          <p:txBody>
            <a:bodyPr rtlCol="0" anchor="ctr"/>
            <a:lstStyle/>
            <a:p>
              <a:endParaRPr lang="en-US"/>
            </a:p>
          </p:txBody>
        </p:sp>
        <p:sp>
          <p:nvSpPr>
            <p:cNvPr id="184" name="Graphic 4">
              <a:extLst>
                <a:ext uri="{FF2B5EF4-FFF2-40B4-BE49-F238E27FC236}">
                  <a16:creationId xmlns:a16="http://schemas.microsoft.com/office/drawing/2014/main" id="{766AE2E2-557E-F24B-9A8F-1DE5485177FF}"/>
                </a:ext>
              </a:extLst>
            </p:cNvPr>
            <p:cNvSpPr/>
            <p:nvPr/>
          </p:nvSpPr>
          <p:spPr>
            <a:xfrm>
              <a:off x="4133650" y="2469487"/>
              <a:ext cx="176362" cy="176197"/>
            </a:xfrm>
            <a:custGeom>
              <a:avLst/>
              <a:gdLst>
                <a:gd name="connsiteX0" fmla="*/ 81791 w 176362"/>
                <a:gd name="connsiteY0" fmla="*/ 88099 h 176197"/>
                <a:gd name="connsiteX1" fmla="*/ 81791 w 176362"/>
                <a:gd name="connsiteY1" fmla="*/ 0 h 176197"/>
                <a:gd name="connsiteX2" fmla="*/ 0 w 176362"/>
                <a:gd name="connsiteY2" fmla="*/ 88099 h 176197"/>
                <a:gd name="connsiteX3" fmla="*/ 88181 w 176362"/>
                <a:gd name="connsiteY3" fmla="*/ 176198 h 176197"/>
                <a:gd name="connsiteX4" fmla="*/ 176362 w 176362"/>
                <a:gd name="connsiteY4" fmla="*/ 94483 h 176197"/>
                <a:gd name="connsiteX5" fmla="*/ 88181 w 176362"/>
                <a:gd name="connsiteY5" fmla="*/ 94483 h 176197"/>
                <a:gd name="connsiteX6" fmla="*/ 81791 w 176362"/>
                <a:gd name="connsiteY6" fmla="*/ 88099 h 17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62" h="176197">
                  <a:moveTo>
                    <a:pt x="81791" y="88099"/>
                  </a:moveTo>
                  <a:lnTo>
                    <a:pt x="81791" y="0"/>
                  </a:lnTo>
                  <a:cubicBezTo>
                    <a:pt x="35783" y="3192"/>
                    <a:pt x="0" y="41496"/>
                    <a:pt x="0" y="88099"/>
                  </a:cubicBezTo>
                  <a:cubicBezTo>
                    <a:pt x="0" y="136617"/>
                    <a:pt x="39617" y="176198"/>
                    <a:pt x="88181" y="176198"/>
                  </a:cubicBezTo>
                  <a:cubicBezTo>
                    <a:pt x="134828" y="176198"/>
                    <a:pt x="173167" y="139809"/>
                    <a:pt x="176362" y="94483"/>
                  </a:cubicBezTo>
                  <a:lnTo>
                    <a:pt x="88181" y="94483"/>
                  </a:lnTo>
                  <a:cubicBezTo>
                    <a:pt x="84347" y="94483"/>
                    <a:pt x="81791" y="91291"/>
                    <a:pt x="81791" y="88099"/>
                  </a:cubicBezTo>
                  <a:close/>
                </a:path>
              </a:pathLst>
            </a:custGeom>
            <a:solidFill>
              <a:srgbClr val="00ABAB"/>
            </a:solidFill>
            <a:ln w="6390" cap="flat">
              <a:noFill/>
              <a:prstDash val="solid"/>
              <a:miter/>
            </a:ln>
          </p:spPr>
          <p:txBody>
            <a:bodyPr rtlCol="0" anchor="ctr"/>
            <a:lstStyle/>
            <a:p>
              <a:endParaRPr lang="en-US"/>
            </a:p>
          </p:txBody>
        </p:sp>
      </p:grpSp>
      <p:grpSp>
        <p:nvGrpSpPr>
          <p:cNvPr id="185" name="Graphic 4">
            <a:extLst>
              <a:ext uri="{FF2B5EF4-FFF2-40B4-BE49-F238E27FC236}">
                <a16:creationId xmlns:a16="http://schemas.microsoft.com/office/drawing/2014/main" id="{C6636743-86B7-2045-963F-12D8B0E5779B}"/>
              </a:ext>
            </a:extLst>
          </p:cNvPr>
          <p:cNvGrpSpPr>
            <a:grpSpLocks noChangeAspect="1"/>
          </p:cNvGrpSpPr>
          <p:nvPr/>
        </p:nvGrpSpPr>
        <p:grpSpPr>
          <a:xfrm>
            <a:off x="4199929" y="3219731"/>
            <a:ext cx="719402" cy="720000"/>
            <a:chOff x="905454" y="2371173"/>
            <a:chExt cx="362309" cy="362610"/>
          </a:xfrm>
          <a:solidFill>
            <a:srgbClr val="007680"/>
          </a:solidFill>
        </p:grpSpPr>
        <p:sp>
          <p:nvSpPr>
            <p:cNvPr id="186" name="Graphic 4">
              <a:extLst>
                <a:ext uri="{FF2B5EF4-FFF2-40B4-BE49-F238E27FC236}">
                  <a16:creationId xmlns:a16="http://schemas.microsoft.com/office/drawing/2014/main" id="{81B133A5-7433-FF49-A611-6177D5D3C8B9}"/>
                </a:ext>
              </a:extLst>
            </p:cNvPr>
            <p:cNvSpPr/>
            <p:nvPr/>
          </p:nvSpPr>
          <p:spPr>
            <a:xfrm>
              <a:off x="1115044" y="2465656"/>
              <a:ext cx="28754" cy="28727"/>
            </a:xfrm>
            <a:custGeom>
              <a:avLst/>
              <a:gdLst>
                <a:gd name="connsiteX0" fmla="*/ 0 w 28754"/>
                <a:gd name="connsiteY0" fmla="*/ 0 h 28727"/>
                <a:gd name="connsiteX1" fmla="*/ 0 w 28754"/>
                <a:gd name="connsiteY1" fmla="*/ 28728 h 28727"/>
                <a:gd name="connsiteX2" fmla="*/ 28755 w 28754"/>
                <a:gd name="connsiteY2" fmla="*/ 28728 h 28727"/>
              </a:gdLst>
              <a:ahLst/>
              <a:cxnLst>
                <a:cxn ang="0">
                  <a:pos x="connsiteX0" y="connsiteY0"/>
                </a:cxn>
                <a:cxn ang="0">
                  <a:pos x="connsiteX1" y="connsiteY1"/>
                </a:cxn>
                <a:cxn ang="0">
                  <a:pos x="connsiteX2" y="connsiteY2"/>
                </a:cxn>
              </a:cxnLst>
              <a:rect l="l" t="t" r="r" b="b"/>
              <a:pathLst>
                <a:path w="28754" h="28727">
                  <a:moveTo>
                    <a:pt x="0" y="0"/>
                  </a:moveTo>
                  <a:lnTo>
                    <a:pt x="0" y="28728"/>
                  </a:lnTo>
                  <a:lnTo>
                    <a:pt x="28755" y="28728"/>
                  </a:lnTo>
                  <a:close/>
                </a:path>
              </a:pathLst>
            </a:custGeom>
            <a:solidFill>
              <a:srgbClr val="007680"/>
            </a:solidFill>
            <a:ln w="6390" cap="flat">
              <a:noFill/>
              <a:prstDash val="solid"/>
              <a:miter/>
            </a:ln>
          </p:spPr>
          <p:txBody>
            <a:bodyPr rtlCol="0" anchor="ctr"/>
            <a:lstStyle/>
            <a:p>
              <a:endParaRPr lang="en-US"/>
            </a:p>
          </p:txBody>
        </p:sp>
        <p:sp>
          <p:nvSpPr>
            <p:cNvPr id="187" name="Graphic 4">
              <a:extLst>
                <a:ext uri="{FF2B5EF4-FFF2-40B4-BE49-F238E27FC236}">
                  <a16:creationId xmlns:a16="http://schemas.microsoft.com/office/drawing/2014/main" id="{905E2965-1598-894F-A474-9EC9CD2CA725}"/>
                </a:ext>
              </a:extLst>
            </p:cNvPr>
            <p:cNvSpPr/>
            <p:nvPr/>
          </p:nvSpPr>
          <p:spPr>
            <a:xfrm>
              <a:off x="1020472" y="2456080"/>
              <a:ext cx="132910" cy="191519"/>
            </a:xfrm>
            <a:custGeom>
              <a:avLst/>
              <a:gdLst>
                <a:gd name="connsiteX0" fmla="*/ 88181 w 132910"/>
                <a:gd name="connsiteY0" fmla="*/ 51072 h 191519"/>
                <a:gd name="connsiteX1" fmla="*/ 81791 w 132910"/>
                <a:gd name="connsiteY1" fmla="*/ 44688 h 191519"/>
                <a:gd name="connsiteX2" fmla="*/ 81791 w 132910"/>
                <a:gd name="connsiteY2" fmla="*/ 0 h 191519"/>
                <a:gd name="connsiteX3" fmla="*/ 0 w 132910"/>
                <a:gd name="connsiteY3" fmla="*/ 0 h 191519"/>
                <a:gd name="connsiteX4" fmla="*/ 0 w 132910"/>
                <a:gd name="connsiteY4" fmla="*/ 191519 h 191519"/>
                <a:gd name="connsiteX5" fmla="*/ 132911 w 132910"/>
                <a:gd name="connsiteY5" fmla="*/ 191519 h 191519"/>
                <a:gd name="connsiteX6" fmla="*/ 132911 w 132910"/>
                <a:gd name="connsiteY6" fmla="*/ 51072 h 191519"/>
                <a:gd name="connsiteX7" fmla="*/ 88181 w 132910"/>
                <a:gd name="connsiteY7" fmla="*/ 51072 h 191519"/>
                <a:gd name="connsiteX8" fmla="*/ 109907 w 132910"/>
                <a:gd name="connsiteY8" fmla="*/ 174921 h 191519"/>
                <a:gd name="connsiteX9" fmla="*/ 22365 w 132910"/>
                <a:gd name="connsiteY9" fmla="*/ 174921 h 191519"/>
                <a:gd name="connsiteX10" fmla="*/ 15975 w 132910"/>
                <a:gd name="connsiteY10" fmla="*/ 168537 h 191519"/>
                <a:gd name="connsiteX11" fmla="*/ 22365 w 132910"/>
                <a:gd name="connsiteY11" fmla="*/ 162153 h 191519"/>
                <a:gd name="connsiteX12" fmla="*/ 109907 w 132910"/>
                <a:gd name="connsiteY12" fmla="*/ 162153 h 191519"/>
                <a:gd name="connsiteX13" fmla="*/ 116297 w 132910"/>
                <a:gd name="connsiteY13" fmla="*/ 168537 h 191519"/>
                <a:gd name="connsiteX14" fmla="*/ 109907 w 132910"/>
                <a:gd name="connsiteY14" fmla="*/ 174921 h 191519"/>
                <a:gd name="connsiteX15" fmla="*/ 109907 w 132910"/>
                <a:gd name="connsiteY15" fmla="*/ 146193 h 191519"/>
                <a:gd name="connsiteX16" fmla="*/ 22365 w 132910"/>
                <a:gd name="connsiteY16" fmla="*/ 146193 h 191519"/>
                <a:gd name="connsiteX17" fmla="*/ 15975 w 132910"/>
                <a:gd name="connsiteY17" fmla="*/ 139809 h 191519"/>
                <a:gd name="connsiteX18" fmla="*/ 22365 w 132910"/>
                <a:gd name="connsiteY18" fmla="*/ 133425 h 191519"/>
                <a:gd name="connsiteX19" fmla="*/ 109907 w 132910"/>
                <a:gd name="connsiteY19" fmla="*/ 133425 h 191519"/>
                <a:gd name="connsiteX20" fmla="*/ 116297 w 132910"/>
                <a:gd name="connsiteY20" fmla="*/ 139809 h 191519"/>
                <a:gd name="connsiteX21" fmla="*/ 109907 w 132910"/>
                <a:gd name="connsiteY21" fmla="*/ 146193 h 191519"/>
                <a:gd name="connsiteX22" fmla="*/ 109907 w 132910"/>
                <a:gd name="connsiteY22" fmla="*/ 116827 h 191519"/>
                <a:gd name="connsiteX23" fmla="*/ 22365 w 132910"/>
                <a:gd name="connsiteY23" fmla="*/ 116827 h 191519"/>
                <a:gd name="connsiteX24" fmla="*/ 15975 w 132910"/>
                <a:gd name="connsiteY24" fmla="*/ 110443 h 191519"/>
                <a:gd name="connsiteX25" fmla="*/ 22365 w 132910"/>
                <a:gd name="connsiteY25" fmla="*/ 104059 h 191519"/>
                <a:gd name="connsiteX26" fmla="*/ 109907 w 132910"/>
                <a:gd name="connsiteY26" fmla="*/ 104059 h 191519"/>
                <a:gd name="connsiteX27" fmla="*/ 116297 w 132910"/>
                <a:gd name="connsiteY27" fmla="*/ 110443 h 191519"/>
                <a:gd name="connsiteX28" fmla="*/ 109907 w 132910"/>
                <a:gd name="connsiteY28" fmla="*/ 116827 h 191519"/>
                <a:gd name="connsiteX29" fmla="*/ 109907 w 132910"/>
                <a:gd name="connsiteY29" fmla="*/ 88099 h 191519"/>
                <a:gd name="connsiteX30" fmla="*/ 22365 w 132910"/>
                <a:gd name="connsiteY30" fmla="*/ 88099 h 191519"/>
                <a:gd name="connsiteX31" fmla="*/ 15975 w 132910"/>
                <a:gd name="connsiteY31" fmla="*/ 81715 h 191519"/>
                <a:gd name="connsiteX32" fmla="*/ 22365 w 132910"/>
                <a:gd name="connsiteY32" fmla="*/ 75331 h 191519"/>
                <a:gd name="connsiteX33" fmla="*/ 109907 w 132910"/>
                <a:gd name="connsiteY33" fmla="*/ 75331 h 191519"/>
                <a:gd name="connsiteX34" fmla="*/ 116297 w 132910"/>
                <a:gd name="connsiteY34" fmla="*/ 81715 h 191519"/>
                <a:gd name="connsiteX35" fmla="*/ 109907 w 132910"/>
                <a:gd name="connsiteY35" fmla="*/ 88099 h 19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2910" h="191519">
                  <a:moveTo>
                    <a:pt x="88181" y="51072"/>
                  </a:moveTo>
                  <a:cubicBezTo>
                    <a:pt x="84347" y="51072"/>
                    <a:pt x="81791" y="48518"/>
                    <a:pt x="81791" y="44688"/>
                  </a:cubicBezTo>
                  <a:lnTo>
                    <a:pt x="81791" y="0"/>
                  </a:lnTo>
                  <a:lnTo>
                    <a:pt x="0" y="0"/>
                  </a:lnTo>
                  <a:lnTo>
                    <a:pt x="0" y="191519"/>
                  </a:lnTo>
                  <a:lnTo>
                    <a:pt x="132911" y="191519"/>
                  </a:lnTo>
                  <a:lnTo>
                    <a:pt x="132911" y="51072"/>
                  </a:lnTo>
                  <a:lnTo>
                    <a:pt x="88181" y="51072"/>
                  </a:lnTo>
                  <a:close/>
                  <a:moveTo>
                    <a:pt x="109907" y="174921"/>
                  </a:moveTo>
                  <a:lnTo>
                    <a:pt x="22365" y="174921"/>
                  </a:lnTo>
                  <a:cubicBezTo>
                    <a:pt x="18531" y="174921"/>
                    <a:pt x="15975" y="172368"/>
                    <a:pt x="15975" y="168537"/>
                  </a:cubicBezTo>
                  <a:cubicBezTo>
                    <a:pt x="15975" y="164707"/>
                    <a:pt x="18531" y="162153"/>
                    <a:pt x="22365" y="162153"/>
                  </a:cubicBezTo>
                  <a:lnTo>
                    <a:pt x="109907" y="162153"/>
                  </a:lnTo>
                  <a:cubicBezTo>
                    <a:pt x="113741" y="162153"/>
                    <a:pt x="116297" y="164707"/>
                    <a:pt x="116297" y="168537"/>
                  </a:cubicBezTo>
                  <a:cubicBezTo>
                    <a:pt x="116297" y="172368"/>
                    <a:pt x="113102" y="174921"/>
                    <a:pt x="109907" y="174921"/>
                  </a:cubicBezTo>
                  <a:close/>
                  <a:moveTo>
                    <a:pt x="109907" y="146193"/>
                  </a:moveTo>
                  <a:lnTo>
                    <a:pt x="22365" y="146193"/>
                  </a:lnTo>
                  <a:cubicBezTo>
                    <a:pt x="18531" y="146193"/>
                    <a:pt x="15975" y="143640"/>
                    <a:pt x="15975" y="139809"/>
                  </a:cubicBezTo>
                  <a:cubicBezTo>
                    <a:pt x="15975" y="135979"/>
                    <a:pt x="18531" y="133425"/>
                    <a:pt x="22365" y="133425"/>
                  </a:cubicBezTo>
                  <a:lnTo>
                    <a:pt x="109907" y="133425"/>
                  </a:lnTo>
                  <a:cubicBezTo>
                    <a:pt x="113741" y="133425"/>
                    <a:pt x="116297" y="135979"/>
                    <a:pt x="116297" y="139809"/>
                  </a:cubicBezTo>
                  <a:cubicBezTo>
                    <a:pt x="116297" y="143640"/>
                    <a:pt x="113102" y="146193"/>
                    <a:pt x="109907" y="146193"/>
                  </a:cubicBezTo>
                  <a:close/>
                  <a:moveTo>
                    <a:pt x="109907" y="116827"/>
                  </a:moveTo>
                  <a:lnTo>
                    <a:pt x="22365" y="116827"/>
                  </a:lnTo>
                  <a:cubicBezTo>
                    <a:pt x="18531" y="116827"/>
                    <a:pt x="15975" y="114273"/>
                    <a:pt x="15975" y="110443"/>
                  </a:cubicBezTo>
                  <a:cubicBezTo>
                    <a:pt x="15975" y="106612"/>
                    <a:pt x="18531" y="104059"/>
                    <a:pt x="22365" y="104059"/>
                  </a:cubicBezTo>
                  <a:lnTo>
                    <a:pt x="109907" y="104059"/>
                  </a:lnTo>
                  <a:cubicBezTo>
                    <a:pt x="113741" y="104059"/>
                    <a:pt x="116297" y="106612"/>
                    <a:pt x="116297" y="110443"/>
                  </a:cubicBezTo>
                  <a:cubicBezTo>
                    <a:pt x="116297" y="114273"/>
                    <a:pt x="113102" y="116827"/>
                    <a:pt x="109907" y="116827"/>
                  </a:cubicBezTo>
                  <a:close/>
                  <a:moveTo>
                    <a:pt x="109907" y="88099"/>
                  </a:moveTo>
                  <a:lnTo>
                    <a:pt x="22365" y="88099"/>
                  </a:lnTo>
                  <a:cubicBezTo>
                    <a:pt x="18531" y="88099"/>
                    <a:pt x="15975" y="85545"/>
                    <a:pt x="15975" y="81715"/>
                  </a:cubicBezTo>
                  <a:cubicBezTo>
                    <a:pt x="15975" y="77884"/>
                    <a:pt x="18531" y="75331"/>
                    <a:pt x="22365" y="75331"/>
                  </a:cubicBezTo>
                  <a:lnTo>
                    <a:pt x="109907" y="75331"/>
                  </a:lnTo>
                  <a:cubicBezTo>
                    <a:pt x="113741" y="75331"/>
                    <a:pt x="116297" y="77884"/>
                    <a:pt x="116297" y="81715"/>
                  </a:cubicBezTo>
                  <a:cubicBezTo>
                    <a:pt x="116297" y="85545"/>
                    <a:pt x="113102" y="88099"/>
                    <a:pt x="109907" y="88099"/>
                  </a:cubicBezTo>
                  <a:close/>
                </a:path>
              </a:pathLst>
            </a:custGeom>
            <a:solidFill>
              <a:srgbClr val="007680"/>
            </a:solidFill>
            <a:ln w="6390" cap="flat">
              <a:noFill/>
              <a:prstDash val="solid"/>
              <a:miter/>
            </a:ln>
          </p:spPr>
          <p:txBody>
            <a:bodyPr rtlCol="0" anchor="ctr"/>
            <a:lstStyle/>
            <a:p>
              <a:endParaRPr lang="en-US"/>
            </a:p>
          </p:txBody>
        </p:sp>
        <p:sp>
          <p:nvSpPr>
            <p:cNvPr id="188" name="Graphic 4">
              <a:extLst>
                <a:ext uri="{FF2B5EF4-FFF2-40B4-BE49-F238E27FC236}">
                  <a16:creationId xmlns:a16="http://schemas.microsoft.com/office/drawing/2014/main" id="{BEC4F04F-6DFC-5549-B86E-90E3FE2E149F}"/>
                </a:ext>
              </a:extLst>
            </p:cNvPr>
            <p:cNvSpPr/>
            <p:nvPr/>
          </p:nvSpPr>
          <p:spPr>
            <a:xfrm>
              <a:off x="9054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260070 w 362309"/>
                <a:gd name="connsiteY6" fmla="*/ 282811 h 362610"/>
                <a:gd name="connsiteX7" fmla="*/ 253680 w 362309"/>
                <a:gd name="connsiteY7" fmla="*/ 289195 h 362610"/>
                <a:gd name="connsiteX8" fmla="*/ 107990 w 362309"/>
                <a:gd name="connsiteY8" fmla="*/ 289195 h 362610"/>
                <a:gd name="connsiteX9" fmla="*/ 101600 w 362309"/>
                <a:gd name="connsiteY9" fmla="*/ 282811 h 362610"/>
                <a:gd name="connsiteX10" fmla="*/ 101600 w 362309"/>
                <a:gd name="connsiteY10" fmla="*/ 79162 h 362610"/>
                <a:gd name="connsiteX11" fmla="*/ 107990 w 362309"/>
                <a:gd name="connsiteY11" fmla="*/ 72778 h 362610"/>
                <a:gd name="connsiteX12" fmla="*/ 202561 w 362309"/>
                <a:gd name="connsiteY12" fmla="*/ 72778 h 362610"/>
                <a:gd name="connsiteX13" fmla="*/ 205117 w 362309"/>
                <a:gd name="connsiteY13" fmla="*/ 73416 h 362610"/>
                <a:gd name="connsiteX14" fmla="*/ 207034 w 362309"/>
                <a:gd name="connsiteY14" fmla="*/ 74693 h 362610"/>
                <a:gd name="connsiteX15" fmla="*/ 258154 w 362309"/>
                <a:gd name="connsiteY15" fmla="*/ 125765 h 362610"/>
                <a:gd name="connsiteX16" fmla="*/ 260070 w 362309"/>
                <a:gd name="connsiteY16" fmla="*/ 130233 h 362610"/>
                <a:gd name="connsiteX17" fmla="*/ 260070 w 362309"/>
                <a:gd name="connsiteY17" fmla="*/ 282811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2309" y="81077"/>
                    <a:pt x="281157" y="0"/>
                    <a:pt x="180835" y="0"/>
                  </a:cubicBezTo>
                  <a:cubicBezTo>
                    <a:pt x="180835" y="0"/>
                    <a:pt x="180835" y="0"/>
                    <a:pt x="180835" y="0"/>
                  </a:cubicBezTo>
                  <a:close/>
                  <a:moveTo>
                    <a:pt x="260070" y="282811"/>
                  </a:moveTo>
                  <a:cubicBezTo>
                    <a:pt x="260070" y="286641"/>
                    <a:pt x="257514" y="289195"/>
                    <a:pt x="253680" y="289195"/>
                  </a:cubicBezTo>
                  <a:lnTo>
                    <a:pt x="107990" y="289195"/>
                  </a:lnTo>
                  <a:cubicBezTo>
                    <a:pt x="104156" y="289195"/>
                    <a:pt x="101600" y="286641"/>
                    <a:pt x="101600" y="282811"/>
                  </a:cubicBezTo>
                  <a:lnTo>
                    <a:pt x="101600" y="79162"/>
                  </a:lnTo>
                  <a:cubicBezTo>
                    <a:pt x="101600" y="75331"/>
                    <a:pt x="104156" y="72778"/>
                    <a:pt x="107990" y="72778"/>
                  </a:cubicBezTo>
                  <a:lnTo>
                    <a:pt x="202561" y="72778"/>
                  </a:lnTo>
                  <a:cubicBezTo>
                    <a:pt x="203200" y="72778"/>
                    <a:pt x="204478" y="72778"/>
                    <a:pt x="205117" y="73416"/>
                  </a:cubicBezTo>
                  <a:cubicBezTo>
                    <a:pt x="205756" y="74054"/>
                    <a:pt x="206395" y="74054"/>
                    <a:pt x="207034" y="74693"/>
                  </a:cubicBezTo>
                  <a:lnTo>
                    <a:pt x="258154" y="125765"/>
                  </a:lnTo>
                  <a:cubicBezTo>
                    <a:pt x="259431" y="127041"/>
                    <a:pt x="260070" y="128318"/>
                    <a:pt x="260070" y="130233"/>
                  </a:cubicBezTo>
                  <a:lnTo>
                    <a:pt x="260070" y="282811"/>
                  </a:lnTo>
                  <a:close/>
                </a:path>
              </a:pathLst>
            </a:custGeom>
            <a:solidFill>
              <a:srgbClr val="007680"/>
            </a:solidFill>
            <a:ln w="6390" cap="flat">
              <a:noFill/>
              <a:prstDash val="solid"/>
              <a:miter/>
            </a:ln>
          </p:spPr>
          <p:txBody>
            <a:bodyPr rtlCol="0" anchor="ctr"/>
            <a:lstStyle/>
            <a:p>
              <a:endParaRPr lang="en-US"/>
            </a:p>
          </p:txBody>
        </p:sp>
      </p:grpSp>
      <p:grpSp>
        <p:nvGrpSpPr>
          <p:cNvPr id="189" name="Graphic 4">
            <a:extLst>
              <a:ext uri="{FF2B5EF4-FFF2-40B4-BE49-F238E27FC236}">
                <a16:creationId xmlns:a16="http://schemas.microsoft.com/office/drawing/2014/main" id="{FCBA8FE8-A30B-F34C-9E60-4DC945CCD0EB}"/>
              </a:ext>
            </a:extLst>
          </p:cNvPr>
          <p:cNvGrpSpPr>
            <a:grpSpLocks noChangeAspect="1"/>
          </p:cNvGrpSpPr>
          <p:nvPr/>
        </p:nvGrpSpPr>
        <p:grpSpPr>
          <a:xfrm>
            <a:off x="6523164" y="3253139"/>
            <a:ext cx="720672" cy="720000"/>
            <a:chOff x="6146480" y="918179"/>
            <a:chExt cx="362309" cy="361971"/>
          </a:xfrm>
          <a:solidFill>
            <a:srgbClr val="43B02A"/>
          </a:solidFill>
        </p:grpSpPr>
        <p:sp>
          <p:nvSpPr>
            <p:cNvPr id="190" name="Graphic 4">
              <a:extLst>
                <a:ext uri="{FF2B5EF4-FFF2-40B4-BE49-F238E27FC236}">
                  <a16:creationId xmlns:a16="http://schemas.microsoft.com/office/drawing/2014/main" id="{98AF4E76-6E54-1440-A190-F41B58FBA732}"/>
                </a:ext>
              </a:extLst>
            </p:cNvPr>
            <p:cNvSpPr/>
            <p:nvPr/>
          </p:nvSpPr>
          <p:spPr>
            <a:xfrm>
              <a:off x="6241690" y="1036282"/>
              <a:ext cx="26837" cy="26812"/>
            </a:xfrm>
            <a:custGeom>
              <a:avLst/>
              <a:gdLst>
                <a:gd name="connsiteX0" fmla="*/ 13419 w 26837"/>
                <a:gd name="connsiteY0" fmla="*/ 26813 h 26812"/>
                <a:gd name="connsiteX1" fmla="*/ 26838 w 26837"/>
                <a:gd name="connsiteY1" fmla="*/ 13406 h 26812"/>
                <a:gd name="connsiteX2" fmla="*/ 13419 w 26837"/>
                <a:gd name="connsiteY2" fmla="*/ 0 h 26812"/>
                <a:gd name="connsiteX3" fmla="*/ 0 w 26837"/>
                <a:gd name="connsiteY3" fmla="*/ 13406 h 26812"/>
                <a:gd name="connsiteX4" fmla="*/ 13419 w 26837"/>
                <a:gd name="connsiteY4" fmla="*/ 26813 h 2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7" h="26812">
                  <a:moveTo>
                    <a:pt x="13419" y="26813"/>
                  </a:moveTo>
                  <a:cubicBezTo>
                    <a:pt x="21087" y="26813"/>
                    <a:pt x="26838" y="20429"/>
                    <a:pt x="26838" y="13406"/>
                  </a:cubicBezTo>
                  <a:cubicBezTo>
                    <a:pt x="26838" y="5746"/>
                    <a:pt x="20448" y="0"/>
                    <a:pt x="13419" y="0"/>
                  </a:cubicBezTo>
                  <a:cubicBezTo>
                    <a:pt x="5751" y="0"/>
                    <a:pt x="0" y="6384"/>
                    <a:pt x="0" y="13406"/>
                  </a:cubicBezTo>
                  <a:cubicBezTo>
                    <a:pt x="0" y="20429"/>
                    <a:pt x="5751" y="26813"/>
                    <a:pt x="13419" y="26813"/>
                  </a:cubicBezTo>
                  <a:close/>
                </a:path>
              </a:pathLst>
            </a:custGeom>
            <a:solidFill>
              <a:srgbClr val="43B02A"/>
            </a:solidFill>
            <a:ln w="6390" cap="flat">
              <a:noFill/>
              <a:prstDash val="solid"/>
              <a:miter/>
            </a:ln>
          </p:spPr>
          <p:txBody>
            <a:bodyPr rtlCol="0" anchor="ctr"/>
            <a:lstStyle/>
            <a:p>
              <a:endParaRPr lang="en-US"/>
            </a:p>
          </p:txBody>
        </p:sp>
        <p:sp>
          <p:nvSpPr>
            <p:cNvPr id="191" name="Graphic 4">
              <a:extLst>
                <a:ext uri="{FF2B5EF4-FFF2-40B4-BE49-F238E27FC236}">
                  <a16:creationId xmlns:a16="http://schemas.microsoft.com/office/drawing/2014/main" id="{0E1D175C-E634-BA4C-A017-987A0CD4B212}"/>
                </a:ext>
              </a:extLst>
            </p:cNvPr>
            <p:cNvSpPr/>
            <p:nvPr/>
          </p:nvSpPr>
          <p:spPr>
            <a:xfrm>
              <a:off x="6146480" y="918179"/>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08629 w 362309"/>
                <a:gd name="connsiteY6" fmla="*/ 104697 h 361971"/>
                <a:gd name="connsiteX7" fmla="*/ 134828 w 362309"/>
                <a:gd name="connsiteY7" fmla="*/ 130872 h 361971"/>
                <a:gd name="connsiteX8" fmla="*/ 108629 w 362309"/>
                <a:gd name="connsiteY8" fmla="*/ 157046 h 361971"/>
                <a:gd name="connsiteX9" fmla="*/ 82430 w 362309"/>
                <a:gd name="connsiteY9" fmla="*/ 130872 h 361971"/>
                <a:gd name="connsiteX10" fmla="*/ 108629 w 362309"/>
                <a:gd name="connsiteY10" fmla="*/ 104697 h 361971"/>
                <a:gd name="connsiteX11" fmla="*/ 143774 w 362309"/>
                <a:gd name="connsiteY11" fmla="*/ 263020 h 361971"/>
                <a:gd name="connsiteX12" fmla="*/ 137384 w 362309"/>
                <a:gd name="connsiteY12" fmla="*/ 256636 h 361971"/>
                <a:gd name="connsiteX13" fmla="*/ 137384 w 362309"/>
                <a:gd name="connsiteY13" fmla="*/ 193435 h 361971"/>
                <a:gd name="connsiteX14" fmla="*/ 82430 w 362309"/>
                <a:gd name="connsiteY14" fmla="*/ 191519 h 361971"/>
                <a:gd name="connsiteX15" fmla="*/ 82430 w 362309"/>
                <a:gd name="connsiteY15" fmla="*/ 256636 h 361971"/>
                <a:gd name="connsiteX16" fmla="*/ 76040 w 362309"/>
                <a:gd name="connsiteY16" fmla="*/ 263020 h 361971"/>
                <a:gd name="connsiteX17" fmla="*/ 69650 w 362309"/>
                <a:gd name="connsiteY17" fmla="*/ 256636 h 361971"/>
                <a:gd name="connsiteX18" fmla="*/ 69650 w 362309"/>
                <a:gd name="connsiteY18" fmla="*/ 187689 h 361971"/>
                <a:gd name="connsiteX19" fmla="*/ 72845 w 362309"/>
                <a:gd name="connsiteY19" fmla="*/ 181944 h 361971"/>
                <a:gd name="connsiteX20" fmla="*/ 147607 w 362309"/>
                <a:gd name="connsiteY20" fmla="*/ 184497 h 361971"/>
                <a:gd name="connsiteX21" fmla="*/ 147607 w 362309"/>
                <a:gd name="connsiteY21" fmla="*/ 184497 h 361971"/>
                <a:gd name="connsiteX22" fmla="*/ 147607 w 362309"/>
                <a:gd name="connsiteY22" fmla="*/ 184497 h 361971"/>
                <a:gd name="connsiteX23" fmla="*/ 180196 w 362309"/>
                <a:gd name="connsiteY23" fmla="*/ 209395 h 361971"/>
                <a:gd name="connsiteX24" fmla="*/ 205756 w 362309"/>
                <a:gd name="connsiteY24" fmla="*/ 182582 h 361971"/>
                <a:gd name="connsiteX25" fmla="*/ 214702 w 362309"/>
                <a:gd name="connsiteY25" fmla="*/ 182582 h 361971"/>
                <a:gd name="connsiteX26" fmla="*/ 214702 w 362309"/>
                <a:gd name="connsiteY26" fmla="*/ 191519 h 361971"/>
                <a:gd name="connsiteX27" fmla="*/ 185947 w 362309"/>
                <a:gd name="connsiteY27" fmla="*/ 222801 h 361971"/>
                <a:gd name="connsiteX28" fmla="*/ 181474 w 362309"/>
                <a:gd name="connsiteY28" fmla="*/ 224716 h 361971"/>
                <a:gd name="connsiteX29" fmla="*/ 177640 w 362309"/>
                <a:gd name="connsiteY29" fmla="*/ 223439 h 361971"/>
                <a:gd name="connsiteX30" fmla="*/ 150164 w 362309"/>
                <a:gd name="connsiteY30" fmla="*/ 203011 h 361971"/>
                <a:gd name="connsiteX31" fmla="*/ 150164 w 362309"/>
                <a:gd name="connsiteY31" fmla="*/ 256636 h 361971"/>
                <a:gd name="connsiteX32" fmla="*/ 143774 w 362309"/>
                <a:gd name="connsiteY32" fmla="*/ 263020 h 361971"/>
                <a:gd name="connsiteX33" fmla="*/ 143774 w 362309"/>
                <a:gd name="connsiteY33" fmla="*/ 263020 h 361971"/>
                <a:gd name="connsiteX34" fmla="*/ 292659 w 362309"/>
                <a:gd name="connsiteY34" fmla="*/ 256636 h 361971"/>
                <a:gd name="connsiteX35" fmla="*/ 286269 w 362309"/>
                <a:gd name="connsiteY35" fmla="*/ 263020 h 361971"/>
                <a:gd name="connsiteX36" fmla="*/ 173806 w 362309"/>
                <a:gd name="connsiteY36" fmla="*/ 263020 h 361971"/>
                <a:gd name="connsiteX37" fmla="*/ 167416 w 362309"/>
                <a:gd name="connsiteY37" fmla="*/ 256636 h 361971"/>
                <a:gd name="connsiteX38" fmla="*/ 167416 w 362309"/>
                <a:gd name="connsiteY38" fmla="*/ 241315 h 361971"/>
                <a:gd name="connsiteX39" fmla="*/ 173806 w 362309"/>
                <a:gd name="connsiteY39" fmla="*/ 234931 h 361971"/>
                <a:gd name="connsiteX40" fmla="*/ 180196 w 362309"/>
                <a:gd name="connsiteY40" fmla="*/ 241315 h 361971"/>
                <a:gd name="connsiteX41" fmla="*/ 180196 w 362309"/>
                <a:gd name="connsiteY41" fmla="*/ 250252 h 361971"/>
                <a:gd name="connsiteX42" fmla="*/ 279879 w 362309"/>
                <a:gd name="connsiteY42" fmla="*/ 250252 h 361971"/>
                <a:gd name="connsiteX43" fmla="*/ 279879 w 362309"/>
                <a:gd name="connsiteY43" fmla="*/ 111081 h 361971"/>
                <a:gd name="connsiteX44" fmla="*/ 180196 w 362309"/>
                <a:gd name="connsiteY44" fmla="*/ 111081 h 361971"/>
                <a:gd name="connsiteX45" fmla="*/ 180196 w 362309"/>
                <a:gd name="connsiteY45" fmla="*/ 165345 h 361971"/>
                <a:gd name="connsiteX46" fmla="*/ 173806 w 362309"/>
                <a:gd name="connsiteY46" fmla="*/ 171729 h 361971"/>
                <a:gd name="connsiteX47" fmla="*/ 167416 w 362309"/>
                <a:gd name="connsiteY47" fmla="*/ 165345 h 361971"/>
                <a:gd name="connsiteX48" fmla="*/ 167416 w 362309"/>
                <a:gd name="connsiteY48" fmla="*/ 104697 h 361971"/>
                <a:gd name="connsiteX49" fmla="*/ 173806 w 362309"/>
                <a:gd name="connsiteY49" fmla="*/ 98313 h 361971"/>
                <a:gd name="connsiteX50" fmla="*/ 286269 w 362309"/>
                <a:gd name="connsiteY50" fmla="*/ 98313 h 361971"/>
                <a:gd name="connsiteX51" fmla="*/ 292659 w 362309"/>
                <a:gd name="connsiteY51" fmla="*/ 104697 h 361971"/>
                <a:gd name="connsiteX52" fmla="*/ 292659 w 362309"/>
                <a:gd name="connsiteY52" fmla="*/ 25663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309" y="81077"/>
                    <a:pt x="281157" y="0"/>
                    <a:pt x="181474" y="0"/>
                  </a:cubicBezTo>
                  <a:close/>
                  <a:moveTo>
                    <a:pt x="108629" y="104697"/>
                  </a:moveTo>
                  <a:cubicBezTo>
                    <a:pt x="123326" y="104697"/>
                    <a:pt x="134828" y="116827"/>
                    <a:pt x="134828" y="130872"/>
                  </a:cubicBezTo>
                  <a:cubicBezTo>
                    <a:pt x="134828" y="145555"/>
                    <a:pt x="122686" y="157046"/>
                    <a:pt x="108629" y="157046"/>
                  </a:cubicBezTo>
                  <a:cubicBezTo>
                    <a:pt x="93932" y="157046"/>
                    <a:pt x="82430" y="144916"/>
                    <a:pt x="82430" y="130872"/>
                  </a:cubicBezTo>
                  <a:cubicBezTo>
                    <a:pt x="82430" y="116827"/>
                    <a:pt x="93932" y="104697"/>
                    <a:pt x="108629" y="104697"/>
                  </a:cubicBezTo>
                  <a:close/>
                  <a:moveTo>
                    <a:pt x="143774" y="263020"/>
                  </a:moveTo>
                  <a:cubicBezTo>
                    <a:pt x="139939" y="263020"/>
                    <a:pt x="137384" y="260467"/>
                    <a:pt x="137384" y="256636"/>
                  </a:cubicBezTo>
                  <a:lnTo>
                    <a:pt x="137384" y="193435"/>
                  </a:lnTo>
                  <a:cubicBezTo>
                    <a:pt x="115019" y="180028"/>
                    <a:pt x="91376" y="187689"/>
                    <a:pt x="82430" y="191519"/>
                  </a:cubicBezTo>
                  <a:lnTo>
                    <a:pt x="82430" y="256636"/>
                  </a:lnTo>
                  <a:cubicBezTo>
                    <a:pt x="82430" y="260467"/>
                    <a:pt x="79874" y="263020"/>
                    <a:pt x="76040" y="263020"/>
                  </a:cubicBezTo>
                  <a:cubicBezTo>
                    <a:pt x="72206" y="263020"/>
                    <a:pt x="69650" y="260467"/>
                    <a:pt x="69650" y="256636"/>
                  </a:cubicBezTo>
                  <a:lnTo>
                    <a:pt x="69650" y="187689"/>
                  </a:lnTo>
                  <a:cubicBezTo>
                    <a:pt x="69650" y="185135"/>
                    <a:pt x="70928" y="183220"/>
                    <a:pt x="72845" y="181944"/>
                  </a:cubicBezTo>
                  <a:cubicBezTo>
                    <a:pt x="74123" y="181305"/>
                    <a:pt x="112463" y="161515"/>
                    <a:pt x="147607" y="184497"/>
                  </a:cubicBezTo>
                  <a:lnTo>
                    <a:pt x="147607" y="184497"/>
                  </a:lnTo>
                  <a:lnTo>
                    <a:pt x="147607" y="184497"/>
                  </a:lnTo>
                  <a:lnTo>
                    <a:pt x="180196" y="209395"/>
                  </a:lnTo>
                  <a:lnTo>
                    <a:pt x="205756" y="182582"/>
                  </a:lnTo>
                  <a:cubicBezTo>
                    <a:pt x="208312" y="180028"/>
                    <a:pt x="212146" y="180028"/>
                    <a:pt x="214702" y="182582"/>
                  </a:cubicBezTo>
                  <a:cubicBezTo>
                    <a:pt x="217258" y="185135"/>
                    <a:pt x="217258" y="188966"/>
                    <a:pt x="214702" y="191519"/>
                  </a:cubicBezTo>
                  <a:lnTo>
                    <a:pt x="185947" y="222801"/>
                  </a:lnTo>
                  <a:cubicBezTo>
                    <a:pt x="184669" y="224078"/>
                    <a:pt x="183391" y="224716"/>
                    <a:pt x="181474" y="224716"/>
                  </a:cubicBezTo>
                  <a:cubicBezTo>
                    <a:pt x="180196" y="224716"/>
                    <a:pt x="178918" y="224078"/>
                    <a:pt x="177640" y="223439"/>
                  </a:cubicBezTo>
                  <a:lnTo>
                    <a:pt x="150164" y="203011"/>
                  </a:lnTo>
                  <a:lnTo>
                    <a:pt x="150164" y="256636"/>
                  </a:lnTo>
                  <a:cubicBezTo>
                    <a:pt x="150164" y="260467"/>
                    <a:pt x="146969" y="263020"/>
                    <a:pt x="143774" y="263020"/>
                  </a:cubicBezTo>
                  <a:lnTo>
                    <a:pt x="143774" y="263020"/>
                  </a:lnTo>
                  <a:close/>
                  <a:moveTo>
                    <a:pt x="292659" y="256636"/>
                  </a:moveTo>
                  <a:cubicBezTo>
                    <a:pt x="292659" y="260467"/>
                    <a:pt x="290103" y="263020"/>
                    <a:pt x="286269" y="263020"/>
                  </a:cubicBezTo>
                  <a:lnTo>
                    <a:pt x="173806" y="263020"/>
                  </a:lnTo>
                  <a:cubicBezTo>
                    <a:pt x="169972" y="263020"/>
                    <a:pt x="167416" y="260467"/>
                    <a:pt x="167416" y="256636"/>
                  </a:cubicBezTo>
                  <a:lnTo>
                    <a:pt x="167416" y="241315"/>
                  </a:lnTo>
                  <a:cubicBezTo>
                    <a:pt x="167416" y="237484"/>
                    <a:pt x="169972" y="234931"/>
                    <a:pt x="173806" y="234931"/>
                  </a:cubicBezTo>
                  <a:cubicBezTo>
                    <a:pt x="177640" y="234931"/>
                    <a:pt x="180196" y="237484"/>
                    <a:pt x="180196" y="241315"/>
                  </a:cubicBezTo>
                  <a:lnTo>
                    <a:pt x="180196" y="250252"/>
                  </a:lnTo>
                  <a:lnTo>
                    <a:pt x="279879" y="250252"/>
                  </a:lnTo>
                  <a:lnTo>
                    <a:pt x="279879" y="111081"/>
                  </a:lnTo>
                  <a:lnTo>
                    <a:pt x="180196" y="111081"/>
                  </a:lnTo>
                  <a:lnTo>
                    <a:pt x="180196" y="165345"/>
                  </a:lnTo>
                  <a:cubicBezTo>
                    <a:pt x="180196" y="169176"/>
                    <a:pt x="177640" y="171729"/>
                    <a:pt x="173806" y="171729"/>
                  </a:cubicBezTo>
                  <a:cubicBezTo>
                    <a:pt x="169972" y="171729"/>
                    <a:pt x="167416" y="169176"/>
                    <a:pt x="167416" y="165345"/>
                  </a:cubicBezTo>
                  <a:lnTo>
                    <a:pt x="167416" y="104697"/>
                  </a:lnTo>
                  <a:cubicBezTo>
                    <a:pt x="167416" y="100867"/>
                    <a:pt x="169972" y="98313"/>
                    <a:pt x="173806" y="98313"/>
                  </a:cubicBezTo>
                  <a:lnTo>
                    <a:pt x="286269" y="98313"/>
                  </a:lnTo>
                  <a:cubicBezTo>
                    <a:pt x="290103" y="98313"/>
                    <a:pt x="292659" y="100867"/>
                    <a:pt x="292659" y="104697"/>
                  </a:cubicBezTo>
                  <a:lnTo>
                    <a:pt x="292659" y="256636"/>
                  </a:lnTo>
                  <a:close/>
                </a:path>
              </a:pathLst>
            </a:custGeom>
            <a:solidFill>
              <a:srgbClr val="43B02A"/>
            </a:solidFill>
            <a:ln w="6390" cap="flat">
              <a:noFill/>
              <a:prstDash val="solid"/>
              <a:miter/>
            </a:ln>
          </p:spPr>
          <p:txBody>
            <a:bodyPr rtlCol="0" anchor="ctr"/>
            <a:lstStyle/>
            <a:p>
              <a:endParaRPr lang="en-US"/>
            </a:p>
          </p:txBody>
        </p:sp>
      </p:grpSp>
      <p:grpSp>
        <p:nvGrpSpPr>
          <p:cNvPr id="192" name="Graphic 4">
            <a:extLst>
              <a:ext uri="{FF2B5EF4-FFF2-40B4-BE49-F238E27FC236}">
                <a16:creationId xmlns:a16="http://schemas.microsoft.com/office/drawing/2014/main" id="{733BF5FA-EEA3-C74A-8EBA-604BE814AD14}"/>
              </a:ext>
            </a:extLst>
          </p:cNvPr>
          <p:cNvGrpSpPr>
            <a:grpSpLocks noChangeAspect="1"/>
          </p:cNvGrpSpPr>
          <p:nvPr/>
        </p:nvGrpSpPr>
        <p:grpSpPr>
          <a:xfrm>
            <a:off x="8831580" y="3219731"/>
            <a:ext cx="720680" cy="720000"/>
            <a:chOff x="1952125" y="2855717"/>
            <a:chExt cx="362313" cy="361971"/>
          </a:xfrm>
          <a:solidFill>
            <a:srgbClr val="046A38"/>
          </a:solidFill>
        </p:grpSpPr>
        <p:sp>
          <p:nvSpPr>
            <p:cNvPr id="193" name="Graphic 4">
              <a:extLst>
                <a:ext uri="{FF2B5EF4-FFF2-40B4-BE49-F238E27FC236}">
                  <a16:creationId xmlns:a16="http://schemas.microsoft.com/office/drawing/2014/main" id="{42D94DEF-779F-074C-835F-EAAB5CFCBBD1}"/>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solidFill>
              <a:srgbClr val="046A38"/>
            </a:solidFill>
            <a:ln w="6390" cap="flat">
              <a:noFill/>
              <a:prstDash val="solid"/>
              <a:miter/>
            </a:ln>
          </p:spPr>
          <p:txBody>
            <a:bodyPr rtlCol="0" anchor="ctr"/>
            <a:lstStyle/>
            <a:p>
              <a:endParaRPr lang="en-US"/>
            </a:p>
          </p:txBody>
        </p:sp>
        <p:sp>
          <p:nvSpPr>
            <p:cNvPr id="194" name="Graphic 4">
              <a:extLst>
                <a:ext uri="{FF2B5EF4-FFF2-40B4-BE49-F238E27FC236}">
                  <a16:creationId xmlns:a16="http://schemas.microsoft.com/office/drawing/2014/main" id="{B84503FE-3983-EF4A-81B4-AD471B9B8994}"/>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solidFill>
              <a:srgbClr val="046A38"/>
            </a:solidFill>
            <a:ln w="6390" cap="flat">
              <a:noFill/>
              <a:prstDash val="solid"/>
              <a:miter/>
            </a:ln>
          </p:spPr>
          <p:txBody>
            <a:bodyPr rtlCol="0" anchor="ctr"/>
            <a:lstStyle/>
            <a:p>
              <a:endParaRPr lang="en-US"/>
            </a:p>
          </p:txBody>
        </p:sp>
        <p:sp>
          <p:nvSpPr>
            <p:cNvPr id="195" name="Graphic 4">
              <a:extLst>
                <a:ext uri="{FF2B5EF4-FFF2-40B4-BE49-F238E27FC236}">
                  <a16:creationId xmlns:a16="http://schemas.microsoft.com/office/drawing/2014/main" id="{B6FD764A-97C6-FA4E-A10D-88DA21A8B70A}"/>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solidFill>
              <a:srgbClr val="046A38"/>
            </a:solidFill>
            <a:ln w="6390" cap="flat">
              <a:noFill/>
              <a:prstDash val="solid"/>
              <a:miter/>
            </a:ln>
          </p:spPr>
          <p:txBody>
            <a:bodyPr rtlCol="0" anchor="ctr"/>
            <a:lstStyle/>
            <a:p>
              <a:endParaRPr lang="en-US"/>
            </a:p>
          </p:txBody>
        </p:sp>
        <p:sp>
          <p:nvSpPr>
            <p:cNvPr id="196" name="Graphic 4">
              <a:extLst>
                <a:ext uri="{FF2B5EF4-FFF2-40B4-BE49-F238E27FC236}">
                  <a16:creationId xmlns:a16="http://schemas.microsoft.com/office/drawing/2014/main" id="{EE915418-1C7B-FB49-BF66-B42CE70C6C80}"/>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solidFill>
              <a:srgbClr val="046A38"/>
            </a:solidFill>
            <a:ln w="6390" cap="flat">
              <a:noFill/>
              <a:prstDash val="solid"/>
              <a:miter/>
            </a:ln>
          </p:spPr>
          <p:txBody>
            <a:bodyPr rtlCol="0" anchor="ctr"/>
            <a:lstStyle/>
            <a:p>
              <a:endParaRPr lang="en-US"/>
            </a:p>
          </p:txBody>
        </p:sp>
        <p:sp>
          <p:nvSpPr>
            <p:cNvPr id="197" name="Graphic 4">
              <a:extLst>
                <a:ext uri="{FF2B5EF4-FFF2-40B4-BE49-F238E27FC236}">
                  <a16:creationId xmlns:a16="http://schemas.microsoft.com/office/drawing/2014/main" id="{DAFDBC0D-35E3-A744-B5CE-69D2953BE68A}"/>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solidFill>
              <a:srgbClr val="046A38"/>
            </a:solidFill>
            <a:ln w="6390" cap="flat">
              <a:noFill/>
              <a:prstDash val="solid"/>
              <a:miter/>
            </a:ln>
          </p:spPr>
          <p:txBody>
            <a:bodyPr rtlCol="0" anchor="ctr"/>
            <a:lstStyle/>
            <a:p>
              <a:endParaRPr lang="en-US"/>
            </a:p>
          </p:txBody>
        </p:sp>
        <p:sp>
          <p:nvSpPr>
            <p:cNvPr id="198" name="Graphic 4">
              <a:extLst>
                <a:ext uri="{FF2B5EF4-FFF2-40B4-BE49-F238E27FC236}">
                  <a16:creationId xmlns:a16="http://schemas.microsoft.com/office/drawing/2014/main" id="{D208472A-D174-9E48-B0AF-2716233F4A7B}"/>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solidFill>
              <a:srgbClr val="046A38"/>
            </a:solidFill>
            <a:ln w="6390" cap="flat">
              <a:noFill/>
              <a:prstDash val="solid"/>
              <a:miter/>
            </a:ln>
          </p:spPr>
          <p:txBody>
            <a:bodyPr rtlCol="0" anchor="ctr"/>
            <a:lstStyle/>
            <a:p>
              <a:endParaRPr lang="en-US"/>
            </a:p>
          </p:txBody>
        </p:sp>
        <p:sp>
          <p:nvSpPr>
            <p:cNvPr id="199" name="Graphic 4">
              <a:extLst>
                <a:ext uri="{FF2B5EF4-FFF2-40B4-BE49-F238E27FC236}">
                  <a16:creationId xmlns:a16="http://schemas.microsoft.com/office/drawing/2014/main" id="{BD970F98-5CF2-5A43-907E-A872180CE4A1}"/>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solidFill>
              <a:srgbClr val="046A38"/>
            </a:solidFill>
            <a:ln w="6390" cap="flat">
              <a:noFill/>
              <a:prstDash val="solid"/>
              <a:miter/>
            </a:ln>
          </p:spPr>
          <p:txBody>
            <a:bodyPr rtlCol="0" anchor="ctr"/>
            <a:lstStyle/>
            <a:p>
              <a:endParaRPr lang="en-US"/>
            </a:p>
          </p:txBody>
        </p:sp>
      </p:grpSp>
      <p:sp>
        <p:nvSpPr>
          <p:cNvPr id="200" name="TextBox 199"/>
          <p:cNvSpPr txBox="1"/>
          <p:nvPr/>
        </p:nvSpPr>
        <p:spPr>
          <a:xfrm>
            <a:off x="1234497" y="4107557"/>
            <a:ext cx="2130250" cy="523220"/>
          </a:xfrm>
          <a:prstGeom prst="rect">
            <a:avLst/>
          </a:prstGeom>
          <a:solidFill>
            <a:schemeClr val="accent4">
              <a:lumMod val="20000"/>
              <a:lumOff val="80000"/>
            </a:schemeClr>
          </a:solidFill>
        </p:spPr>
        <p:txBody>
          <a:bodyPr wrap="square" rtlCol="0">
            <a:spAutoFit/>
          </a:bodyPr>
          <a:lstStyle/>
          <a:p>
            <a:pPr algn="ctr"/>
            <a:r>
              <a:rPr lang="sl-SI" sz="1400" dirty="0"/>
              <a:t>Predstavitev rezultatov Diagnostične faze</a:t>
            </a:r>
            <a:endParaRPr lang="en-US" sz="1400" dirty="0"/>
          </a:p>
        </p:txBody>
      </p:sp>
      <p:sp>
        <p:nvSpPr>
          <p:cNvPr id="201" name="TextBox 200"/>
          <p:cNvSpPr txBox="1"/>
          <p:nvPr/>
        </p:nvSpPr>
        <p:spPr>
          <a:xfrm>
            <a:off x="3390540" y="2450979"/>
            <a:ext cx="2338181" cy="523220"/>
          </a:xfrm>
          <a:prstGeom prst="rect">
            <a:avLst/>
          </a:prstGeom>
          <a:solidFill>
            <a:schemeClr val="accent2">
              <a:lumMod val="20000"/>
              <a:lumOff val="80000"/>
            </a:schemeClr>
          </a:solidFill>
        </p:spPr>
        <p:txBody>
          <a:bodyPr wrap="square" rtlCol="0">
            <a:spAutoFit/>
          </a:bodyPr>
          <a:lstStyle/>
          <a:p>
            <a:pPr algn="ctr"/>
            <a:r>
              <a:rPr lang="sl-SI" sz="1400" dirty="0"/>
              <a:t>Usklajevanje in potrditev Diagnostičnega poročila</a:t>
            </a:r>
            <a:endParaRPr lang="en-US" sz="1400" dirty="0"/>
          </a:p>
        </p:txBody>
      </p:sp>
      <p:sp>
        <p:nvSpPr>
          <p:cNvPr id="202" name="TextBox 201"/>
          <p:cNvSpPr txBox="1"/>
          <p:nvPr/>
        </p:nvSpPr>
        <p:spPr>
          <a:xfrm>
            <a:off x="5093667" y="4208059"/>
            <a:ext cx="2663985" cy="523220"/>
          </a:xfrm>
          <a:prstGeom prst="rect">
            <a:avLst/>
          </a:prstGeom>
          <a:solidFill>
            <a:schemeClr val="accent1">
              <a:lumMod val="20000"/>
              <a:lumOff val="80000"/>
            </a:schemeClr>
          </a:solidFill>
        </p:spPr>
        <p:txBody>
          <a:bodyPr wrap="square" rtlCol="0">
            <a:spAutoFit/>
          </a:bodyPr>
          <a:lstStyle/>
          <a:p>
            <a:pPr algn="ctr"/>
            <a:r>
              <a:rPr lang="sl-SI" sz="1400" dirty="0">
                <a:solidFill>
                  <a:schemeClr val="tx2"/>
                </a:solidFill>
              </a:rPr>
              <a:t>Izvedba strateške delavnice z mednarodnimi strokovnjaki</a:t>
            </a:r>
            <a:endParaRPr lang="en-US" sz="1400" dirty="0">
              <a:solidFill>
                <a:schemeClr val="tx2"/>
              </a:solidFill>
            </a:endParaRPr>
          </a:p>
        </p:txBody>
      </p:sp>
      <p:sp>
        <p:nvSpPr>
          <p:cNvPr id="203" name="TextBox 202"/>
          <p:cNvSpPr txBox="1"/>
          <p:nvPr/>
        </p:nvSpPr>
        <p:spPr>
          <a:xfrm>
            <a:off x="7914228" y="2481661"/>
            <a:ext cx="2555384" cy="523220"/>
          </a:xfrm>
          <a:prstGeom prst="rect">
            <a:avLst/>
          </a:prstGeom>
          <a:solidFill>
            <a:schemeClr val="accent4">
              <a:lumMod val="60000"/>
              <a:lumOff val="40000"/>
            </a:schemeClr>
          </a:solidFill>
        </p:spPr>
        <p:txBody>
          <a:bodyPr wrap="square" rtlCol="0">
            <a:spAutoFit/>
          </a:bodyPr>
          <a:lstStyle/>
          <a:p>
            <a:pPr algn="ctr"/>
            <a:r>
              <a:rPr lang="sl-SI" sz="1400" dirty="0"/>
              <a:t>Priprava osnutka strateških iniciativ</a:t>
            </a:r>
            <a:endParaRPr lang="en-US" sz="1400" dirty="0"/>
          </a:p>
        </p:txBody>
      </p:sp>
      <p:cxnSp>
        <p:nvCxnSpPr>
          <p:cNvPr id="205" name="Straight Connector 204"/>
          <p:cNvCxnSpPr>
            <a:stCxn id="183" idx="2"/>
            <a:endCxn id="200" idx="0"/>
          </p:cNvCxnSpPr>
          <p:nvPr/>
        </p:nvCxnSpPr>
        <p:spPr>
          <a:xfrm>
            <a:off x="2299622" y="3892862"/>
            <a:ext cx="0" cy="21469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a:stCxn id="188" idx="0"/>
            <a:endCxn id="201" idx="2"/>
          </p:cNvCxnSpPr>
          <p:nvPr/>
        </p:nvCxnSpPr>
        <p:spPr>
          <a:xfrm flipV="1">
            <a:off x="4558996" y="2974199"/>
            <a:ext cx="635" cy="245532"/>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a:cxnSpLocks/>
            <a:stCxn id="191" idx="2"/>
          </p:cNvCxnSpPr>
          <p:nvPr/>
        </p:nvCxnSpPr>
        <p:spPr>
          <a:xfrm flipH="1">
            <a:off x="6882863" y="3973141"/>
            <a:ext cx="1" cy="19386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a:stCxn id="203" idx="2"/>
            <a:endCxn id="198" idx="0"/>
          </p:cNvCxnSpPr>
          <p:nvPr/>
        </p:nvCxnSpPr>
        <p:spPr>
          <a:xfrm>
            <a:off x="9191920" y="3004881"/>
            <a:ext cx="632" cy="21485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12" name="Right Arrow 211"/>
          <p:cNvSpPr/>
          <p:nvPr/>
        </p:nvSpPr>
        <p:spPr>
          <a:xfrm>
            <a:off x="469901" y="6109331"/>
            <a:ext cx="11135946" cy="381837"/>
          </a:xfrm>
          <a:prstGeom prst="rightArrow">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TextBox 212"/>
          <p:cNvSpPr txBox="1"/>
          <p:nvPr/>
        </p:nvSpPr>
        <p:spPr>
          <a:xfrm>
            <a:off x="8450785" y="6161749"/>
            <a:ext cx="1467060" cy="276999"/>
          </a:xfrm>
          <a:prstGeom prst="rect">
            <a:avLst/>
          </a:prstGeom>
          <a:noFill/>
        </p:spPr>
        <p:txBody>
          <a:bodyPr wrap="square" rtlCol="0">
            <a:spAutoFit/>
          </a:bodyPr>
          <a:lstStyle/>
          <a:p>
            <a:pPr algn="ctr"/>
            <a:r>
              <a:rPr lang="sl-SI" sz="1200" dirty="0"/>
              <a:t>December 2022</a:t>
            </a:r>
            <a:endParaRPr lang="en-US" sz="1200" dirty="0"/>
          </a:p>
        </p:txBody>
      </p:sp>
      <p:sp>
        <p:nvSpPr>
          <p:cNvPr id="214" name="TextBox 213"/>
          <p:cNvSpPr txBox="1"/>
          <p:nvPr/>
        </p:nvSpPr>
        <p:spPr>
          <a:xfrm>
            <a:off x="433846" y="6161749"/>
            <a:ext cx="1467060" cy="276999"/>
          </a:xfrm>
          <a:prstGeom prst="rect">
            <a:avLst/>
          </a:prstGeom>
          <a:noFill/>
        </p:spPr>
        <p:txBody>
          <a:bodyPr wrap="square" rtlCol="0">
            <a:spAutoFit/>
          </a:bodyPr>
          <a:lstStyle/>
          <a:p>
            <a:pPr algn="ctr"/>
            <a:r>
              <a:rPr lang="sl-SI" sz="1200" dirty="0"/>
              <a:t>September 2022</a:t>
            </a:r>
            <a:endParaRPr lang="en-US" sz="1200" dirty="0"/>
          </a:p>
        </p:txBody>
      </p:sp>
      <p:sp>
        <p:nvSpPr>
          <p:cNvPr id="215" name="TextBox 214"/>
          <p:cNvSpPr txBox="1"/>
          <p:nvPr/>
        </p:nvSpPr>
        <p:spPr>
          <a:xfrm>
            <a:off x="1234497" y="4664004"/>
            <a:ext cx="2130250" cy="1015663"/>
          </a:xfrm>
          <a:prstGeom prst="rect">
            <a:avLst/>
          </a:prstGeom>
          <a:noFill/>
        </p:spPr>
        <p:txBody>
          <a:bodyPr wrap="square" rtlCol="0">
            <a:spAutoFit/>
          </a:bodyPr>
          <a:lstStyle/>
          <a:p>
            <a:pPr algn="ctr"/>
            <a:r>
              <a:rPr lang="sl-SI" sz="1200" dirty="0"/>
              <a:t>Predstavitev rezultatov vprašalnikov za potrošnike, trgovce in banke ter analize dnevnika plačil ključnim deležnikom  projekta</a:t>
            </a:r>
            <a:endParaRPr lang="en-US" sz="1200" dirty="0"/>
          </a:p>
        </p:txBody>
      </p:sp>
      <p:sp>
        <p:nvSpPr>
          <p:cNvPr id="216" name="TextBox 215"/>
          <p:cNvSpPr txBox="1"/>
          <p:nvPr/>
        </p:nvSpPr>
        <p:spPr>
          <a:xfrm>
            <a:off x="3390541" y="1408757"/>
            <a:ext cx="2338180" cy="1015663"/>
          </a:xfrm>
          <a:prstGeom prst="rect">
            <a:avLst/>
          </a:prstGeom>
          <a:noFill/>
        </p:spPr>
        <p:txBody>
          <a:bodyPr wrap="square" rtlCol="0">
            <a:spAutoFit/>
          </a:bodyPr>
          <a:lstStyle/>
          <a:p>
            <a:pPr algn="ctr"/>
            <a:r>
              <a:rPr lang="sl-SI" sz="1200" dirty="0"/>
              <a:t>Usklajevanje in potrditev vsebine Diagnostičnega poročila, ki služi kot osnova za pripravo Nacionalne strategije za plačila</a:t>
            </a:r>
            <a:endParaRPr lang="en-US" sz="1200" dirty="0"/>
          </a:p>
        </p:txBody>
      </p:sp>
      <p:sp>
        <p:nvSpPr>
          <p:cNvPr id="217" name="TextBox 216"/>
          <p:cNvSpPr txBox="1"/>
          <p:nvPr/>
        </p:nvSpPr>
        <p:spPr>
          <a:xfrm>
            <a:off x="5029504" y="4768635"/>
            <a:ext cx="2824759" cy="1015663"/>
          </a:xfrm>
          <a:prstGeom prst="rect">
            <a:avLst/>
          </a:prstGeom>
          <a:noFill/>
        </p:spPr>
        <p:txBody>
          <a:bodyPr wrap="square" rtlCol="0">
            <a:spAutoFit/>
          </a:bodyPr>
          <a:lstStyle/>
          <a:p>
            <a:pPr algn="ctr"/>
            <a:r>
              <a:rPr lang="sl-SI" sz="1200" dirty="0"/>
              <a:t>Izvedba strateške delavnice, kjer so </a:t>
            </a:r>
            <a:r>
              <a:rPr lang="sl-SI" sz="1200" dirty="0" err="1"/>
              <a:t>Deloitte</a:t>
            </a:r>
            <a:r>
              <a:rPr lang="sl-SI" sz="1200" dirty="0"/>
              <a:t> mednarodni strokovnjaki predstavili razvoj trga plačil v izbranih državah in posamezne ukrepe na omenjenih trgih</a:t>
            </a:r>
            <a:endParaRPr lang="en-US" sz="1200" dirty="0"/>
          </a:p>
        </p:txBody>
      </p:sp>
      <p:sp>
        <p:nvSpPr>
          <p:cNvPr id="218" name="TextBox 217"/>
          <p:cNvSpPr txBox="1"/>
          <p:nvPr/>
        </p:nvSpPr>
        <p:spPr>
          <a:xfrm>
            <a:off x="7905962" y="1757753"/>
            <a:ext cx="2555384" cy="646331"/>
          </a:xfrm>
          <a:prstGeom prst="rect">
            <a:avLst/>
          </a:prstGeom>
          <a:noFill/>
        </p:spPr>
        <p:txBody>
          <a:bodyPr wrap="square" rtlCol="0">
            <a:spAutoFit/>
          </a:bodyPr>
          <a:lstStyle/>
          <a:p>
            <a:pPr algn="ctr"/>
            <a:r>
              <a:rPr lang="sl-SI" sz="1200" dirty="0">
                <a:solidFill>
                  <a:schemeClr val="tx2"/>
                </a:solidFill>
              </a:rPr>
              <a:t>Priprava strateških iniciativ za doseganje ciljev Nacionalne strategije za plačila 2023-2027</a:t>
            </a:r>
            <a:endParaRPr lang="en-US" sz="1200" dirty="0">
              <a:solidFill>
                <a:schemeClr val="tx2"/>
              </a:solidFill>
            </a:endParaRPr>
          </a:p>
        </p:txBody>
      </p:sp>
      <p:grpSp>
        <p:nvGrpSpPr>
          <p:cNvPr id="45" name="Graphic 4">
            <a:extLst>
              <a:ext uri="{FF2B5EF4-FFF2-40B4-BE49-F238E27FC236}">
                <a16:creationId xmlns:a16="http://schemas.microsoft.com/office/drawing/2014/main" id="{668EF795-5847-8D40-B618-F0AD2D9CCA04}"/>
              </a:ext>
            </a:extLst>
          </p:cNvPr>
          <p:cNvGrpSpPr>
            <a:grpSpLocks noChangeAspect="1"/>
          </p:cNvGrpSpPr>
          <p:nvPr/>
        </p:nvGrpSpPr>
        <p:grpSpPr>
          <a:xfrm>
            <a:off x="1662203" y="5837639"/>
            <a:ext cx="288272" cy="288000"/>
            <a:chOff x="2559808" y="4308712"/>
            <a:chExt cx="362313" cy="361971"/>
          </a:xfrm>
          <a:solidFill>
            <a:srgbClr val="046A38"/>
          </a:solidFill>
        </p:grpSpPr>
        <p:sp>
          <p:nvSpPr>
            <p:cNvPr id="46" name="Graphic 4">
              <a:extLst>
                <a:ext uri="{FF2B5EF4-FFF2-40B4-BE49-F238E27FC236}">
                  <a16:creationId xmlns:a16="http://schemas.microsoft.com/office/drawing/2014/main" id="{0540CE45-BD28-6245-95F5-AEFA81FB58F9}"/>
                </a:ext>
              </a:extLst>
            </p:cNvPr>
            <p:cNvSpPr/>
            <p:nvPr/>
          </p:nvSpPr>
          <p:spPr>
            <a:xfrm>
              <a:off x="2559808" y="4308712"/>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29 w 362313"/>
                <a:gd name="connsiteY10" fmla="*/ 180667 h 361971"/>
                <a:gd name="connsiteX11" fmla="*/ 349529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solidFill>
              <a:srgbClr val="046A38"/>
            </a:solid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824FB28C-219B-A742-AB87-595AC5240D59}"/>
                </a:ext>
              </a:extLst>
            </p:cNvPr>
            <p:cNvSpPr/>
            <p:nvPr/>
          </p:nvSpPr>
          <p:spPr>
            <a:xfrm>
              <a:off x="2637127" y="4410855"/>
              <a:ext cx="208311" cy="157684"/>
            </a:xfrm>
            <a:custGeom>
              <a:avLst/>
              <a:gdLst>
                <a:gd name="connsiteX0" fmla="*/ 197449 w 208311"/>
                <a:gd name="connsiteY0" fmla="*/ 1915 h 157684"/>
                <a:gd name="connsiteX1" fmla="*/ 56870 w 208311"/>
                <a:gd name="connsiteY1" fmla="*/ 142363 h 157684"/>
                <a:gd name="connsiteX2" fmla="*/ 10863 w 208311"/>
                <a:gd name="connsiteY2" fmla="*/ 96398 h 157684"/>
                <a:gd name="connsiteX3" fmla="*/ 1917 w 208311"/>
                <a:gd name="connsiteY3" fmla="*/ 96398 h 157684"/>
                <a:gd name="connsiteX4" fmla="*/ 1917 w 208311"/>
                <a:gd name="connsiteY4" fmla="*/ 105336 h 157684"/>
                <a:gd name="connsiteX5" fmla="*/ 1917 w 208311"/>
                <a:gd name="connsiteY5" fmla="*/ 105336 h 157684"/>
                <a:gd name="connsiteX6" fmla="*/ 52397 w 208311"/>
                <a:gd name="connsiteY6" fmla="*/ 155769 h 157684"/>
                <a:gd name="connsiteX7" fmla="*/ 56870 w 208311"/>
                <a:gd name="connsiteY7" fmla="*/ 157684 h 157684"/>
                <a:gd name="connsiteX8" fmla="*/ 61343 w 208311"/>
                <a:gd name="connsiteY8" fmla="*/ 155769 h 157684"/>
                <a:gd name="connsiteX9" fmla="*/ 206395 w 208311"/>
                <a:gd name="connsiteY9" fmla="*/ 10853 h 157684"/>
                <a:gd name="connsiteX10" fmla="*/ 206395 w 208311"/>
                <a:gd name="connsiteY10" fmla="*/ 1915 h 157684"/>
                <a:gd name="connsiteX11" fmla="*/ 197449 w 208311"/>
                <a:gd name="connsiteY11" fmla="*/ 1915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311" h="157684">
                  <a:moveTo>
                    <a:pt x="197449" y="1915"/>
                  </a:moveTo>
                  <a:lnTo>
                    <a:pt x="56870" y="142363"/>
                  </a:lnTo>
                  <a:lnTo>
                    <a:pt x="10863" y="96398"/>
                  </a:lnTo>
                  <a:cubicBezTo>
                    <a:pt x="8307" y="93845"/>
                    <a:pt x="4473" y="93845"/>
                    <a:pt x="1917" y="96398"/>
                  </a:cubicBezTo>
                  <a:cubicBezTo>
                    <a:pt x="-639" y="98952"/>
                    <a:pt x="-639" y="102782"/>
                    <a:pt x="1917" y="105336"/>
                  </a:cubicBezTo>
                  <a:lnTo>
                    <a:pt x="1917" y="105336"/>
                  </a:lnTo>
                  <a:lnTo>
                    <a:pt x="52397" y="155769"/>
                  </a:lnTo>
                  <a:cubicBezTo>
                    <a:pt x="53675" y="157046"/>
                    <a:pt x="54953" y="157684"/>
                    <a:pt x="56870" y="157684"/>
                  </a:cubicBezTo>
                  <a:cubicBezTo>
                    <a:pt x="58787" y="157684"/>
                    <a:pt x="60065" y="157046"/>
                    <a:pt x="61343" y="155769"/>
                  </a:cubicBezTo>
                  <a:lnTo>
                    <a:pt x="206395" y="10853"/>
                  </a:lnTo>
                  <a:cubicBezTo>
                    <a:pt x="208951" y="8299"/>
                    <a:pt x="208951" y="4469"/>
                    <a:pt x="206395" y="1915"/>
                  </a:cubicBezTo>
                  <a:cubicBezTo>
                    <a:pt x="204478" y="-638"/>
                    <a:pt x="200005" y="-638"/>
                    <a:pt x="197449" y="1915"/>
                  </a:cubicBezTo>
                  <a:close/>
                </a:path>
              </a:pathLst>
            </a:custGeom>
            <a:solidFill>
              <a:srgbClr val="046A38"/>
            </a:solidFill>
            <a:ln w="6390" cap="flat">
              <a:noFill/>
              <a:prstDash val="solid"/>
              <a:miter/>
            </a:ln>
          </p:spPr>
          <p:txBody>
            <a:bodyPr rtlCol="0" anchor="ctr"/>
            <a:lstStyle/>
            <a:p>
              <a:endParaRPr lang="en-US"/>
            </a:p>
          </p:txBody>
        </p:sp>
      </p:grpSp>
      <p:sp>
        <p:nvSpPr>
          <p:cNvPr id="6" name="TextBox 5"/>
          <p:cNvSpPr txBox="1"/>
          <p:nvPr/>
        </p:nvSpPr>
        <p:spPr>
          <a:xfrm>
            <a:off x="2046654" y="5837639"/>
            <a:ext cx="1131078" cy="276999"/>
          </a:xfrm>
          <a:prstGeom prst="rect">
            <a:avLst/>
          </a:prstGeom>
          <a:noFill/>
        </p:spPr>
        <p:txBody>
          <a:bodyPr wrap="square" rtlCol="0">
            <a:spAutoFit/>
          </a:bodyPr>
          <a:lstStyle/>
          <a:p>
            <a:r>
              <a:rPr lang="sl-SI" sz="1200" dirty="0"/>
              <a:t>Zaključeno</a:t>
            </a:r>
            <a:endParaRPr lang="en-US" sz="1200" dirty="0"/>
          </a:p>
        </p:txBody>
      </p:sp>
      <p:grpSp>
        <p:nvGrpSpPr>
          <p:cNvPr id="49" name="Graphic 4">
            <a:extLst>
              <a:ext uri="{FF2B5EF4-FFF2-40B4-BE49-F238E27FC236}">
                <a16:creationId xmlns:a16="http://schemas.microsoft.com/office/drawing/2014/main" id="{668EF795-5847-8D40-B618-F0AD2D9CCA04}"/>
              </a:ext>
            </a:extLst>
          </p:cNvPr>
          <p:cNvGrpSpPr>
            <a:grpSpLocks noChangeAspect="1"/>
          </p:cNvGrpSpPr>
          <p:nvPr/>
        </p:nvGrpSpPr>
        <p:grpSpPr>
          <a:xfrm>
            <a:off x="3897600" y="5842124"/>
            <a:ext cx="288272" cy="288000"/>
            <a:chOff x="2559808" y="4308712"/>
            <a:chExt cx="362313" cy="361971"/>
          </a:xfrm>
          <a:solidFill>
            <a:srgbClr val="046A38"/>
          </a:solidFill>
        </p:grpSpPr>
        <p:sp>
          <p:nvSpPr>
            <p:cNvPr id="50" name="Graphic 4">
              <a:extLst>
                <a:ext uri="{FF2B5EF4-FFF2-40B4-BE49-F238E27FC236}">
                  <a16:creationId xmlns:a16="http://schemas.microsoft.com/office/drawing/2014/main" id="{0540CE45-BD28-6245-95F5-AEFA81FB58F9}"/>
                </a:ext>
              </a:extLst>
            </p:cNvPr>
            <p:cNvSpPr/>
            <p:nvPr/>
          </p:nvSpPr>
          <p:spPr>
            <a:xfrm>
              <a:off x="2559808" y="4308712"/>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29 w 362313"/>
                <a:gd name="connsiteY10" fmla="*/ 180667 h 361971"/>
                <a:gd name="connsiteX11" fmla="*/ 349529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solidFill>
              <a:srgbClr val="046A38"/>
            </a:solid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824FB28C-219B-A742-AB87-595AC5240D59}"/>
                </a:ext>
              </a:extLst>
            </p:cNvPr>
            <p:cNvSpPr/>
            <p:nvPr/>
          </p:nvSpPr>
          <p:spPr>
            <a:xfrm>
              <a:off x="2637127" y="4410855"/>
              <a:ext cx="208311" cy="157684"/>
            </a:xfrm>
            <a:custGeom>
              <a:avLst/>
              <a:gdLst>
                <a:gd name="connsiteX0" fmla="*/ 197449 w 208311"/>
                <a:gd name="connsiteY0" fmla="*/ 1915 h 157684"/>
                <a:gd name="connsiteX1" fmla="*/ 56870 w 208311"/>
                <a:gd name="connsiteY1" fmla="*/ 142363 h 157684"/>
                <a:gd name="connsiteX2" fmla="*/ 10863 w 208311"/>
                <a:gd name="connsiteY2" fmla="*/ 96398 h 157684"/>
                <a:gd name="connsiteX3" fmla="*/ 1917 w 208311"/>
                <a:gd name="connsiteY3" fmla="*/ 96398 h 157684"/>
                <a:gd name="connsiteX4" fmla="*/ 1917 w 208311"/>
                <a:gd name="connsiteY4" fmla="*/ 105336 h 157684"/>
                <a:gd name="connsiteX5" fmla="*/ 1917 w 208311"/>
                <a:gd name="connsiteY5" fmla="*/ 105336 h 157684"/>
                <a:gd name="connsiteX6" fmla="*/ 52397 w 208311"/>
                <a:gd name="connsiteY6" fmla="*/ 155769 h 157684"/>
                <a:gd name="connsiteX7" fmla="*/ 56870 w 208311"/>
                <a:gd name="connsiteY7" fmla="*/ 157684 h 157684"/>
                <a:gd name="connsiteX8" fmla="*/ 61343 w 208311"/>
                <a:gd name="connsiteY8" fmla="*/ 155769 h 157684"/>
                <a:gd name="connsiteX9" fmla="*/ 206395 w 208311"/>
                <a:gd name="connsiteY9" fmla="*/ 10853 h 157684"/>
                <a:gd name="connsiteX10" fmla="*/ 206395 w 208311"/>
                <a:gd name="connsiteY10" fmla="*/ 1915 h 157684"/>
                <a:gd name="connsiteX11" fmla="*/ 197449 w 208311"/>
                <a:gd name="connsiteY11" fmla="*/ 1915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311" h="157684">
                  <a:moveTo>
                    <a:pt x="197449" y="1915"/>
                  </a:moveTo>
                  <a:lnTo>
                    <a:pt x="56870" y="142363"/>
                  </a:lnTo>
                  <a:lnTo>
                    <a:pt x="10863" y="96398"/>
                  </a:lnTo>
                  <a:cubicBezTo>
                    <a:pt x="8307" y="93845"/>
                    <a:pt x="4473" y="93845"/>
                    <a:pt x="1917" y="96398"/>
                  </a:cubicBezTo>
                  <a:cubicBezTo>
                    <a:pt x="-639" y="98952"/>
                    <a:pt x="-639" y="102782"/>
                    <a:pt x="1917" y="105336"/>
                  </a:cubicBezTo>
                  <a:lnTo>
                    <a:pt x="1917" y="105336"/>
                  </a:lnTo>
                  <a:lnTo>
                    <a:pt x="52397" y="155769"/>
                  </a:lnTo>
                  <a:cubicBezTo>
                    <a:pt x="53675" y="157046"/>
                    <a:pt x="54953" y="157684"/>
                    <a:pt x="56870" y="157684"/>
                  </a:cubicBezTo>
                  <a:cubicBezTo>
                    <a:pt x="58787" y="157684"/>
                    <a:pt x="60065" y="157046"/>
                    <a:pt x="61343" y="155769"/>
                  </a:cubicBezTo>
                  <a:lnTo>
                    <a:pt x="206395" y="10853"/>
                  </a:lnTo>
                  <a:cubicBezTo>
                    <a:pt x="208951" y="8299"/>
                    <a:pt x="208951" y="4469"/>
                    <a:pt x="206395" y="1915"/>
                  </a:cubicBezTo>
                  <a:cubicBezTo>
                    <a:pt x="204478" y="-638"/>
                    <a:pt x="200005" y="-638"/>
                    <a:pt x="197449" y="1915"/>
                  </a:cubicBezTo>
                  <a:close/>
                </a:path>
              </a:pathLst>
            </a:custGeom>
            <a:solidFill>
              <a:srgbClr val="046A38"/>
            </a:solidFill>
            <a:ln w="6390" cap="flat">
              <a:noFill/>
              <a:prstDash val="solid"/>
              <a:miter/>
            </a:ln>
          </p:spPr>
          <p:txBody>
            <a:bodyPr rtlCol="0" anchor="ctr"/>
            <a:lstStyle/>
            <a:p>
              <a:endParaRPr lang="en-US"/>
            </a:p>
          </p:txBody>
        </p:sp>
      </p:grpSp>
      <p:sp>
        <p:nvSpPr>
          <p:cNvPr id="52" name="TextBox 51"/>
          <p:cNvSpPr txBox="1"/>
          <p:nvPr/>
        </p:nvSpPr>
        <p:spPr>
          <a:xfrm>
            <a:off x="4282051" y="5842124"/>
            <a:ext cx="1131078" cy="276999"/>
          </a:xfrm>
          <a:prstGeom prst="rect">
            <a:avLst/>
          </a:prstGeom>
          <a:noFill/>
        </p:spPr>
        <p:txBody>
          <a:bodyPr wrap="square" rtlCol="0">
            <a:spAutoFit/>
          </a:bodyPr>
          <a:lstStyle/>
          <a:p>
            <a:r>
              <a:rPr lang="sl-SI" sz="1200" dirty="0"/>
              <a:t>Zaključeno</a:t>
            </a:r>
            <a:endParaRPr lang="en-US" sz="1200" dirty="0"/>
          </a:p>
        </p:txBody>
      </p:sp>
      <p:grpSp>
        <p:nvGrpSpPr>
          <p:cNvPr id="53" name="Graphic 4">
            <a:extLst>
              <a:ext uri="{FF2B5EF4-FFF2-40B4-BE49-F238E27FC236}">
                <a16:creationId xmlns:a16="http://schemas.microsoft.com/office/drawing/2014/main" id="{668EF795-5847-8D40-B618-F0AD2D9CCA04}"/>
              </a:ext>
            </a:extLst>
          </p:cNvPr>
          <p:cNvGrpSpPr>
            <a:grpSpLocks noChangeAspect="1"/>
          </p:cNvGrpSpPr>
          <p:nvPr/>
        </p:nvGrpSpPr>
        <p:grpSpPr>
          <a:xfrm>
            <a:off x="6156659" y="5834303"/>
            <a:ext cx="288272" cy="288000"/>
            <a:chOff x="2559808" y="4308712"/>
            <a:chExt cx="362313" cy="361971"/>
          </a:xfrm>
          <a:solidFill>
            <a:srgbClr val="046A38"/>
          </a:solidFill>
        </p:grpSpPr>
        <p:sp>
          <p:nvSpPr>
            <p:cNvPr id="54" name="Graphic 4">
              <a:extLst>
                <a:ext uri="{FF2B5EF4-FFF2-40B4-BE49-F238E27FC236}">
                  <a16:creationId xmlns:a16="http://schemas.microsoft.com/office/drawing/2014/main" id="{0540CE45-BD28-6245-95F5-AEFA81FB58F9}"/>
                </a:ext>
              </a:extLst>
            </p:cNvPr>
            <p:cNvSpPr/>
            <p:nvPr/>
          </p:nvSpPr>
          <p:spPr>
            <a:xfrm>
              <a:off x="2559808" y="4308712"/>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5 w 362313"/>
                <a:gd name="connsiteY9" fmla="*/ 12768 h 361971"/>
                <a:gd name="connsiteX10" fmla="*/ 349529 w 362313"/>
                <a:gd name="connsiteY10" fmla="*/ 180667 h 361971"/>
                <a:gd name="connsiteX11" fmla="*/ 349529 w 362313"/>
                <a:gd name="connsiteY11" fmla="*/ 180667 h 361971"/>
                <a:gd name="connsiteX12" fmla="*/ 181474 w 362313"/>
                <a:gd name="connsiteY12" fmla="*/ 349204 h 361971"/>
                <a:gd name="connsiteX13" fmla="*/ 181474 w 362313"/>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lnTo>
                    <a:pt x="181474" y="0"/>
                  </a:ln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solidFill>
              <a:srgbClr val="046A38"/>
            </a:solidFill>
            <a:ln w="6390" cap="flat">
              <a:noFill/>
              <a:prstDash val="solid"/>
              <a:miter/>
            </a:ln>
          </p:spPr>
          <p:txBody>
            <a:bodyPr rtlCol="0" anchor="ctr"/>
            <a:lstStyle/>
            <a:p>
              <a:endParaRPr lang="en-US"/>
            </a:p>
          </p:txBody>
        </p:sp>
        <p:sp>
          <p:nvSpPr>
            <p:cNvPr id="55" name="Graphic 4">
              <a:extLst>
                <a:ext uri="{FF2B5EF4-FFF2-40B4-BE49-F238E27FC236}">
                  <a16:creationId xmlns:a16="http://schemas.microsoft.com/office/drawing/2014/main" id="{824FB28C-219B-A742-AB87-595AC5240D59}"/>
                </a:ext>
              </a:extLst>
            </p:cNvPr>
            <p:cNvSpPr/>
            <p:nvPr/>
          </p:nvSpPr>
          <p:spPr>
            <a:xfrm>
              <a:off x="2637127" y="4410855"/>
              <a:ext cx="208311" cy="157684"/>
            </a:xfrm>
            <a:custGeom>
              <a:avLst/>
              <a:gdLst>
                <a:gd name="connsiteX0" fmla="*/ 197449 w 208311"/>
                <a:gd name="connsiteY0" fmla="*/ 1915 h 157684"/>
                <a:gd name="connsiteX1" fmla="*/ 56870 w 208311"/>
                <a:gd name="connsiteY1" fmla="*/ 142363 h 157684"/>
                <a:gd name="connsiteX2" fmla="*/ 10863 w 208311"/>
                <a:gd name="connsiteY2" fmla="*/ 96398 h 157684"/>
                <a:gd name="connsiteX3" fmla="*/ 1917 w 208311"/>
                <a:gd name="connsiteY3" fmla="*/ 96398 h 157684"/>
                <a:gd name="connsiteX4" fmla="*/ 1917 w 208311"/>
                <a:gd name="connsiteY4" fmla="*/ 105336 h 157684"/>
                <a:gd name="connsiteX5" fmla="*/ 1917 w 208311"/>
                <a:gd name="connsiteY5" fmla="*/ 105336 h 157684"/>
                <a:gd name="connsiteX6" fmla="*/ 52397 w 208311"/>
                <a:gd name="connsiteY6" fmla="*/ 155769 h 157684"/>
                <a:gd name="connsiteX7" fmla="*/ 56870 w 208311"/>
                <a:gd name="connsiteY7" fmla="*/ 157684 h 157684"/>
                <a:gd name="connsiteX8" fmla="*/ 61343 w 208311"/>
                <a:gd name="connsiteY8" fmla="*/ 155769 h 157684"/>
                <a:gd name="connsiteX9" fmla="*/ 206395 w 208311"/>
                <a:gd name="connsiteY9" fmla="*/ 10853 h 157684"/>
                <a:gd name="connsiteX10" fmla="*/ 206395 w 208311"/>
                <a:gd name="connsiteY10" fmla="*/ 1915 h 157684"/>
                <a:gd name="connsiteX11" fmla="*/ 197449 w 208311"/>
                <a:gd name="connsiteY11" fmla="*/ 1915 h 15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311" h="157684">
                  <a:moveTo>
                    <a:pt x="197449" y="1915"/>
                  </a:moveTo>
                  <a:lnTo>
                    <a:pt x="56870" y="142363"/>
                  </a:lnTo>
                  <a:lnTo>
                    <a:pt x="10863" y="96398"/>
                  </a:lnTo>
                  <a:cubicBezTo>
                    <a:pt x="8307" y="93845"/>
                    <a:pt x="4473" y="93845"/>
                    <a:pt x="1917" y="96398"/>
                  </a:cubicBezTo>
                  <a:cubicBezTo>
                    <a:pt x="-639" y="98952"/>
                    <a:pt x="-639" y="102782"/>
                    <a:pt x="1917" y="105336"/>
                  </a:cubicBezTo>
                  <a:lnTo>
                    <a:pt x="1917" y="105336"/>
                  </a:lnTo>
                  <a:lnTo>
                    <a:pt x="52397" y="155769"/>
                  </a:lnTo>
                  <a:cubicBezTo>
                    <a:pt x="53675" y="157046"/>
                    <a:pt x="54953" y="157684"/>
                    <a:pt x="56870" y="157684"/>
                  </a:cubicBezTo>
                  <a:cubicBezTo>
                    <a:pt x="58787" y="157684"/>
                    <a:pt x="60065" y="157046"/>
                    <a:pt x="61343" y="155769"/>
                  </a:cubicBezTo>
                  <a:lnTo>
                    <a:pt x="206395" y="10853"/>
                  </a:lnTo>
                  <a:cubicBezTo>
                    <a:pt x="208951" y="8299"/>
                    <a:pt x="208951" y="4469"/>
                    <a:pt x="206395" y="1915"/>
                  </a:cubicBezTo>
                  <a:cubicBezTo>
                    <a:pt x="204478" y="-638"/>
                    <a:pt x="200005" y="-638"/>
                    <a:pt x="197449" y="1915"/>
                  </a:cubicBezTo>
                  <a:close/>
                </a:path>
              </a:pathLst>
            </a:custGeom>
            <a:solidFill>
              <a:srgbClr val="046A38"/>
            </a:solidFill>
            <a:ln w="6390" cap="flat">
              <a:noFill/>
              <a:prstDash val="solid"/>
              <a:miter/>
            </a:ln>
          </p:spPr>
          <p:txBody>
            <a:bodyPr rtlCol="0" anchor="ctr"/>
            <a:lstStyle/>
            <a:p>
              <a:endParaRPr lang="en-US"/>
            </a:p>
          </p:txBody>
        </p:sp>
      </p:grpSp>
      <p:sp>
        <p:nvSpPr>
          <p:cNvPr id="56" name="TextBox 55"/>
          <p:cNvSpPr txBox="1"/>
          <p:nvPr/>
        </p:nvSpPr>
        <p:spPr>
          <a:xfrm>
            <a:off x="6541110" y="5834303"/>
            <a:ext cx="1131078" cy="276999"/>
          </a:xfrm>
          <a:prstGeom prst="rect">
            <a:avLst/>
          </a:prstGeom>
          <a:noFill/>
        </p:spPr>
        <p:txBody>
          <a:bodyPr wrap="square" rtlCol="0">
            <a:spAutoFit/>
          </a:bodyPr>
          <a:lstStyle/>
          <a:p>
            <a:r>
              <a:rPr lang="sl-SI" sz="1200" dirty="0"/>
              <a:t>Zaključeno</a:t>
            </a:r>
            <a:endParaRPr lang="en-US" sz="1200" dirty="0"/>
          </a:p>
        </p:txBody>
      </p:sp>
      <p:sp>
        <p:nvSpPr>
          <p:cNvPr id="60" name="TextBox 59"/>
          <p:cNvSpPr txBox="1"/>
          <p:nvPr/>
        </p:nvSpPr>
        <p:spPr>
          <a:xfrm>
            <a:off x="8940362" y="5853125"/>
            <a:ext cx="1864537" cy="276999"/>
          </a:xfrm>
          <a:prstGeom prst="rect">
            <a:avLst/>
          </a:prstGeom>
          <a:noFill/>
        </p:spPr>
        <p:txBody>
          <a:bodyPr wrap="square" rtlCol="0">
            <a:spAutoFit/>
          </a:bodyPr>
          <a:lstStyle/>
          <a:p>
            <a:r>
              <a:rPr lang="sl-SI" sz="1200" dirty="0"/>
              <a:t>V izvajanju</a:t>
            </a:r>
            <a:endParaRPr lang="en-US" sz="1200" dirty="0"/>
          </a:p>
        </p:txBody>
      </p:sp>
      <p:grpSp>
        <p:nvGrpSpPr>
          <p:cNvPr id="61" name="Graphic 4">
            <a:extLst>
              <a:ext uri="{FF2B5EF4-FFF2-40B4-BE49-F238E27FC236}">
                <a16:creationId xmlns:a16="http://schemas.microsoft.com/office/drawing/2014/main" id="{2E94970D-5282-1F48-92FF-BF0D5C1F1C0B}"/>
              </a:ext>
            </a:extLst>
          </p:cNvPr>
          <p:cNvGrpSpPr>
            <a:grpSpLocks noChangeAspect="1"/>
          </p:cNvGrpSpPr>
          <p:nvPr/>
        </p:nvGrpSpPr>
        <p:grpSpPr>
          <a:xfrm>
            <a:off x="8652602" y="5850725"/>
            <a:ext cx="287761" cy="288000"/>
            <a:chOff x="1515054" y="2371173"/>
            <a:chExt cx="362309" cy="362610"/>
          </a:xfrm>
          <a:solidFill>
            <a:srgbClr val="046A38"/>
          </a:solidFill>
        </p:grpSpPr>
        <p:sp>
          <p:nvSpPr>
            <p:cNvPr id="62" name="Graphic 4">
              <a:extLst>
                <a:ext uri="{FF2B5EF4-FFF2-40B4-BE49-F238E27FC236}">
                  <a16:creationId xmlns:a16="http://schemas.microsoft.com/office/drawing/2014/main" id="{C4E71A30-73FC-F34D-8240-683814C97D1A}"/>
                </a:ext>
              </a:extLst>
            </p:cNvPr>
            <p:cNvSpPr/>
            <p:nvPr/>
          </p:nvSpPr>
          <p:spPr>
            <a:xfrm>
              <a:off x="1515054" y="2371173"/>
              <a:ext cx="362309" cy="362610"/>
            </a:xfrm>
            <a:custGeom>
              <a:avLst/>
              <a:gdLst>
                <a:gd name="connsiteX0" fmla="*/ 180835 w 362309"/>
                <a:gd name="connsiteY0" fmla="*/ 0 h 362610"/>
                <a:gd name="connsiteX1" fmla="*/ 0 w 362309"/>
                <a:gd name="connsiteY1" fmla="*/ 181305 h 362610"/>
                <a:gd name="connsiteX2" fmla="*/ 180835 w 362309"/>
                <a:gd name="connsiteY2" fmla="*/ 362610 h 362610"/>
                <a:gd name="connsiteX3" fmla="*/ 362309 w 362309"/>
                <a:gd name="connsiteY3" fmla="*/ 181305 h 362610"/>
                <a:gd name="connsiteX4" fmla="*/ 180835 w 362309"/>
                <a:gd name="connsiteY4" fmla="*/ 0 h 362610"/>
                <a:gd name="connsiteX5" fmla="*/ 180835 w 362309"/>
                <a:gd name="connsiteY5" fmla="*/ 0 h 362610"/>
                <a:gd name="connsiteX6" fmla="*/ 180835 w 362309"/>
                <a:gd name="connsiteY6" fmla="*/ 349204 h 362610"/>
                <a:gd name="connsiteX7" fmla="*/ 12780 w 362309"/>
                <a:gd name="connsiteY7" fmla="*/ 180667 h 362610"/>
                <a:gd name="connsiteX8" fmla="*/ 181474 w 362309"/>
                <a:gd name="connsiteY8" fmla="*/ 12130 h 362610"/>
                <a:gd name="connsiteX9" fmla="*/ 349529 w 362309"/>
                <a:gd name="connsiteY9" fmla="*/ 180667 h 362610"/>
                <a:gd name="connsiteX10" fmla="*/ 349529 w 362309"/>
                <a:gd name="connsiteY10" fmla="*/ 180667 h 362610"/>
                <a:gd name="connsiteX11" fmla="*/ 180835 w 362309"/>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2610">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1670" y="81077"/>
                    <a:pt x="280518" y="0"/>
                    <a:pt x="180835" y="0"/>
                  </a:cubicBezTo>
                  <a:lnTo>
                    <a:pt x="180835" y="0"/>
                  </a:lnTo>
                  <a:close/>
                  <a:moveTo>
                    <a:pt x="180835" y="349204"/>
                  </a:moveTo>
                  <a:cubicBezTo>
                    <a:pt x="87542" y="349204"/>
                    <a:pt x="12780" y="273873"/>
                    <a:pt x="12780" y="180667"/>
                  </a:cubicBezTo>
                  <a:cubicBezTo>
                    <a:pt x="12780" y="87461"/>
                    <a:pt x="88181" y="12130"/>
                    <a:pt x="181474" y="12130"/>
                  </a:cubicBezTo>
                  <a:cubicBezTo>
                    <a:pt x="274767" y="12130"/>
                    <a:pt x="349529" y="87461"/>
                    <a:pt x="349529" y="180667"/>
                  </a:cubicBezTo>
                  <a:cubicBezTo>
                    <a:pt x="349529" y="180667"/>
                    <a:pt x="349529" y="180667"/>
                    <a:pt x="349529" y="180667"/>
                  </a:cubicBezTo>
                  <a:cubicBezTo>
                    <a:pt x="348891" y="273873"/>
                    <a:pt x="273489" y="349204"/>
                    <a:pt x="180835" y="349204"/>
                  </a:cubicBezTo>
                  <a:close/>
                </a:path>
              </a:pathLst>
            </a:custGeom>
            <a:solidFill>
              <a:srgbClr val="046A38"/>
            </a:solidFill>
            <a:ln w="6390" cap="flat">
              <a:noFill/>
              <a:prstDash val="solid"/>
              <a:miter/>
            </a:ln>
          </p:spPr>
          <p:txBody>
            <a:bodyPr rtlCol="0" anchor="ctr"/>
            <a:lstStyle/>
            <a:p>
              <a:endParaRPr lang="en-US"/>
            </a:p>
          </p:txBody>
        </p:sp>
        <p:sp>
          <p:nvSpPr>
            <p:cNvPr id="63" name="Graphic 4">
              <a:extLst>
                <a:ext uri="{FF2B5EF4-FFF2-40B4-BE49-F238E27FC236}">
                  <a16:creationId xmlns:a16="http://schemas.microsoft.com/office/drawing/2014/main" id="{CFED4270-6A24-3C43-9A16-6F41B49B1A98}"/>
                </a:ext>
              </a:extLst>
            </p:cNvPr>
            <p:cNvSpPr/>
            <p:nvPr/>
          </p:nvSpPr>
          <p:spPr>
            <a:xfrm>
              <a:off x="1584544" y="2436439"/>
              <a:ext cx="133192" cy="133276"/>
            </a:xfrm>
            <a:custGeom>
              <a:avLst/>
              <a:gdLst>
                <a:gd name="connsiteX0" fmla="*/ 96009 w 133192"/>
                <a:gd name="connsiteY0" fmla="*/ 121147 h 133276"/>
                <a:gd name="connsiteX1" fmla="*/ 105594 w 133192"/>
                <a:gd name="connsiteY1" fmla="*/ 119870 h 133276"/>
                <a:gd name="connsiteX2" fmla="*/ 115179 w 133192"/>
                <a:gd name="connsiteY2" fmla="*/ 111571 h 133276"/>
                <a:gd name="connsiteX3" fmla="*/ 117096 w 133192"/>
                <a:gd name="connsiteY3" fmla="*/ 101995 h 133276"/>
                <a:gd name="connsiteX4" fmla="*/ 114540 w 133192"/>
                <a:gd name="connsiteY4" fmla="*/ 95611 h 133276"/>
                <a:gd name="connsiteX5" fmla="*/ 117096 w 133192"/>
                <a:gd name="connsiteY5" fmla="*/ 90503 h 133276"/>
                <a:gd name="connsiteX6" fmla="*/ 124125 w 133192"/>
                <a:gd name="connsiteY6" fmla="*/ 89227 h 133276"/>
                <a:gd name="connsiteX7" fmla="*/ 131153 w 133192"/>
                <a:gd name="connsiteY7" fmla="*/ 82204 h 133276"/>
                <a:gd name="connsiteX8" fmla="*/ 133070 w 133192"/>
                <a:gd name="connsiteY8" fmla="*/ 69436 h 133276"/>
                <a:gd name="connsiteX9" fmla="*/ 128598 w 133192"/>
                <a:gd name="connsiteY9" fmla="*/ 60499 h 133276"/>
                <a:gd name="connsiteX10" fmla="*/ 122208 w 133192"/>
                <a:gd name="connsiteY10" fmla="*/ 57307 h 133276"/>
                <a:gd name="connsiteX11" fmla="*/ 120930 w 133192"/>
                <a:gd name="connsiteY11" fmla="*/ 51561 h 133276"/>
                <a:gd name="connsiteX12" fmla="*/ 125403 w 133192"/>
                <a:gd name="connsiteY12" fmla="*/ 45816 h 133276"/>
                <a:gd name="connsiteX13" fmla="*/ 126042 w 133192"/>
                <a:gd name="connsiteY13" fmla="*/ 35601 h 133276"/>
                <a:gd name="connsiteX14" fmla="*/ 119652 w 133192"/>
                <a:gd name="connsiteY14" fmla="*/ 24748 h 133276"/>
                <a:gd name="connsiteX15" fmla="*/ 110067 w 133192"/>
                <a:gd name="connsiteY15" fmla="*/ 20918 h 133276"/>
                <a:gd name="connsiteX16" fmla="*/ 103038 w 133192"/>
                <a:gd name="connsiteY16" fmla="*/ 22833 h 133276"/>
                <a:gd name="connsiteX17" fmla="*/ 98565 w 133192"/>
                <a:gd name="connsiteY17" fmla="*/ 19641 h 133276"/>
                <a:gd name="connsiteX18" fmla="*/ 98565 w 133192"/>
                <a:gd name="connsiteY18" fmla="*/ 12619 h 133276"/>
                <a:gd name="connsiteX19" fmla="*/ 92814 w 133192"/>
                <a:gd name="connsiteY19" fmla="*/ 4320 h 133276"/>
                <a:gd name="connsiteX20" fmla="*/ 80673 w 133192"/>
                <a:gd name="connsiteY20" fmla="*/ 489 h 133276"/>
                <a:gd name="connsiteX21" fmla="*/ 71088 w 133192"/>
                <a:gd name="connsiteY21" fmla="*/ 3681 h 133276"/>
                <a:gd name="connsiteX22" fmla="*/ 66615 w 133192"/>
                <a:gd name="connsiteY22" fmla="*/ 9427 h 133276"/>
                <a:gd name="connsiteX23" fmla="*/ 60864 w 133192"/>
                <a:gd name="connsiteY23" fmla="*/ 9427 h 133276"/>
                <a:gd name="connsiteX24" fmla="*/ 56391 w 133192"/>
                <a:gd name="connsiteY24" fmla="*/ 3681 h 133276"/>
                <a:gd name="connsiteX25" fmla="*/ 46806 w 133192"/>
                <a:gd name="connsiteY25" fmla="*/ 1128 h 133276"/>
                <a:gd name="connsiteX26" fmla="*/ 35304 w 133192"/>
                <a:gd name="connsiteY26" fmla="*/ 5596 h 133276"/>
                <a:gd name="connsiteX27" fmla="*/ 30192 w 133192"/>
                <a:gd name="connsiteY27" fmla="*/ 13896 h 133276"/>
                <a:gd name="connsiteX28" fmla="*/ 30831 w 133192"/>
                <a:gd name="connsiteY28" fmla="*/ 20918 h 133276"/>
                <a:gd name="connsiteX29" fmla="*/ 26359 w 133192"/>
                <a:gd name="connsiteY29" fmla="*/ 24748 h 133276"/>
                <a:gd name="connsiteX30" fmla="*/ 19330 w 133192"/>
                <a:gd name="connsiteY30" fmla="*/ 23472 h 133276"/>
                <a:gd name="connsiteX31" fmla="*/ 10384 w 133192"/>
                <a:gd name="connsiteY31" fmla="*/ 27940 h 133276"/>
                <a:gd name="connsiteX32" fmla="*/ 4633 w 133192"/>
                <a:gd name="connsiteY32" fmla="*/ 38793 h 133276"/>
                <a:gd name="connsiteX33" fmla="*/ 5911 w 133192"/>
                <a:gd name="connsiteY33" fmla="*/ 49008 h 133276"/>
                <a:gd name="connsiteX34" fmla="*/ 11023 w 133192"/>
                <a:gd name="connsiteY34" fmla="*/ 54115 h 133276"/>
                <a:gd name="connsiteX35" fmla="*/ 10384 w 133192"/>
                <a:gd name="connsiteY35" fmla="*/ 59860 h 133276"/>
                <a:gd name="connsiteX36" fmla="*/ 3994 w 133192"/>
                <a:gd name="connsiteY36" fmla="*/ 63691 h 133276"/>
                <a:gd name="connsiteX37" fmla="*/ 160 w 133192"/>
                <a:gd name="connsiteY37" fmla="*/ 72628 h 133276"/>
                <a:gd name="connsiteX38" fmla="*/ 2716 w 133192"/>
                <a:gd name="connsiteY38" fmla="*/ 84758 h 133276"/>
                <a:gd name="connsiteX39" fmla="*/ 9745 w 133192"/>
                <a:gd name="connsiteY39" fmla="*/ 91780 h 133276"/>
                <a:gd name="connsiteX40" fmla="*/ 16774 w 133192"/>
                <a:gd name="connsiteY40" fmla="*/ 92419 h 133276"/>
                <a:gd name="connsiteX41" fmla="*/ 19969 w 133192"/>
                <a:gd name="connsiteY41" fmla="*/ 97526 h 133276"/>
                <a:gd name="connsiteX42" fmla="*/ 17413 w 133192"/>
                <a:gd name="connsiteY42" fmla="*/ 104548 h 133276"/>
                <a:gd name="connsiteX43" fmla="*/ 19969 w 133192"/>
                <a:gd name="connsiteY43" fmla="*/ 114124 h 133276"/>
                <a:gd name="connsiteX44" fmla="*/ 30192 w 133192"/>
                <a:gd name="connsiteY44" fmla="*/ 121785 h 133276"/>
                <a:gd name="connsiteX45" fmla="*/ 40416 w 133192"/>
                <a:gd name="connsiteY45" fmla="*/ 122423 h 133276"/>
                <a:gd name="connsiteX46" fmla="*/ 46806 w 133192"/>
                <a:gd name="connsiteY46" fmla="*/ 118593 h 133276"/>
                <a:gd name="connsiteX47" fmla="*/ 51918 w 133192"/>
                <a:gd name="connsiteY47" fmla="*/ 120508 h 133276"/>
                <a:gd name="connsiteX48" fmla="*/ 54474 w 133192"/>
                <a:gd name="connsiteY48" fmla="*/ 127531 h 133276"/>
                <a:gd name="connsiteX49" fmla="*/ 62781 w 133192"/>
                <a:gd name="connsiteY49" fmla="*/ 133276 h 133276"/>
                <a:gd name="connsiteX50" fmla="*/ 62781 w 133192"/>
                <a:gd name="connsiteY50" fmla="*/ 133276 h 133276"/>
                <a:gd name="connsiteX51" fmla="*/ 75561 w 133192"/>
                <a:gd name="connsiteY51" fmla="*/ 132638 h 133276"/>
                <a:gd name="connsiteX52" fmla="*/ 83229 w 133192"/>
                <a:gd name="connsiteY52" fmla="*/ 126254 h 133276"/>
                <a:gd name="connsiteX53" fmla="*/ 85146 w 133192"/>
                <a:gd name="connsiteY53" fmla="*/ 119231 h 133276"/>
                <a:gd name="connsiteX54" fmla="*/ 90258 w 133192"/>
                <a:gd name="connsiteY54" fmla="*/ 117316 h 133276"/>
                <a:gd name="connsiteX55" fmla="*/ 96009 w 133192"/>
                <a:gd name="connsiteY55" fmla="*/ 121147 h 133276"/>
                <a:gd name="connsiteX56" fmla="*/ 76839 w 133192"/>
                <a:gd name="connsiteY56" fmla="*/ 109017 h 133276"/>
                <a:gd name="connsiteX57" fmla="*/ 73005 w 133192"/>
                <a:gd name="connsiteY57" fmla="*/ 112847 h 133276"/>
                <a:gd name="connsiteX58" fmla="*/ 71088 w 133192"/>
                <a:gd name="connsiteY58" fmla="*/ 119870 h 133276"/>
                <a:gd name="connsiteX59" fmla="*/ 64698 w 133192"/>
                <a:gd name="connsiteY59" fmla="*/ 119870 h 133276"/>
                <a:gd name="connsiteX60" fmla="*/ 62142 w 133192"/>
                <a:gd name="connsiteY60" fmla="*/ 112847 h 133276"/>
                <a:gd name="connsiteX61" fmla="*/ 58308 w 133192"/>
                <a:gd name="connsiteY61" fmla="*/ 109017 h 133276"/>
                <a:gd name="connsiteX62" fmla="*/ 46806 w 133192"/>
                <a:gd name="connsiteY62" fmla="*/ 105187 h 133276"/>
                <a:gd name="connsiteX63" fmla="*/ 44889 w 133192"/>
                <a:gd name="connsiteY63" fmla="*/ 105187 h 133276"/>
                <a:gd name="connsiteX64" fmla="*/ 41055 w 133192"/>
                <a:gd name="connsiteY64" fmla="*/ 106463 h 133276"/>
                <a:gd name="connsiteX65" fmla="*/ 35304 w 133192"/>
                <a:gd name="connsiteY65" fmla="*/ 110294 h 133276"/>
                <a:gd name="connsiteX66" fmla="*/ 30192 w 133192"/>
                <a:gd name="connsiteY66" fmla="*/ 106463 h 133276"/>
                <a:gd name="connsiteX67" fmla="*/ 32748 w 133192"/>
                <a:gd name="connsiteY67" fmla="*/ 99441 h 133276"/>
                <a:gd name="connsiteX68" fmla="*/ 32109 w 133192"/>
                <a:gd name="connsiteY68" fmla="*/ 93695 h 133276"/>
                <a:gd name="connsiteX69" fmla="*/ 25720 w 133192"/>
                <a:gd name="connsiteY69" fmla="*/ 83481 h 133276"/>
                <a:gd name="connsiteX70" fmla="*/ 21247 w 133192"/>
                <a:gd name="connsiteY70" fmla="*/ 80289 h 133276"/>
                <a:gd name="connsiteX71" fmla="*/ 14218 w 133192"/>
                <a:gd name="connsiteY71" fmla="*/ 79651 h 133276"/>
                <a:gd name="connsiteX72" fmla="*/ 12940 w 133192"/>
                <a:gd name="connsiteY72" fmla="*/ 73267 h 133276"/>
                <a:gd name="connsiteX73" fmla="*/ 19330 w 133192"/>
                <a:gd name="connsiteY73" fmla="*/ 69436 h 133276"/>
                <a:gd name="connsiteX74" fmla="*/ 22525 w 133192"/>
                <a:gd name="connsiteY74" fmla="*/ 64968 h 133276"/>
                <a:gd name="connsiteX75" fmla="*/ 24442 w 133192"/>
                <a:gd name="connsiteY75" fmla="*/ 53476 h 133276"/>
                <a:gd name="connsiteX76" fmla="*/ 22525 w 133192"/>
                <a:gd name="connsiteY76" fmla="*/ 48369 h 133276"/>
                <a:gd name="connsiteX77" fmla="*/ 17413 w 133192"/>
                <a:gd name="connsiteY77" fmla="*/ 43262 h 133276"/>
                <a:gd name="connsiteX78" fmla="*/ 20608 w 133192"/>
                <a:gd name="connsiteY78" fmla="*/ 37516 h 133276"/>
                <a:gd name="connsiteX79" fmla="*/ 27637 w 133192"/>
                <a:gd name="connsiteY79" fmla="*/ 38793 h 133276"/>
                <a:gd name="connsiteX80" fmla="*/ 32748 w 133192"/>
                <a:gd name="connsiteY80" fmla="*/ 37516 h 133276"/>
                <a:gd name="connsiteX81" fmla="*/ 41694 w 133192"/>
                <a:gd name="connsiteY81" fmla="*/ 29856 h 133276"/>
                <a:gd name="connsiteX82" fmla="*/ 43611 w 133192"/>
                <a:gd name="connsiteY82" fmla="*/ 24748 h 133276"/>
                <a:gd name="connsiteX83" fmla="*/ 42972 w 133192"/>
                <a:gd name="connsiteY83" fmla="*/ 17726 h 133276"/>
                <a:gd name="connsiteX84" fmla="*/ 49362 w 133192"/>
                <a:gd name="connsiteY84" fmla="*/ 15172 h 133276"/>
                <a:gd name="connsiteX85" fmla="*/ 53835 w 133192"/>
                <a:gd name="connsiteY85" fmla="*/ 20918 h 133276"/>
                <a:gd name="connsiteX86" fmla="*/ 58947 w 133192"/>
                <a:gd name="connsiteY86" fmla="*/ 22833 h 133276"/>
                <a:gd name="connsiteX87" fmla="*/ 71088 w 133192"/>
                <a:gd name="connsiteY87" fmla="*/ 22195 h 133276"/>
                <a:gd name="connsiteX88" fmla="*/ 76200 w 133192"/>
                <a:gd name="connsiteY88" fmla="*/ 19641 h 133276"/>
                <a:gd name="connsiteX89" fmla="*/ 80673 w 133192"/>
                <a:gd name="connsiteY89" fmla="*/ 13896 h 133276"/>
                <a:gd name="connsiteX90" fmla="*/ 87063 w 133192"/>
                <a:gd name="connsiteY90" fmla="*/ 15811 h 133276"/>
                <a:gd name="connsiteX91" fmla="*/ 87063 w 133192"/>
                <a:gd name="connsiteY91" fmla="*/ 22833 h 133276"/>
                <a:gd name="connsiteX92" fmla="*/ 89619 w 133192"/>
                <a:gd name="connsiteY92" fmla="*/ 27940 h 133276"/>
                <a:gd name="connsiteX93" fmla="*/ 99204 w 133192"/>
                <a:gd name="connsiteY93" fmla="*/ 34963 h 133276"/>
                <a:gd name="connsiteX94" fmla="*/ 104955 w 133192"/>
                <a:gd name="connsiteY94" fmla="*/ 36240 h 133276"/>
                <a:gd name="connsiteX95" fmla="*/ 111984 w 133192"/>
                <a:gd name="connsiteY95" fmla="*/ 34324 h 133276"/>
                <a:gd name="connsiteX96" fmla="*/ 115179 w 133192"/>
                <a:gd name="connsiteY96" fmla="*/ 40070 h 133276"/>
                <a:gd name="connsiteX97" fmla="*/ 110706 w 133192"/>
                <a:gd name="connsiteY97" fmla="*/ 45816 h 133276"/>
                <a:gd name="connsiteX98" fmla="*/ 109428 w 133192"/>
                <a:gd name="connsiteY98" fmla="*/ 50923 h 133276"/>
                <a:gd name="connsiteX99" fmla="*/ 111984 w 133192"/>
                <a:gd name="connsiteY99" fmla="*/ 62414 h 133276"/>
                <a:gd name="connsiteX100" fmla="*/ 115179 w 133192"/>
                <a:gd name="connsiteY100" fmla="*/ 66883 h 133276"/>
                <a:gd name="connsiteX101" fmla="*/ 121569 w 133192"/>
                <a:gd name="connsiteY101" fmla="*/ 70075 h 133276"/>
                <a:gd name="connsiteX102" fmla="*/ 120930 w 133192"/>
                <a:gd name="connsiteY102" fmla="*/ 76459 h 133276"/>
                <a:gd name="connsiteX103" fmla="*/ 113901 w 133192"/>
                <a:gd name="connsiteY103" fmla="*/ 77736 h 133276"/>
                <a:gd name="connsiteX104" fmla="*/ 109428 w 133192"/>
                <a:gd name="connsiteY104" fmla="*/ 80928 h 133276"/>
                <a:gd name="connsiteX105" fmla="*/ 103677 w 133192"/>
                <a:gd name="connsiteY105" fmla="*/ 91142 h 133276"/>
                <a:gd name="connsiteX106" fmla="*/ 103677 w 133192"/>
                <a:gd name="connsiteY106" fmla="*/ 96887 h 133276"/>
                <a:gd name="connsiteX107" fmla="*/ 106872 w 133192"/>
                <a:gd name="connsiteY107" fmla="*/ 103910 h 133276"/>
                <a:gd name="connsiteX108" fmla="*/ 101760 w 133192"/>
                <a:gd name="connsiteY108" fmla="*/ 108379 h 133276"/>
                <a:gd name="connsiteX109" fmla="*/ 95370 w 133192"/>
                <a:gd name="connsiteY109" fmla="*/ 104548 h 133276"/>
                <a:gd name="connsiteX110" fmla="*/ 89619 w 133192"/>
                <a:gd name="connsiteY110" fmla="*/ 103910 h 133276"/>
                <a:gd name="connsiteX111" fmla="*/ 76839 w 133192"/>
                <a:gd name="connsiteY111" fmla="*/ 109017 h 13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3192" h="133276">
                  <a:moveTo>
                    <a:pt x="96009" y="121147"/>
                  </a:moveTo>
                  <a:cubicBezTo>
                    <a:pt x="99204" y="123062"/>
                    <a:pt x="103038" y="122423"/>
                    <a:pt x="105594" y="119870"/>
                  </a:cubicBezTo>
                  <a:lnTo>
                    <a:pt x="115179" y="111571"/>
                  </a:lnTo>
                  <a:cubicBezTo>
                    <a:pt x="117735" y="109017"/>
                    <a:pt x="119013" y="105187"/>
                    <a:pt x="117096" y="101995"/>
                  </a:cubicBezTo>
                  <a:lnTo>
                    <a:pt x="114540" y="95611"/>
                  </a:lnTo>
                  <a:lnTo>
                    <a:pt x="117096" y="90503"/>
                  </a:lnTo>
                  <a:lnTo>
                    <a:pt x="124125" y="89227"/>
                  </a:lnTo>
                  <a:cubicBezTo>
                    <a:pt x="127959" y="88588"/>
                    <a:pt x="130514" y="85396"/>
                    <a:pt x="131153" y="82204"/>
                  </a:cubicBezTo>
                  <a:lnTo>
                    <a:pt x="133070" y="69436"/>
                  </a:lnTo>
                  <a:cubicBezTo>
                    <a:pt x="133709" y="65606"/>
                    <a:pt x="131793" y="62414"/>
                    <a:pt x="128598" y="60499"/>
                  </a:cubicBezTo>
                  <a:lnTo>
                    <a:pt x="122208" y="57307"/>
                  </a:lnTo>
                  <a:lnTo>
                    <a:pt x="120930" y="51561"/>
                  </a:lnTo>
                  <a:lnTo>
                    <a:pt x="125403" y="45816"/>
                  </a:lnTo>
                  <a:cubicBezTo>
                    <a:pt x="127959" y="43262"/>
                    <a:pt x="127959" y="38793"/>
                    <a:pt x="126042" y="35601"/>
                  </a:cubicBezTo>
                  <a:lnTo>
                    <a:pt x="119652" y="24748"/>
                  </a:lnTo>
                  <a:cubicBezTo>
                    <a:pt x="117735" y="21556"/>
                    <a:pt x="113901" y="20280"/>
                    <a:pt x="110067" y="20918"/>
                  </a:cubicBezTo>
                  <a:lnTo>
                    <a:pt x="103038" y="22833"/>
                  </a:lnTo>
                  <a:lnTo>
                    <a:pt x="98565" y="19641"/>
                  </a:lnTo>
                  <a:lnTo>
                    <a:pt x="98565" y="12619"/>
                  </a:lnTo>
                  <a:cubicBezTo>
                    <a:pt x="98565" y="8788"/>
                    <a:pt x="96009" y="5596"/>
                    <a:pt x="92814" y="4320"/>
                  </a:cubicBezTo>
                  <a:lnTo>
                    <a:pt x="80673" y="489"/>
                  </a:lnTo>
                  <a:cubicBezTo>
                    <a:pt x="77478" y="-788"/>
                    <a:pt x="73644" y="489"/>
                    <a:pt x="71088" y="3681"/>
                  </a:cubicBezTo>
                  <a:lnTo>
                    <a:pt x="66615" y="9427"/>
                  </a:lnTo>
                  <a:lnTo>
                    <a:pt x="60864" y="9427"/>
                  </a:lnTo>
                  <a:lnTo>
                    <a:pt x="56391" y="3681"/>
                  </a:lnTo>
                  <a:cubicBezTo>
                    <a:pt x="53835" y="1128"/>
                    <a:pt x="50001" y="-149"/>
                    <a:pt x="46806" y="1128"/>
                  </a:cubicBezTo>
                  <a:lnTo>
                    <a:pt x="35304" y="5596"/>
                  </a:lnTo>
                  <a:cubicBezTo>
                    <a:pt x="32109" y="6873"/>
                    <a:pt x="29554" y="10704"/>
                    <a:pt x="30192" y="13896"/>
                  </a:cubicBezTo>
                  <a:lnTo>
                    <a:pt x="30831" y="20918"/>
                  </a:lnTo>
                  <a:lnTo>
                    <a:pt x="26359" y="24748"/>
                  </a:lnTo>
                  <a:lnTo>
                    <a:pt x="19330" y="23472"/>
                  </a:lnTo>
                  <a:cubicBezTo>
                    <a:pt x="15496" y="22833"/>
                    <a:pt x="12301" y="24748"/>
                    <a:pt x="10384" y="27940"/>
                  </a:cubicBezTo>
                  <a:lnTo>
                    <a:pt x="4633" y="38793"/>
                  </a:lnTo>
                  <a:cubicBezTo>
                    <a:pt x="2716" y="41985"/>
                    <a:pt x="3355" y="45816"/>
                    <a:pt x="5911" y="49008"/>
                  </a:cubicBezTo>
                  <a:lnTo>
                    <a:pt x="11023" y="54115"/>
                  </a:lnTo>
                  <a:lnTo>
                    <a:pt x="10384" y="59860"/>
                  </a:lnTo>
                  <a:lnTo>
                    <a:pt x="3994" y="63691"/>
                  </a:lnTo>
                  <a:cubicBezTo>
                    <a:pt x="799" y="65606"/>
                    <a:pt x="-479" y="69436"/>
                    <a:pt x="160" y="72628"/>
                  </a:cubicBezTo>
                  <a:lnTo>
                    <a:pt x="2716" y="84758"/>
                  </a:lnTo>
                  <a:cubicBezTo>
                    <a:pt x="3355" y="88588"/>
                    <a:pt x="6550" y="91142"/>
                    <a:pt x="9745" y="91780"/>
                  </a:cubicBezTo>
                  <a:lnTo>
                    <a:pt x="16774" y="92419"/>
                  </a:lnTo>
                  <a:lnTo>
                    <a:pt x="19969" y="97526"/>
                  </a:lnTo>
                  <a:lnTo>
                    <a:pt x="17413" y="104548"/>
                  </a:lnTo>
                  <a:cubicBezTo>
                    <a:pt x="16135" y="107740"/>
                    <a:pt x="17413" y="111571"/>
                    <a:pt x="19969" y="114124"/>
                  </a:cubicBezTo>
                  <a:lnTo>
                    <a:pt x="30192" y="121785"/>
                  </a:lnTo>
                  <a:cubicBezTo>
                    <a:pt x="33387" y="124339"/>
                    <a:pt x="37221" y="124339"/>
                    <a:pt x="40416" y="122423"/>
                  </a:cubicBezTo>
                  <a:lnTo>
                    <a:pt x="46806" y="118593"/>
                  </a:lnTo>
                  <a:lnTo>
                    <a:pt x="51918" y="120508"/>
                  </a:lnTo>
                  <a:lnTo>
                    <a:pt x="54474" y="127531"/>
                  </a:lnTo>
                  <a:cubicBezTo>
                    <a:pt x="55752" y="130723"/>
                    <a:pt x="58947" y="133276"/>
                    <a:pt x="62781" y="133276"/>
                  </a:cubicBezTo>
                  <a:lnTo>
                    <a:pt x="62781" y="133276"/>
                  </a:lnTo>
                  <a:lnTo>
                    <a:pt x="75561" y="132638"/>
                  </a:lnTo>
                  <a:cubicBezTo>
                    <a:pt x="79395" y="132638"/>
                    <a:pt x="82590" y="130084"/>
                    <a:pt x="83229" y="126254"/>
                  </a:cubicBezTo>
                  <a:lnTo>
                    <a:pt x="85146" y="119231"/>
                  </a:lnTo>
                  <a:lnTo>
                    <a:pt x="90258" y="117316"/>
                  </a:lnTo>
                  <a:lnTo>
                    <a:pt x="96009" y="121147"/>
                  </a:lnTo>
                  <a:close/>
                  <a:moveTo>
                    <a:pt x="76839" y="109017"/>
                  </a:moveTo>
                  <a:cubicBezTo>
                    <a:pt x="74922" y="109655"/>
                    <a:pt x="73644" y="110932"/>
                    <a:pt x="73005" y="112847"/>
                  </a:cubicBezTo>
                  <a:lnTo>
                    <a:pt x="71088" y="119870"/>
                  </a:lnTo>
                  <a:lnTo>
                    <a:pt x="64698" y="119870"/>
                  </a:lnTo>
                  <a:lnTo>
                    <a:pt x="62142" y="112847"/>
                  </a:lnTo>
                  <a:cubicBezTo>
                    <a:pt x="61503" y="110932"/>
                    <a:pt x="60225" y="109655"/>
                    <a:pt x="58308" y="109017"/>
                  </a:cubicBezTo>
                  <a:lnTo>
                    <a:pt x="46806" y="105187"/>
                  </a:lnTo>
                  <a:cubicBezTo>
                    <a:pt x="46167" y="105187"/>
                    <a:pt x="45528" y="104548"/>
                    <a:pt x="44889" y="105187"/>
                  </a:cubicBezTo>
                  <a:cubicBezTo>
                    <a:pt x="43611" y="105187"/>
                    <a:pt x="42333" y="105825"/>
                    <a:pt x="41055" y="106463"/>
                  </a:cubicBezTo>
                  <a:lnTo>
                    <a:pt x="35304" y="110294"/>
                  </a:lnTo>
                  <a:lnTo>
                    <a:pt x="30192" y="106463"/>
                  </a:lnTo>
                  <a:lnTo>
                    <a:pt x="32748" y="99441"/>
                  </a:lnTo>
                  <a:cubicBezTo>
                    <a:pt x="33387" y="97526"/>
                    <a:pt x="33387" y="95611"/>
                    <a:pt x="32109" y="93695"/>
                  </a:cubicBezTo>
                  <a:lnTo>
                    <a:pt x="25720" y="83481"/>
                  </a:lnTo>
                  <a:cubicBezTo>
                    <a:pt x="24442" y="81566"/>
                    <a:pt x="23164" y="80928"/>
                    <a:pt x="21247" y="80289"/>
                  </a:cubicBezTo>
                  <a:lnTo>
                    <a:pt x="14218" y="79651"/>
                  </a:lnTo>
                  <a:lnTo>
                    <a:pt x="12940" y="73267"/>
                  </a:lnTo>
                  <a:lnTo>
                    <a:pt x="19330" y="69436"/>
                  </a:lnTo>
                  <a:cubicBezTo>
                    <a:pt x="21247" y="68160"/>
                    <a:pt x="21886" y="66883"/>
                    <a:pt x="22525" y="64968"/>
                  </a:cubicBezTo>
                  <a:lnTo>
                    <a:pt x="24442" y="53476"/>
                  </a:lnTo>
                  <a:cubicBezTo>
                    <a:pt x="24442" y="51561"/>
                    <a:pt x="23803" y="49646"/>
                    <a:pt x="22525" y="48369"/>
                  </a:cubicBezTo>
                  <a:lnTo>
                    <a:pt x="17413" y="43262"/>
                  </a:lnTo>
                  <a:lnTo>
                    <a:pt x="20608" y="37516"/>
                  </a:lnTo>
                  <a:lnTo>
                    <a:pt x="27637" y="38793"/>
                  </a:lnTo>
                  <a:cubicBezTo>
                    <a:pt x="29554" y="38793"/>
                    <a:pt x="31470" y="38793"/>
                    <a:pt x="32748" y="37516"/>
                  </a:cubicBezTo>
                  <a:lnTo>
                    <a:pt x="41694" y="29856"/>
                  </a:lnTo>
                  <a:cubicBezTo>
                    <a:pt x="42972" y="28579"/>
                    <a:pt x="43611" y="26664"/>
                    <a:pt x="43611" y="24748"/>
                  </a:cubicBezTo>
                  <a:lnTo>
                    <a:pt x="42972" y="17726"/>
                  </a:lnTo>
                  <a:lnTo>
                    <a:pt x="49362" y="15172"/>
                  </a:lnTo>
                  <a:lnTo>
                    <a:pt x="53835" y="20918"/>
                  </a:lnTo>
                  <a:cubicBezTo>
                    <a:pt x="55113" y="22195"/>
                    <a:pt x="57030" y="23472"/>
                    <a:pt x="58947" y="22833"/>
                  </a:cubicBezTo>
                  <a:lnTo>
                    <a:pt x="71088" y="22195"/>
                  </a:lnTo>
                  <a:cubicBezTo>
                    <a:pt x="73005" y="22195"/>
                    <a:pt x="74922" y="20918"/>
                    <a:pt x="76200" y="19641"/>
                  </a:cubicBezTo>
                  <a:lnTo>
                    <a:pt x="80673" y="13896"/>
                  </a:lnTo>
                  <a:lnTo>
                    <a:pt x="87063" y="15811"/>
                  </a:lnTo>
                  <a:lnTo>
                    <a:pt x="87063" y="22833"/>
                  </a:lnTo>
                  <a:cubicBezTo>
                    <a:pt x="87063" y="24748"/>
                    <a:pt x="87702" y="26664"/>
                    <a:pt x="89619" y="27940"/>
                  </a:cubicBezTo>
                  <a:lnTo>
                    <a:pt x="99204" y="34963"/>
                  </a:lnTo>
                  <a:cubicBezTo>
                    <a:pt x="100482" y="36240"/>
                    <a:pt x="103038" y="36878"/>
                    <a:pt x="104955" y="36240"/>
                  </a:cubicBezTo>
                  <a:lnTo>
                    <a:pt x="111984" y="34324"/>
                  </a:lnTo>
                  <a:lnTo>
                    <a:pt x="115179" y="40070"/>
                  </a:lnTo>
                  <a:lnTo>
                    <a:pt x="110706" y="45816"/>
                  </a:lnTo>
                  <a:cubicBezTo>
                    <a:pt x="109428" y="47092"/>
                    <a:pt x="108789" y="49008"/>
                    <a:pt x="109428" y="50923"/>
                  </a:cubicBezTo>
                  <a:lnTo>
                    <a:pt x="111984" y="62414"/>
                  </a:lnTo>
                  <a:cubicBezTo>
                    <a:pt x="112623" y="64329"/>
                    <a:pt x="113901" y="66244"/>
                    <a:pt x="115179" y="66883"/>
                  </a:cubicBezTo>
                  <a:lnTo>
                    <a:pt x="121569" y="70075"/>
                  </a:lnTo>
                  <a:lnTo>
                    <a:pt x="120930" y="76459"/>
                  </a:lnTo>
                  <a:lnTo>
                    <a:pt x="113901" y="77736"/>
                  </a:lnTo>
                  <a:cubicBezTo>
                    <a:pt x="111984" y="78374"/>
                    <a:pt x="110067" y="79012"/>
                    <a:pt x="109428" y="80928"/>
                  </a:cubicBezTo>
                  <a:lnTo>
                    <a:pt x="103677" y="91142"/>
                  </a:lnTo>
                  <a:cubicBezTo>
                    <a:pt x="103038" y="93057"/>
                    <a:pt x="103038" y="94972"/>
                    <a:pt x="103677" y="96887"/>
                  </a:cubicBezTo>
                  <a:lnTo>
                    <a:pt x="106872" y="103910"/>
                  </a:lnTo>
                  <a:lnTo>
                    <a:pt x="101760" y="108379"/>
                  </a:lnTo>
                  <a:lnTo>
                    <a:pt x="95370" y="104548"/>
                  </a:lnTo>
                  <a:cubicBezTo>
                    <a:pt x="93453" y="103271"/>
                    <a:pt x="91536" y="103271"/>
                    <a:pt x="89619" y="103910"/>
                  </a:cubicBezTo>
                  <a:lnTo>
                    <a:pt x="76839" y="109017"/>
                  </a:lnTo>
                  <a:close/>
                </a:path>
              </a:pathLst>
            </a:custGeom>
            <a:solidFill>
              <a:srgbClr val="046A38"/>
            </a:solidFill>
            <a:ln w="6390" cap="flat">
              <a:noFill/>
              <a:prstDash val="solid"/>
              <a:miter/>
            </a:ln>
          </p:spPr>
          <p:txBody>
            <a:bodyPr rtlCol="0" anchor="ctr"/>
            <a:lstStyle/>
            <a:p>
              <a:endParaRPr lang="en-US"/>
            </a:p>
          </p:txBody>
        </p:sp>
        <p:sp>
          <p:nvSpPr>
            <p:cNvPr id="64" name="Graphic 4">
              <a:extLst>
                <a:ext uri="{FF2B5EF4-FFF2-40B4-BE49-F238E27FC236}">
                  <a16:creationId xmlns:a16="http://schemas.microsoft.com/office/drawing/2014/main" id="{F567B0BD-F01E-9E4C-9E76-FF7CBF380A9C}"/>
                </a:ext>
              </a:extLst>
            </p:cNvPr>
            <p:cNvSpPr/>
            <p:nvPr/>
          </p:nvSpPr>
          <p:spPr>
            <a:xfrm>
              <a:off x="1607940" y="2460143"/>
              <a:ext cx="85159" cy="85312"/>
            </a:xfrm>
            <a:custGeom>
              <a:avLst/>
              <a:gdLst>
                <a:gd name="connsiteX0" fmla="*/ 84753 w 85159"/>
                <a:gd name="connsiteY0" fmla="*/ 48286 h 85312"/>
                <a:gd name="connsiteX1" fmla="*/ 48331 w 85159"/>
                <a:gd name="connsiteY1" fmla="*/ 406 h 85312"/>
                <a:gd name="connsiteX2" fmla="*/ 406 w 85159"/>
                <a:gd name="connsiteY2" fmla="*/ 36795 h 85312"/>
                <a:gd name="connsiteX3" fmla="*/ 36829 w 85159"/>
                <a:gd name="connsiteY3" fmla="*/ 84675 h 85312"/>
                <a:gd name="connsiteX4" fmla="*/ 43219 w 85159"/>
                <a:gd name="connsiteY4" fmla="*/ 85313 h 85312"/>
                <a:gd name="connsiteX5" fmla="*/ 84753 w 85159"/>
                <a:gd name="connsiteY5" fmla="*/ 48286 h 85312"/>
                <a:gd name="connsiteX6" fmla="*/ 60472 w 85159"/>
                <a:gd name="connsiteY6" fmla="*/ 66161 h 85312"/>
                <a:gd name="connsiteX7" fmla="*/ 18937 w 85159"/>
                <a:gd name="connsiteY7" fmla="*/ 60416 h 85312"/>
                <a:gd name="connsiteX8" fmla="*/ 13186 w 85159"/>
                <a:gd name="connsiteY8" fmla="*/ 38072 h 85312"/>
                <a:gd name="connsiteX9" fmla="*/ 24688 w 85159"/>
                <a:gd name="connsiteY9" fmla="*/ 18281 h 85312"/>
                <a:gd name="connsiteX10" fmla="*/ 42580 w 85159"/>
                <a:gd name="connsiteY10" fmla="*/ 12536 h 85312"/>
                <a:gd name="connsiteX11" fmla="*/ 47053 w 85159"/>
                <a:gd name="connsiteY11" fmla="*/ 12536 h 85312"/>
                <a:gd name="connsiteX12" fmla="*/ 72613 w 85159"/>
                <a:gd name="connsiteY12" fmla="*/ 46371 h 85312"/>
                <a:gd name="connsiteX13" fmla="*/ 60472 w 85159"/>
                <a:gd name="connsiteY13" fmla="*/ 66161 h 85312"/>
                <a:gd name="connsiteX14" fmla="*/ 60472 w 85159"/>
                <a:gd name="connsiteY14" fmla="*/ 66161 h 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159" h="85312">
                  <a:moveTo>
                    <a:pt x="84753" y="48286"/>
                  </a:moveTo>
                  <a:cubicBezTo>
                    <a:pt x="87948" y="25304"/>
                    <a:pt x="71974" y="3598"/>
                    <a:pt x="48331" y="406"/>
                  </a:cubicBezTo>
                  <a:cubicBezTo>
                    <a:pt x="25327" y="-2786"/>
                    <a:pt x="3601" y="13174"/>
                    <a:pt x="406" y="36795"/>
                  </a:cubicBezTo>
                  <a:cubicBezTo>
                    <a:pt x="-2789" y="59777"/>
                    <a:pt x="13186" y="81483"/>
                    <a:pt x="36829" y="84675"/>
                  </a:cubicBezTo>
                  <a:cubicBezTo>
                    <a:pt x="38746" y="84675"/>
                    <a:pt x="40663" y="85313"/>
                    <a:pt x="43219" y="85313"/>
                  </a:cubicBezTo>
                  <a:cubicBezTo>
                    <a:pt x="63667" y="84675"/>
                    <a:pt x="81558" y="69353"/>
                    <a:pt x="84753" y="48286"/>
                  </a:cubicBezTo>
                  <a:close/>
                  <a:moveTo>
                    <a:pt x="60472" y="66161"/>
                  </a:moveTo>
                  <a:cubicBezTo>
                    <a:pt x="47053" y="75737"/>
                    <a:pt x="28522" y="73183"/>
                    <a:pt x="18937" y="60416"/>
                  </a:cubicBezTo>
                  <a:cubicBezTo>
                    <a:pt x="14464" y="54032"/>
                    <a:pt x="11908" y="46371"/>
                    <a:pt x="13186" y="38072"/>
                  </a:cubicBezTo>
                  <a:cubicBezTo>
                    <a:pt x="14464" y="30411"/>
                    <a:pt x="18298" y="23388"/>
                    <a:pt x="24688" y="18281"/>
                  </a:cubicBezTo>
                  <a:cubicBezTo>
                    <a:pt x="29800" y="14451"/>
                    <a:pt x="36190" y="12536"/>
                    <a:pt x="42580" y="12536"/>
                  </a:cubicBezTo>
                  <a:cubicBezTo>
                    <a:pt x="43858" y="12536"/>
                    <a:pt x="45136" y="12536"/>
                    <a:pt x="47053" y="12536"/>
                  </a:cubicBezTo>
                  <a:cubicBezTo>
                    <a:pt x="63028" y="15089"/>
                    <a:pt x="74530" y="29772"/>
                    <a:pt x="72613" y="46371"/>
                  </a:cubicBezTo>
                  <a:cubicBezTo>
                    <a:pt x="70696" y="54032"/>
                    <a:pt x="66862" y="61054"/>
                    <a:pt x="60472" y="66161"/>
                  </a:cubicBezTo>
                  <a:lnTo>
                    <a:pt x="60472" y="66161"/>
                  </a:lnTo>
                  <a:close/>
                </a:path>
              </a:pathLst>
            </a:custGeom>
            <a:solidFill>
              <a:srgbClr val="046A38"/>
            </a:solidFill>
            <a:ln w="6390" cap="flat">
              <a:noFill/>
              <a:prstDash val="solid"/>
              <a:miter/>
            </a:ln>
          </p:spPr>
          <p:txBody>
            <a:bodyPr rtlCol="0" anchor="ctr"/>
            <a:lstStyle/>
            <a:p>
              <a:endParaRPr lang="en-US"/>
            </a:p>
          </p:txBody>
        </p:sp>
        <p:sp>
          <p:nvSpPr>
            <p:cNvPr id="65" name="Graphic 4">
              <a:extLst>
                <a:ext uri="{FF2B5EF4-FFF2-40B4-BE49-F238E27FC236}">
                  <a16:creationId xmlns:a16="http://schemas.microsoft.com/office/drawing/2014/main" id="{2894DF5C-D129-C440-8D48-89DE935D487E}"/>
                </a:ext>
              </a:extLst>
            </p:cNvPr>
            <p:cNvSpPr/>
            <p:nvPr/>
          </p:nvSpPr>
          <p:spPr>
            <a:xfrm>
              <a:off x="1675281" y="2533475"/>
              <a:ext cx="134987" cy="133914"/>
            </a:xfrm>
            <a:custGeom>
              <a:avLst/>
              <a:gdLst>
                <a:gd name="connsiteX0" fmla="*/ 127959 w 134987"/>
                <a:gd name="connsiteY0" fmla="*/ 61137 h 133914"/>
                <a:gd name="connsiteX1" fmla="*/ 121569 w 134987"/>
                <a:gd name="connsiteY1" fmla="*/ 57945 h 133914"/>
                <a:gd name="connsiteX2" fmla="*/ 120291 w 134987"/>
                <a:gd name="connsiteY2" fmla="*/ 52200 h 133914"/>
                <a:gd name="connsiteX3" fmla="*/ 124764 w 134987"/>
                <a:gd name="connsiteY3" fmla="*/ 46454 h 133914"/>
                <a:gd name="connsiteX4" fmla="*/ 125402 w 134987"/>
                <a:gd name="connsiteY4" fmla="*/ 36240 h 133914"/>
                <a:gd name="connsiteX5" fmla="*/ 119012 w 134987"/>
                <a:gd name="connsiteY5" fmla="*/ 25387 h 133914"/>
                <a:gd name="connsiteX6" fmla="*/ 109428 w 134987"/>
                <a:gd name="connsiteY6" fmla="*/ 21556 h 133914"/>
                <a:gd name="connsiteX7" fmla="*/ 102399 w 134987"/>
                <a:gd name="connsiteY7" fmla="*/ 22833 h 133914"/>
                <a:gd name="connsiteX8" fmla="*/ 97926 w 134987"/>
                <a:gd name="connsiteY8" fmla="*/ 19641 h 133914"/>
                <a:gd name="connsiteX9" fmla="*/ 97926 w 134987"/>
                <a:gd name="connsiteY9" fmla="*/ 12619 h 133914"/>
                <a:gd name="connsiteX10" fmla="*/ 92175 w 134987"/>
                <a:gd name="connsiteY10" fmla="*/ 4320 h 133914"/>
                <a:gd name="connsiteX11" fmla="*/ 80034 w 134987"/>
                <a:gd name="connsiteY11" fmla="*/ 489 h 133914"/>
                <a:gd name="connsiteX12" fmla="*/ 70449 w 134987"/>
                <a:gd name="connsiteY12" fmla="*/ 3681 h 133914"/>
                <a:gd name="connsiteX13" fmla="*/ 65976 w 134987"/>
                <a:gd name="connsiteY13" fmla="*/ 9427 h 133914"/>
                <a:gd name="connsiteX14" fmla="*/ 60225 w 134987"/>
                <a:gd name="connsiteY14" fmla="*/ 9427 h 133914"/>
                <a:gd name="connsiteX15" fmla="*/ 56391 w 134987"/>
                <a:gd name="connsiteY15" fmla="*/ 4958 h 133914"/>
                <a:gd name="connsiteX16" fmla="*/ 46806 w 134987"/>
                <a:gd name="connsiteY16" fmla="*/ 2405 h 133914"/>
                <a:gd name="connsiteX17" fmla="*/ 35304 w 134987"/>
                <a:gd name="connsiteY17" fmla="*/ 6873 h 133914"/>
                <a:gd name="connsiteX18" fmla="*/ 30192 w 134987"/>
                <a:gd name="connsiteY18" fmla="*/ 15172 h 133914"/>
                <a:gd name="connsiteX19" fmla="*/ 30831 w 134987"/>
                <a:gd name="connsiteY19" fmla="*/ 22195 h 133914"/>
                <a:gd name="connsiteX20" fmla="*/ 26358 w 134987"/>
                <a:gd name="connsiteY20" fmla="*/ 26025 h 133914"/>
                <a:gd name="connsiteX21" fmla="*/ 19330 w 134987"/>
                <a:gd name="connsiteY21" fmla="*/ 24748 h 133914"/>
                <a:gd name="connsiteX22" fmla="*/ 10384 w 134987"/>
                <a:gd name="connsiteY22" fmla="*/ 29217 h 133914"/>
                <a:gd name="connsiteX23" fmla="*/ 4633 w 134987"/>
                <a:gd name="connsiteY23" fmla="*/ 40070 h 133914"/>
                <a:gd name="connsiteX24" fmla="*/ 5911 w 134987"/>
                <a:gd name="connsiteY24" fmla="*/ 50284 h 133914"/>
                <a:gd name="connsiteX25" fmla="*/ 11023 w 134987"/>
                <a:gd name="connsiteY25" fmla="*/ 55392 h 133914"/>
                <a:gd name="connsiteX26" fmla="*/ 10384 w 134987"/>
                <a:gd name="connsiteY26" fmla="*/ 61137 h 133914"/>
                <a:gd name="connsiteX27" fmla="*/ 3994 w 134987"/>
                <a:gd name="connsiteY27" fmla="*/ 64967 h 133914"/>
                <a:gd name="connsiteX28" fmla="*/ 160 w 134987"/>
                <a:gd name="connsiteY28" fmla="*/ 73905 h 133914"/>
                <a:gd name="connsiteX29" fmla="*/ 2716 w 134987"/>
                <a:gd name="connsiteY29" fmla="*/ 86035 h 133914"/>
                <a:gd name="connsiteX30" fmla="*/ 9745 w 134987"/>
                <a:gd name="connsiteY30" fmla="*/ 93057 h 133914"/>
                <a:gd name="connsiteX31" fmla="*/ 16773 w 134987"/>
                <a:gd name="connsiteY31" fmla="*/ 93695 h 133914"/>
                <a:gd name="connsiteX32" fmla="*/ 19968 w 134987"/>
                <a:gd name="connsiteY32" fmla="*/ 98803 h 133914"/>
                <a:gd name="connsiteX33" fmla="*/ 17412 w 134987"/>
                <a:gd name="connsiteY33" fmla="*/ 105825 h 133914"/>
                <a:gd name="connsiteX34" fmla="*/ 19968 w 134987"/>
                <a:gd name="connsiteY34" fmla="*/ 115401 h 133914"/>
                <a:gd name="connsiteX35" fmla="*/ 30192 w 134987"/>
                <a:gd name="connsiteY35" fmla="*/ 123062 h 133914"/>
                <a:gd name="connsiteX36" fmla="*/ 40416 w 134987"/>
                <a:gd name="connsiteY36" fmla="*/ 123700 h 133914"/>
                <a:gd name="connsiteX37" fmla="*/ 46806 w 134987"/>
                <a:gd name="connsiteY37" fmla="*/ 119870 h 133914"/>
                <a:gd name="connsiteX38" fmla="*/ 52557 w 134987"/>
                <a:gd name="connsiteY38" fmla="*/ 121785 h 133914"/>
                <a:gd name="connsiteX39" fmla="*/ 55113 w 134987"/>
                <a:gd name="connsiteY39" fmla="*/ 128169 h 133914"/>
                <a:gd name="connsiteX40" fmla="*/ 63420 w 134987"/>
                <a:gd name="connsiteY40" fmla="*/ 133915 h 133914"/>
                <a:gd name="connsiteX41" fmla="*/ 63420 w 134987"/>
                <a:gd name="connsiteY41" fmla="*/ 133915 h 133914"/>
                <a:gd name="connsiteX42" fmla="*/ 76200 w 134987"/>
                <a:gd name="connsiteY42" fmla="*/ 133276 h 133914"/>
                <a:gd name="connsiteX43" fmla="*/ 83868 w 134987"/>
                <a:gd name="connsiteY43" fmla="*/ 126892 h 133914"/>
                <a:gd name="connsiteX44" fmla="*/ 85785 w 134987"/>
                <a:gd name="connsiteY44" fmla="*/ 119870 h 133914"/>
                <a:gd name="connsiteX45" fmla="*/ 90897 w 134987"/>
                <a:gd name="connsiteY45" fmla="*/ 117955 h 133914"/>
                <a:gd name="connsiteX46" fmla="*/ 97287 w 134987"/>
                <a:gd name="connsiteY46" fmla="*/ 121785 h 133914"/>
                <a:gd name="connsiteX47" fmla="*/ 107511 w 134987"/>
                <a:gd name="connsiteY47" fmla="*/ 120508 h 133914"/>
                <a:gd name="connsiteX48" fmla="*/ 117096 w 134987"/>
                <a:gd name="connsiteY48" fmla="*/ 112209 h 133914"/>
                <a:gd name="connsiteX49" fmla="*/ 119012 w 134987"/>
                <a:gd name="connsiteY49" fmla="*/ 102633 h 133914"/>
                <a:gd name="connsiteX50" fmla="*/ 116457 w 134987"/>
                <a:gd name="connsiteY50" fmla="*/ 96249 h 133914"/>
                <a:gd name="connsiteX51" fmla="*/ 119012 w 134987"/>
                <a:gd name="connsiteY51" fmla="*/ 91142 h 133914"/>
                <a:gd name="connsiteX52" fmla="*/ 126041 w 134987"/>
                <a:gd name="connsiteY52" fmla="*/ 89865 h 133914"/>
                <a:gd name="connsiteX53" fmla="*/ 133070 w 134987"/>
                <a:gd name="connsiteY53" fmla="*/ 82843 h 133914"/>
                <a:gd name="connsiteX54" fmla="*/ 134987 w 134987"/>
                <a:gd name="connsiteY54" fmla="*/ 70075 h 133914"/>
                <a:gd name="connsiteX55" fmla="*/ 127959 w 134987"/>
                <a:gd name="connsiteY55" fmla="*/ 61137 h 133914"/>
                <a:gd name="connsiteX56" fmla="*/ 119012 w 134987"/>
                <a:gd name="connsiteY56" fmla="*/ 77735 h 133914"/>
                <a:gd name="connsiteX57" fmla="*/ 111984 w 134987"/>
                <a:gd name="connsiteY57" fmla="*/ 79012 h 133914"/>
                <a:gd name="connsiteX58" fmla="*/ 107511 w 134987"/>
                <a:gd name="connsiteY58" fmla="*/ 82204 h 133914"/>
                <a:gd name="connsiteX59" fmla="*/ 101760 w 134987"/>
                <a:gd name="connsiteY59" fmla="*/ 92419 h 133914"/>
                <a:gd name="connsiteX60" fmla="*/ 101760 w 134987"/>
                <a:gd name="connsiteY60" fmla="*/ 98164 h 133914"/>
                <a:gd name="connsiteX61" fmla="*/ 104955 w 134987"/>
                <a:gd name="connsiteY61" fmla="*/ 105187 h 133914"/>
                <a:gd name="connsiteX62" fmla="*/ 99843 w 134987"/>
                <a:gd name="connsiteY62" fmla="*/ 109655 h 133914"/>
                <a:gd name="connsiteX63" fmla="*/ 93453 w 134987"/>
                <a:gd name="connsiteY63" fmla="*/ 105825 h 133914"/>
                <a:gd name="connsiteX64" fmla="*/ 87702 w 134987"/>
                <a:gd name="connsiteY64" fmla="*/ 105825 h 133914"/>
                <a:gd name="connsiteX65" fmla="*/ 76839 w 134987"/>
                <a:gd name="connsiteY65" fmla="*/ 110294 h 133914"/>
                <a:gd name="connsiteX66" fmla="*/ 73005 w 134987"/>
                <a:gd name="connsiteY66" fmla="*/ 114124 h 133914"/>
                <a:gd name="connsiteX67" fmla="*/ 71088 w 134987"/>
                <a:gd name="connsiteY67" fmla="*/ 121147 h 133914"/>
                <a:gd name="connsiteX68" fmla="*/ 64698 w 134987"/>
                <a:gd name="connsiteY68" fmla="*/ 121147 h 133914"/>
                <a:gd name="connsiteX69" fmla="*/ 62142 w 134987"/>
                <a:gd name="connsiteY69" fmla="*/ 114124 h 133914"/>
                <a:gd name="connsiteX70" fmla="*/ 58308 w 134987"/>
                <a:gd name="connsiteY70" fmla="*/ 110294 h 133914"/>
                <a:gd name="connsiteX71" fmla="*/ 46806 w 134987"/>
                <a:gd name="connsiteY71" fmla="*/ 106463 h 133914"/>
                <a:gd name="connsiteX72" fmla="*/ 44889 w 134987"/>
                <a:gd name="connsiteY72" fmla="*/ 106463 h 133914"/>
                <a:gd name="connsiteX73" fmla="*/ 41694 w 134987"/>
                <a:gd name="connsiteY73" fmla="*/ 107740 h 133914"/>
                <a:gd name="connsiteX74" fmla="*/ 35304 w 134987"/>
                <a:gd name="connsiteY74" fmla="*/ 111571 h 133914"/>
                <a:gd name="connsiteX75" fmla="*/ 30192 w 134987"/>
                <a:gd name="connsiteY75" fmla="*/ 107740 h 133914"/>
                <a:gd name="connsiteX76" fmla="*/ 32748 w 134987"/>
                <a:gd name="connsiteY76" fmla="*/ 100718 h 133914"/>
                <a:gd name="connsiteX77" fmla="*/ 32109 w 134987"/>
                <a:gd name="connsiteY77" fmla="*/ 94972 h 133914"/>
                <a:gd name="connsiteX78" fmla="*/ 25720 w 134987"/>
                <a:gd name="connsiteY78" fmla="*/ 84758 h 133914"/>
                <a:gd name="connsiteX79" fmla="*/ 21246 w 134987"/>
                <a:gd name="connsiteY79" fmla="*/ 81566 h 133914"/>
                <a:gd name="connsiteX80" fmla="*/ 14218 w 134987"/>
                <a:gd name="connsiteY80" fmla="*/ 80927 h 133914"/>
                <a:gd name="connsiteX81" fmla="*/ 12940 w 134987"/>
                <a:gd name="connsiteY81" fmla="*/ 74543 h 133914"/>
                <a:gd name="connsiteX82" fmla="*/ 19330 w 134987"/>
                <a:gd name="connsiteY82" fmla="*/ 70713 h 133914"/>
                <a:gd name="connsiteX83" fmla="*/ 22525 w 134987"/>
                <a:gd name="connsiteY83" fmla="*/ 66244 h 133914"/>
                <a:gd name="connsiteX84" fmla="*/ 24441 w 134987"/>
                <a:gd name="connsiteY84" fmla="*/ 54753 h 133914"/>
                <a:gd name="connsiteX85" fmla="*/ 22525 w 134987"/>
                <a:gd name="connsiteY85" fmla="*/ 49646 h 133914"/>
                <a:gd name="connsiteX86" fmla="*/ 17412 w 134987"/>
                <a:gd name="connsiteY86" fmla="*/ 44539 h 133914"/>
                <a:gd name="connsiteX87" fmla="*/ 20607 w 134987"/>
                <a:gd name="connsiteY87" fmla="*/ 38793 h 133914"/>
                <a:gd name="connsiteX88" fmla="*/ 27636 w 134987"/>
                <a:gd name="connsiteY88" fmla="*/ 40070 h 133914"/>
                <a:gd name="connsiteX89" fmla="*/ 32748 w 134987"/>
                <a:gd name="connsiteY89" fmla="*/ 38793 h 133914"/>
                <a:gd name="connsiteX90" fmla="*/ 41694 w 134987"/>
                <a:gd name="connsiteY90" fmla="*/ 31132 h 133914"/>
                <a:gd name="connsiteX91" fmla="*/ 43611 w 134987"/>
                <a:gd name="connsiteY91" fmla="*/ 26025 h 133914"/>
                <a:gd name="connsiteX92" fmla="*/ 42972 w 134987"/>
                <a:gd name="connsiteY92" fmla="*/ 19003 h 133914"/>
                <a:gd name="connsiteX93" fmla="*/ 49362 w 134987"/>
                <a:gd name="connsiteY93" fmla="*/ 16449 h 133914"/>
                <a:gd name="connsiteX94" fmla="*/ 53835 w 134987"/>
                <a:gd name="connsiteY94" fmla="*/ 22195 h 133914"/>
                <a:gd name="connsiteX95" fmla="*/ 58947 w 134987"/>
                <a:gd name="connsiteY95" fmla="*/ 24110 h 133914"/>
                <a:gd name="connsiteX96" fmla="*/ 71088 w 134987"/>
                <a:gd name="connsiteY96" fmla="*/ 23472 h 133914"/>
                <a:gd name="connsiteX97" fmla="*/ 76200 w 134987"/>
                <a:gd name="connsiteY97" fmla="*/ 20918 h 133914"/>
                <a:gd name="connsiteX98" fmla="*/ 80673 w 134987"/>
                <a:gd name="connsiteY98" fmla="*/ 15172 h 133914"/>
                <a:gd name="connsiteX99" fmla="*/ 87063 w 134987"/>
                <a:gd name="connsiteY99" fmla="*/ 17088 h 133914"/>
                <a:gd name="connsiteX100" fmla="*/ 87063 w 134987"/>
                <a:gd name="connsiteY100" fmla="*/ 24110 h 133914"/>
                <a:gd name="connsiteX101" fmla="*/ 89619 w 134987"/>
                <a:gd name="connsiteY101" fmla="*/ 29217 h 133914"/>
                <a:gd name="connsiteX102" fmla="*/ 99204 w 134987"/>
                <a:gd name="connsiteY102" fmla="*/ 36240 h 133914"/>
                <a:gd name="connsiteX103" fmla="*/ 104316 w 134987"/>
                <a:gd name="connsiteY103" fmla="*/ 37516 h 133914"/>
                <a:gd name="connsiteX104" fmla="*/ 111345 w 134987"/>
                <a:gd name="connsiteY104" fmla="*/ 35601 h 133914"/>
                <a:gd name="connsiteX105" fmla="*/ 114540 w 134987"/>
                <a:gd name="connsiteY105" fmla="*/ 41347 h 133914"/>
                <a:gd name="connsiteX106" fmla="*/ 110067 w 134987"/>
                <a:gd name="connsiteY106" fmla="*/ 47092 h 133914"/>
                <a:gd name="connsiteX107" fmla="*/ 108789 w 134987"/>
                <a:gd name="connsiteY107" fmla="*/ 52200 h 133914"/>
                <a:gd name="connsiteX108" fmla="*/ 111345 w 134987"/>
                <a:gd name="connsiteY108" fmla="*/ 63691 h 133914"/>
                <a:gd name="connsiteX109" fmla="*/ 114540 w 134987"/>
                <a:gd name="connsiteY109" fmla="*/ 68159 h 133914"/>
                <a:gd name="connsiteX110" fmla="*/ 120930 w 134987"/>
                <a:gd name="connsiteY110" fmla="*/ 71351 h 133914"/>
                <a:gd name="connsiteX111" fmla="*/ 119012 w 134987"/>
                <a:gd name="connsiteY111" fmla="*/ 77735 h 1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4987" h="133914">
                  <a:moveTo>
                    <a:pt x="127959" y="61137"/>
                  </a:moveTo>
                  <a:lnTo>
                    <a:pt x="121569" y="57945"/>
                  </a:lnTo>
                  <a:lnTo>
                    <a:pt x="120291" y="52200"/>
                  </a:lnTo>
                  <a:lnTo>
                    <a:pt x="124764" y="46454"/>
                  </a:lnTo>
                  <a:cubicBezTo>
                    <a:pt x="127319" y="43900"/>
                    <a:pt x="127319" y="39432"/>
                    <a:pt x="125402" y="36240"/>
                  </a:cubicBezTo>
                  <a:lnTo>
                    <a:pt x="119012" y="25387"/>
                  </a:lnTo>
                  <a:cubicBezTo>
                    <a:pt x="117096" y="22195"/>
                    <a:pt x="113262" y="20918"/>
                    <a:pt x="109428" y="21556"/>
                  </a:cubicBezTo>
                  <a:lnTo>
                    <a:pt x="102399" y="22833"/>
                  </a:lnTo>
                  <a:lnTo>
                    <a:pt x="97926" y="19641"/>
                  </a:lnTo>
                  <a:lnTo>
                    <a:pt x="97926" y="12619"/>
                  </a:lnTo>
                  <a:cubicBezTo>
                    <a:pt x="97926" y="8789"/>
                    <a:pt x="95370" y="5597"/>
                    <a:pt x="92175" y="4320"/>
                  </a:cubicBezTo>
                  <a:lnTo>
                    <a:pt x="80034" y="489"/>
                  </a:lnTo>
                  <a:cubicBezTo>
                    <a:pt x="76839" y="-787"/>
                    <a:pt x="72366" y="489"/>
                    <a:pt x="70449" y="3681"/>
                  </a:cubicBezTo>
                  <a:lnTo>
                    <a:pt x="65976" y="9427"/>
                  </a:lnTo>
                  <a:lnTo>
                    <a:pt x="60225" y="9427"/>
                  </a:lnTo>
                  <a:lnTo>
                    <a:pt x="56391" y="4958"/>
                  </a:lnTo>
                  <a:cubicBezTo>
                    <a:pt x="53835" y="2405"/>
                    <a:pt x="50001" y="1128"/>
                    <a:pt x="46806" y="2405"/>
                  </a:cubicBezTo>
                  <a:lnTo>
                    <a:pt x="35304" y="6873"/>
                  </a:lnTo>
                  <a:cubicBezTo>
                    <a:pt x="32109" y="8150"/>
                    <a:pt x="29553" y="11342"/>
                    <a:pt x="30192" y="15172"/>
                  </a:cubicBezTo>
                  <a:lnTo>
                    <a:pt x="30831" y="22195"/>
                  </a:lnTo>
                  <a:lnTo>
                    <a:pt x="26358" y="26025"/>
                  </a:lnTo>
                  <a:lnTo>
                    <a:pt x="19330" y="24748"/>
                  </a:lnTo>
                  <a:cubicBezTo>
                    <a:pt x="15496" y="24110"/>
                    <a:pt x="12301" y="26025"/>
                    <a:pt x="10384" y="29217"/>
                  </a:cubicBezTo>
                  <a:lnTo>
                    <a:pt x="4633" y="40070"/>
                  </a:lnTo>
                  <a:cubicBezTo>
                    <a:pt x="2716" y="43262"/>
                    <a:pt x="3355" y="47092"/>
                    <a:pt x="5911" y="50284"/>
                  </a:cubicBezTo>
                  <a:lnTo>
                    <a:pt x="11023" y="55392"/>
                  </a:lnTo>
                  <a:lnTo>
                    <a:pt x="10384" y="61137"/>
                  </a:lnTo>
                  <a:lnTo>
                    <a:pt x="3994" y="64967"/>
                  </a:lnTo>
                  <a:cubicBezTo>
                    <a:pt x="799" y="66883"/>
                    <a:pt x="-479" y="70713"/>
                    <a:pt x="160" y="73905"/>
                  </a:cubicBezTo>
                  <a:lnTo>
                    <a:pt x="2716" y="86035"/>
                  </a:lnTo>
                  <a:cubicBezTo>
                    <a:pt x="3355" y="89865"/>
                    <a:pt x="6550" y="92419"/>
                    <a:pt x="9745" y="93057"/>
                  </a:cubicBezTo>
                  <a:lnTo>
                    <a:pt x="16773" y="93695"/>
                  </a:lnTo>
                  <a:lnTo>
                    <a:pt x="19968" y="98803"/>
                  </a:lnTo>
                  <a:lnTo>
                    <a:pt x="17412" y="105825"/>
                  </a:lnTo>
                  <a:cubicBezTo>
                    <a:pt x="16135" y="109017"/>
                    <a:pt x="17412" y="112847"/>
                    <a:pt x="19968" y="115401"/>
                  </a:cubicBezTo>
                  <a:lnTo>
                    <a:pt x="30192" y="123062"/>
                  </a:lnTo>
                  <a:cubicBezTo>
                    <a:pt x="33387" y="125615"/>
                    <a:pt x="37221" y="125615"/>
                    <a:pt x="40416" y="123700"/>
                  </a:cubicBezTo>
                  <a:lnTo>
                    <a:pt x="46806" y="119870"/>
                  </a:lnTo>
                  <a:lnTo>
                    <a:pt x="52557" y="121785"/>
                  </a:lnTo>
                  <a:lnTo>
                    <a:pt x="55113" y="128169"/>
                  </a:lnTo>
                  <a:cubicBezTo>
                    <a:pt x="56391" y="131361"/>
                    <a:pt x="59586" y="133915"/>
                    <a:pt x="63420" y="133915"/>
                  </a:cubicBezTo>
                  <a:lnTo>
                    <a:pt x="63420" y="133915"/>
                  </a:lnTo>
                  <a:lnTo>
                    <a:pt x="76200" y="133276"/>
                  </a:lnTo>
                  <a:cubicBezTo>
                    <a:pt x="80034" y="133276"/>
                    <a:pt x="83229" y="130723"/>
                    <a:pt x="83868" y="126892"/>
                  </a:cubicBezTo>
                  <a:lnTo>
                    <a:pt x="85785" y="119870"/>
                  </a:lnTo>
                  <a:lnTo>
                    <a:pt x="90897" y="117955"/>
                  </a:lnTo>
                  <a:lnTo>
                    <a:pt x="97287" y="121785"/>
                  </a:lnTo>
                  <a:cubicBezTo>
                    <a:pt x="100482" y="123700"/>
                    <a:pt x="104316" y="123062"/>
                    <a:pt x="107511" y="120508"/>
                  </a:cubicBezTo>
                  <a:lnTo>
                    <a:pt x="117096" y="112209"/>
                  </a:lnTo>
                  <a:cubicBezTo>
                    <a:pt x="119651" y="109655"/>
                    <a:pt x="120930" y="105825"/>
                    <a:pt x="119012" y="102633"/>
                  </a:cubicBezTo>
                  <a:lnTo>
                    <a:pt x="116457" y="96249"/>
                  </a:lnTo>
                  <a:lnTo>
                    <a:pt x="119012" y="91142"/>
                  </a:lnTo>
                  <a:lnTo>
                    <a:pt x="126041" y="89865"/>
                  </a:lnTo>
                  <a:cubicBezTo>
                    <a:pt x="129875" y="89227"/>
                    <a:pt x="132431" y="86035"/>
                    <a:pt x="133070" y="82843"/>
                  </a:cubicBezTo>
                  <a:lnTo>
                    <a:pt x="134987" y="70075"/>
                  </a:lnTo>
                  <a:cubicBezTo>
                    <a:pt x="133709" y="66883"/>
                    <a:pt x="131792" y="63052"/>
                    <a:pt x="127959" y="61137"/>
                  </a:cubicBezTo>
                  <a:close/>
                  <a:moveTo>
                    <a:pt x="119012" y="77735"/>
                  </a:moveTo>
                  <a:lnTo>
                    <a:pt x="111984" y="79012"/>
                  </a:lnTo>
                  <a:cubicBezTo>
                    <a:pt x="110067" y="79651"/>
                    <a:pt x="108789" y="80289"/>
                    <a:pt x="107511" y="82204"/>
                  </a:cubicBezTo>
                  <a:lnTo>
                    <a:pt x="101760" y="92419"/>
                  </a:lnTo>
                  <a:cubicBezTo>
                    <a:pt x="101121" y="94334"/>
                    <a:pt x="101121" y="96249"/>
                    <a:pt x="101760" y="98164"/>
                  </a:cubicBezTo>
                  <a:lnTo>
                    <a:pt x="104955" y="105187"/>
                  </a:lnTo>
                  <a:lnTo>
                    <a:pt x="99843" y="109655"/>
                  </a:lnTo>
                  <a:lnTo>
                    <a:pt x="93453" y="105825"/>
                  </a:lnTo>
                  <a:cubicBezTo>
                    <a:pt x="91536" y="105187"/>
                    <a:pt x="89619" y="104548"/>
                    <a:pt x="87702" y="105825"/>
                  </a:cubicBezTo>
                  <a:lnTo>
                    <a:pt x="76839" y="110294"/>
                  </a:lnTo>
                  <a:cubicBezTo>
                    <a:pt x="74922" y="110932"/>
                    <a:pt x="73644" y="112209"/>
                    <a:pt x="73005" y="114124"/>
                  </a:cubicBezTo>
                  <a:lnTo>
                    <a:pt x="71088" y="121147"/>
                  </a:lnTo>
                  <a:lnTo>
                    <a:pt x="64698" y="121147"/>
                  </a:lnTo>
                  <a:lnTo>
                    <a:pt x="62142" y="114124"/>
                  </a:lnTo>
                  <a:cubicBezTo>
                    <a:pt x="61503" y="112209"/>
                    <a:pt x="60225" y="110932"/>
                    <a:pt x="58308" y="110294"/>
                  </a:cubicBezTo>
                  <a:lnTo>
                    <a:pt x="46806" y="106463"/>
                  </a:lnTo>
                  <a:cubicBezTo>
                    <a:pt x="46167" y="106463"/>
                    <a:pt x="45528" y="106463"/>
                    <a:pt x="44889" y="106463"/>
                  </a:cubicBezTo>
                  <a:cubicBezTo>
                    <a:pt x="43611" y="106463"/>
                    <a:pt x="42333" y="107102"/>
                    <a:pt x="41694" y="107740"/>
                  </a:cubicBezTo>
                  <a:lnTo>
                    <a:pt x="35304" y="111571"/>
                  </a:lnTo>
                  <a:lnTo>
                    <a:pt x="30192" y="107740"/>
                  </a:lnTo>
                  <a:lnTo>
                    <a:pt x="32748" y="100718"/>
                  </a:lnTo>
                  <a:cubicBezTo>
                    <a:pt x="33387" y="98803"/>
                    <a:pt x="33387" y="96887"/>
                    <a:pt x="32109" y="94972"/>
                  </a:cubicBezTo>
                  <a:lnTo>
                    <a:pt x="25720" y="84758"/>
                  </a:lnTo>
                  <a:cubicBezTo>
                    <a:pt x="24441" y="82843"/>
                    <a:pt x="23163" y="82204"/>
                    <a:pt x="21246" y="81566"/>
                  </a:cubicBezTo>
                  <a:lnTo>
                    <a:pt x="14218" y="80927"/>
                  </a:lnTo>
                  <a:lnTo>
                    <a:pt x="12940" y="74543"/>
                  </a:lnTo>
                  <a:lnTo>
                    <a:pt x="19330" y="70713"/>
                  </a:lnTo>
                  <a:cubicBezTo>
                    <a:pt x="21246" y="69436"/>
                    <a:pt x="21886" y="68159"/>
                    <a:pt x="22525" y="66244"/>
                  </a:cubicBezTo>
                  <a:lnTo>
                    <a:pt x="24441" y="54753"/>
                  </a:lnTo>
                  <a:cubicBezTo>
                    <a:pt x="24441" y="52838"/>
                    <a:pt x="23802" y="50923"/>
                    <a:pt x="22525" y="49646"/>
                  </a:cubicBezTo>
                  <a:lnTo>
                    <a:pt x="17412" y="44539"/>
                  </a:lnTo>
                  <a:lnTo>
                    <a:pt x="20607" y="38793"/>
                  </a:lnTo>
                  <a:lnTo>
                    <a:pt x="27636" y="40070"/>
                  </a:lnTo>
                  <a:cubicBezTo>
                    <a:pt x="29553" y="40070"/>
                    <a:pt x="31470" y="40070"/>
                    <a:pt x="32748" y="38793"/>
                  </a:cubicBezTo>
                  <a:lnTo>
                    <a:pt x="41694" y="31132"/>
                  </a:lnTo>
                  <a:cubicBezTo>
                    <a:pt x="42972" y="29856"/>
                    <a:pt x="43611" y="27940"/>
                    <a:pt x="43611" y="26025"/>
                  </a:cubicBezTo>
                  <a:lnTo>
                    <a:pt x="42972" y="19003"/>
                  </a:lnTo>
                  <a:lnTo>
                    <a:pt x="49362" y="16449"/>
                  </a:lnTo>
                  <a:lnTo>
                    <a:pt x="53835" y="22195"/>
                  </a:lnTo>
                  <a:cubicBezTo>
                    <a:pt x="55113" y="23472"/>
                    <a:pt x="57030" y="24748"/>
                    <a:pt x="58947" y="24110"/>
                  </a:cubicBezTo>
                  <a:lnTo>
                    <a:pt x="71088" y="23472"/>
                  </a:lnTo>
                  <a:cubicBezTo>
                    <a:pt x="73005" y="23472"/>
                    <a:pt x="74922" y="22195"/>
                    <a:pt x="76200" y="20918"/>
                  </a:cubicBezTo>
                  <a:lnTo>
                    <a:pt x="80673" y="15172"/>
                  </a:lnTo>
                  <a:lnTo>
                    <a:pt x="87063" y="17088"/>
                  </a:lnTo>
                  <a:lnTo>
                    <a:pt x="87063" y="24110"/>
                  </a:lnTo>
                  <a:cubicBezTo>
                    <a:pt x="87063" y="26025"/>
                    <a:pt x="87702" y="27940"/>
                    <a:pt x="89619" y="29217"/>
                  </a:cubicBezTo>
                  <a:lnTo>
                    <a:pt x="99204" y="36240"/>
                  </a:lnTo>
                  <a:cubicBezTo>
                    <a:pt x="100482" y="37516"/>
                    <a:pt x="102399" y="38155"/>
                    <a:pt x="104316" y="37516"/>
                  </a:cubicBezTo>
                  <a:lnTo>
                    <a:pt x="111345" y="35601"/>
                  </a:lnTo>
                  <a:lnTo>
                    <a:pt x="114540" y="41347"/>
                  </a:lnTo>
                  <a:lnTo>
                    <a:pt x="110067" y="47092"/>
                  </a:lnTo>
                  <a:cubicBezTo>
                    <a:pt x="108789" y="48369"/>
                    <a:pt x="108150" y="50284"/>
                    <a:pt x="108789" y="52200"/>
                  </a:cubicBezTo>
                  <a:lnTo>
                    <a:pt x="111345" y="63691"/>
                  </a:lnTo>
                  <a:cubicBezTo>
                    <a:pt x="111984" y="65606"/>
                    <a:pt x="113262" y="66883"/>
                    <a:pt x="114540" y="68159"/>
                  </a:cubicBezTo>
                  <a:lnTo>
                    <a:pt x="120930" y="71351"/>
                  </a:lnTo>
                  <a:lnTo>
                    <a:pt x="119012" y="77735"/>
                  </a:lnTo>
                  <a:close/>
                </a:path>
              </a:pathLst>
            </a:custGeom>
            <a:solidFill>
              <a:srgbClr val="046A38"/>
            </a:solidFill>
            <a:ln w="6390" cap="flat">
              <a:noFill/>
              <a:prstDash val="solid"/>
              <a:miter/>
            </a:ln>
          </p:spPr>
          <p:txBody>
            <a:bodyPr rtlCol="0" anchor="ctr"/>
            <a:lstStyle/>
            <a:p>
              <a:endParaRPr lang="en-US"/>
            </a:p>
          </p:txBody>
        </p:sp>
        <p:sp>
          <p:nvSpPr>
            <p:cNvPr id="66" name="Graphic 4">
              <a:extLst>
                <a:ext uri="{FF2B5EF4-FFF2-40B4-BE49-F238E27FC236}">
                  <a16:creationId xmlns:a16="http://schemas.microsoft.com/office/drawing/2014/main" id="{6C36DCE6-A3AE-A24C-8095-A27F063BCAC9}"/>
                </a:ext>
              </a:extLst>
            </p:cNvPr>
            <p:cNvSpPr/>
            <p:nvPr/>
          </p:nvSpPr>
          <p:spPr>
            <a:xfrm>
              <a:off x="1698677" y="2557818"/>
              <a:ext cx="85392" cy="85312"/>
            </a:xfrm>
            <a:custGeom>
              <a:avLst/>
              <a:gdLst>
                <a:gd name="connsiteX0" fmla="*/ 48331 w 85392"/>
                <a:gd name="connsiteY0" fmla="*/ 406 h 85312"/>
                <a:gd name="connsiteX1" fmla="*/ 406 w 85392"/>
                <a:gd name="connsiteY1" fmla="*/ 36794 h 85312"/>
                <a:gd name="connsiteX2" fmla="*/ 36829 w 85392"/>
                <a:gd name="connsiteY2" fmla="*/ 84674 h 85312"/>
                <a:gd name="connsiteX3" fmla="*/ 43219 w 85392"/>
                <a:gd name="connsiteY3" fmla="*/ 85313 h 85312"/>
                <a:gd name="connsiteX4" fmla="*/ 85393 w 85392"/>
                <a:gd name="connsiteY4" fmla="*/ 42540 h 85312"/>
                <a:gd name="connsiteX5" fmla="*/ 48331 w 85392"/>
                <a:gd name="connsiteY5" fmla="*/ 406 h 85312"/>
                <a:gd name="connsiteX6" fmla="*/ 71335 w 85392"/>
                <a:gd name="connsiteY6" fmla="*/ 47009 h 85312"/>
                <a:gd name="connsiteX7" fmla="*/ 37468 w 85392"/>
                <a:gd name="connsiteY7" fmla="*/ 72545 h 85312"/>
                <a:gd name="connsiteX8" fmla="*/ 37468 w 85392"/>
                <a:gd name="connsiteY8" fmla="*/ 72545 h 85312"/>
                <a:gd name="connsiteX9" fmla="*/ 11908 w 85392"/>
                <a:gd name="connsiteY9" fmla="*/ 39348 h 85312"/>
                <a:gd name="connsiteX10" fmla="*/ 41941 w 85392"/>
                <a:gd name="connsiteY10" fmla="*/ 13174 h 85312"/>
                <a:gd name="connsiteX11" fmla="*/ 46414 w 85392"/>
                <a:gd name="connsiteY11" fmla="*/ 13174 h 85312"/>
                <a:gd name="connsiteX12" fmla="*/ 71335 w 85392"/>
                <a:gd name="connsiteY12" fmla="*/ 47009 h 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392" h="85312">
                  <a:moveTo>
                    <a:pt x="48331" y="406"/>
                  </a:moveTo>
                  <a:cubicBezTo>
                    <a:pt x="25327" y="-2786"/>
                    <a:pt x="3601" y="13174"/>
                    <a:pt x="406" y="36794"/>
                  </a:cubicBezTo>
                  <a:cubicBezTo>
                    <a:pt x="-2789" y="60415"/>
                    <a:pt x="13186" y="81482"/>
                    <a:pt x="36829" y="84674"/>
                  </a:cubicBezTo>
                  <a:cubicBezTo>
                    <a:pt x="38746" y="84674"/>
                    <a:pt x="40663" y="85313"/>
                    <a:pt x="43219" y="85313"/>
                  </a:cubicBezTo>
                  <a:cubicBezTo>
                    <a:pt x="66862" y="85313"/>
                    <a:pt x="85393" y="66161"/>
                    <a:pt x="85393" y="42540"/>
                  </a:cubicBezTo>
                  <a:cubicBezTo>
                    <a:pt x="84754" y="21473"/>
                    <a:pt x="68779" y="3598"/>
                    <a:pt x="48331" y="406"/>
                  </a:cubicBezTo>
                  <a:close/>
                  <a:moveTo>
                    <a:pt x="71335" y="47009"/>
                  </a:moveTo>
                  <a:cubicBezTo>
                    <a:pt x="69418" y="63607"/>
                    <a:pt x="54082" y="74460"/>
                    <a:pt x="37468" y="72545"/>
                  </a:cubicBezTo>
                  <a:cubicBezTo>
                    <a:pt x="37468" y="72545"/>
                    <a:pt x="37468" y="72545"/>
                    <a:pt x="37468" y="72545"/>
                  </a:cubicBezTo>
                  <a:cubicBezTo>
                    <a:pt x="20854" y="70630"/>
                    <a:pt x="9991" y="55308"/>
                    <a:pt x="11908" y="39348"/>
                  </a:cubicBezTo>
                  <a:cubicBezTo>
                    <a:pt x="13825" y="24665"/>
                    <a:pt x="26605" y="13174"/>
                    <a:pt x="41941" y="13174"/>
                  </a:cubicBezTo>
                  <a:cubicBezTo>
                    <a:pt x="43219" y="13174"/>
                    <a:pt x="44497" y="13174"/>
                    <a:pt x="46414" y="13174"/>
                  </a:cubicBezTo>
                  <a:cubicBezTo>
                    <a:pt x="62389" y="15089"/>
                    <a:pt x="73891" y="30411"/>
                    <a:pt x="71335" y="47009"/>
                  </a:cubicBezTo>
                  <a:close/>
                </a:path>
              </a:pathLst>
            </a:custGeom>
            <a:solidFill>
              <a:srgbClr val="046A38"/>
            </a:solidFill>
            <a:ln w="6390" cap="flat">
              <a:noFill/>
              <a:prstDash val="solid"/>
              <a:miter/>
            </a:ln>
          </p:spPr>
          <p:txBody>
            <a:bodyPr rtlCol="0" anchor="ctr"/>
            <a:lstStyle/>
            <a:p>
              <a:endParaRPr lang="en-US"/>
            </a:p>
          </p:txBody>
        </p:sp>
      </p:grpSp>
      <p:sp>
        <p:nvSpPr>
          <p:cNvPr id="15" name="Rectangle 14">
            <a:extLst>
              <a:ext uri="{FF2B5EF4-FFF2-40B4-BE49-F238E27FC236}">
                <a16:creationId xmlns:a16="http://schemas.microsoft.com/office/drawing/2014/main" id="{3A4A86BB-F7C1-782D-4C6E-75FE1B1EFFC0}"/>
              </a:ext>
            </a:extLst>
          </p:cNvPr>
          <p:cNvSpPr/>
          <p:nvPr/>
        </p:nvSpPr>
        <p:spPr>
          <a:xfrm>
            <a:off x="469900" y="1340891"/>
            <a:ext cx="7316913" cy="4820856"/>
          </a:xfrm>
          <a:prstGeom prst="rect">
            <a:avLst/>
          </a:prstGeom>
          <a:solidFill>
            <a:schemeClr val="bg1">
              <a:lumMod val="95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70C1BCE9-75E2-7A75-12E9-88B4AEAFB4EF}"/>
              </a:ext>
            </a:extLst>
          </p:cNvPr>
          <p:cNvSpPr txBox="1"/>
          <p:nvPr/>
        </p:nvSpPr>
        <p:spPr>
          <a:xfrm>
            <a:off x="9999865" y="4264764"/>
            <a:ext cx="1739833" cy="954107"/>
          </a:xfrm>
          <a:prstGeom prst="rect">
            <a:avLst/>
          </a:prstGeom>
          <a:solidFill>
            <a:schemeClr val="accent4">
              <a:lumMod val="60000"/>
              <a:lumOff val="40000"/>
            </a:schemeClr>
          </a:solidFill>
        </p:spPr>
        <p:txBody>
          <a:bodyPr wrap="square" rtlCol="0">
            <a:spAutoFit/>
          </a:bodyPr>
          <a:lstStyle/>
          <a:p>
            <a:pPr algn="ctr"/>
            <a:r>
              <a:rPr lang="sl-SI" sz="1400" dirty="0"/>
              <a:t>Javna predstavitev Nacionalne strategije za plačila 2023-2027</a:t>
            </a:r>
            <a:endParaRPr lang="en-US" sz="1400" dirty="0"/>
          </a:p>
        </p:txBody>
      </p:sp>
      <p:sp>
        <p:nvSpPr>
          <p:cNvPr id="31" name="TextBox 30">
            <a:extLst>
              <a:ext uri="{FF2B5EF4-FFF2-40B4-BE49-F238E27FC236}">
                <a16:creationId xmlns:a16="http://schemas.microsoft.com/office/drawing/2014/main" id="{6A34BFF8-70EF-5D15-27ED-F7D5943B49D5}"/>
              </a:ext>
            </a:extLst>
          </p:cNvPr>
          <p:cNvSpPr txBox="1"/>
          <p:nvPr/>
        </p:nvSpPr>
        <p:spPr>
          <a:xfrm>
            <a:off x="10071369" y="6153463"/>
            <a:ext cx="1467060" cy="276999"/>
          </a:xfrm>
          <a:prstGeom prst="rect">
            <a:avLst/>
          </a:prstGeom>
          <a:noFill/>
        </p:spPr>
        <p:txBody>
          <a:bodyPr wrap="square" rtlCol="0">
            <a:spAutoFit/>
          </a:bodyPr>
          <a:lstStyle/>
          <a:p>
            <a:pPr algn="ctr"/>
            <a:r>
              <a:rPr lang="sl-SI" sz="1200" dirty="0"/>
              <a:t>Q1 2023</a:t>
            </a:r>
            <a:endParaRPr lang="en-US" sz="1200" dirty="0"/>
          </a:p>
        </p:txBody>
      </p:sp>
      <p:cxnSp>
        <p:nvCxnSpPr>
          <p:cNvPr id="33" name="Connector: Elbow 32">
            <a:extLst>
              <a:ext uri="{FF2B5EF4-FFF2-40B4-BE49-F238E27FC236}">
                <a16:creationId xmlns:a16="http://schemas.microsoft.com/office/drawing/2014/main" id="{2BCA3D09-6117-B54B-85F3-84D2C70AFD4C}"/>
              </a:ext>
            </a:extLst>
          </p:cNvPr>
          <p:cNvCxnSpPr>
            <a:stCxn id="198" idx="2"/>
            <a:endCxn id="10" idx="0"/>
          </p:cNvCxnSpPr>
          <p:nvPr/>
        </p:nvCxnSpPr>
        <p:spPr>
          <a:xfrm>
            <a:off x="9191281" y="3939733"/>
            <a:ext cx="1678501" cy="325031"/>
          </a:xfrm>
          <a:prstGeom prst="bentConnector2">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0161A83B-0F08-E270-8213-6171A945EF4E}"/>
              </a:ext>
            </a:extLst>
          </p:cNvPr>
          <p:cNvSpPr txBox="1"/>
          <p:nvPr/>
        </p:nvSpPr>
        <p:spPr>
          <a:xfrm>
            <a:off x="10469612" y="5891714"/>
            <a:ext cx="1864537" cy="276999"/>
          </a:xfrm>
          <a:prstGeom prst="rect">
            <a:avLst/>
          </a:prstGeom>
          <a:noFill/>
        </p:spPr>
        <p:txBody>
          <a:bodyPr wrap="square" rtlCol="0">
            <a:spAutoFit/>
          </a:bodyPr>
          <a:lstStyle/>
          <a:p>
            <a:r>
              <a:rPr lang="sl-SI" sz="1200" dirty="0"/>
              <a:t>Načrtovano</a:t>
            </a:r>
            <a:endParaRPr lang="en-US" sz="1200" dirty="0"/>
          </a:p>
        </p:txBody>
      </p:sp>
      <p:grpSp>
        <p:nvGrpSpPr>
          <p:cNvPr id="35" name="Graphic 4">
            <a:extLst>
              <a:ext uri="{FF2B5EF4-FFF2-40B4-BE49-F238E27FC236}">
                <a16:creationId xmlns:a16="http://schemas.microsoft.com/office/drawing/2014/main" id="{EAD36A14-2242-3E1F-C347-F3DA45BA32AA}"/>
              </a:ext>
            </a:extLst>
          </p:cNvPr>
          <p:cNvGrpSpPr>
            <a:grpSpLocks noChangeAspect="1"/>
          </p:cNvGrpSpPr>
          <p:nvPr/>
        </p:nvGrpSpPr>
        <p:grpSpPr>
          <a:xfrm>
            <a:off x="10238386" y="5867588"/>
            <a:ext cx="288272" cy="288000"/>
            <a:chOff x="5708130" y="4308712"/>
            <a:chExt cx="362313" cy="361971"/>
          </a:xfrm>
          <a:solidFill>
            <a:srgbClr val="046A38"/>
          </a:solidFill>
        </p:grpSpPr>
        <p:sp>
          <p:nvSpPr>
            <p:cNvPr id="36" name="Graphic 4">
              <a:extLst>
                <a:ext uri="{FF2B5EF4-FFF2-40B4-BE49-F238E27FC236}">
                  <a16:creationId xmlns:a16="http://schemas.microsoft.com/office/drawing/2014/main" id="{B908338A-761E-4741-F163-3CEDFAAE0A92}"/>
                </a:ext>
              </a:extLst>
            </p:cNvPr>
            <p:cNvSpPr/>
            <p:nvPr/>
          </p:nvSpPr>
          <p:spPr>
            <a:xfrm>
              <a:off x="5708130" y="4308712"/>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948" y="81077"/>
                    <a:pt x="281796"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322D68F8-4C23-D2A3-15FE-B37FBA30CD1A}"/>
                </a:ext>
              </a:extLst>
            </p:cNvPr>
            <p:cNvSpPr/>
            <p:nvPr/>
          </p:nvSpPr>
          <p:spPr>
            <a:xfrm>
              <a:off x="5768196" y="4368721"/>
              <a:ext cx="242817" cy="242591"/>
            </a:xfrm>
            <a:custGeom>
              <a:avLst/>
              <a:gdLst>
                <a:gd name="connsiteX0" fmla="*/ 121409 w 242817"/>
                <a:gd name="connsiteY0" fmla="*/ 0 h 242591"/>
                <a:gd name="connsiteX1" fmla="*/ 0 w 242817"/>
                <a:gd name="connsiteY1" fmla="*/ 121296 h 242591"/>
                <a:gd name="connsiteX2" fmla="*/ 121409 w 242817"/>
                <a:gd name="connsiteY2" fmla="*/ 242591 h 242591"/>
                <a:gd name="connsiteX3" fmla="*/ 242818 w 242817"/>
                <a:gd name="connsiteY3" fmla="*/ 121296 h 242591"/>
                <a:gd name="connsiteX4" fmla="*/ 121409 w 242817"/>
                <a:gd name="connsiteY4" fmla="*/ 0 h 242591"/>
                <a:gd name="connsiteX5" fmla="*/ 121409 w 242817"/>
                <a:gd name="connsiteY5" fmla="*/ 0 h 242591"/>
                <a:gd name="connsiteX6" fmla="*/ 121409 w 242817"/>
                <a:gd name="connsiteY6" fmla="*/ 229185 h 242591"/>
                <a:gd name="connsiteX7" fmla="*/ 12780 w 242817"/>
                <a:gd name="connsiteY7" fmla="*/ 120657 h 242591"/>
                <a:gd name="connsiteX8" fmla="*/ 121409 w 242817"/>
                <a:gd name="connsiteY8" fmla="*/ 12129 h 242591"/>
                <a:gd name="connsiteX9" fmla="*/ 230038 w 242817"/>
                <a:gd name="connsiteY9" fmla="*/ 120657 h 242591"/>
                <a:gd name="connsiteX10" fmla="*/ 230038 w 242817"/>
                <a:gd name="connsiteY10" fmla="*/ 120657 h 242591"/>
                <a:gd name="connsiteX11" fmla="*/ 121409 w 242817"/>
                <a:gd name="connsiteY11" fmla="*/ 229185 h 242591"/>
                <a:gd name="connsiteX12" fmla="*/ 121409 w 242817"/>
                <a:gd name="connsiteY12" fmla="*/ 229185 h 242591"/>
                <a:gd name="connsiteX13" fmla="*/ 121409 w 242817"/>
                <a:gd name="connsiteY13" fmla="*/ 229185 h 24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2817" h="242591">
                  <a:moveTo>
                    <a:pt x="121409" y="0"/>
                  </a:moveTo>
                  <a:cubicBezTo>
                    <a:pt x="54314" y="0"/>
                    <a:pt x="0" y="54264"/>
                    <a:pt x="0" y="121296"/>
                  </a:cubicBezTo>
                  <a:cubicBezTo>
                    <a:pt x="0" y="188327"/>
                    <a:pt x="54314" y="242591"/>
                    <a:pt x="121409" y="242591"/>
                  </a:cubicBezTo>
                  <a:cubicBezTo>
                    <a:pt x="188503" y="242591"/>
                    <a:pt x="242818" y="188327"/>
                    <a:pt x="242818" y="121296"/>
                  </a:cubicBezTo>
                  <a:cubicBezTo>
                    <a:pt x="242818" y="54264"/>
                    <a:pt x="188503" y="0"/>
                    <a:pt x="121409" y="0"/>
                  </a:cubicBezTo>
                  <a:lnTo>
                    <a:pt x="121409" y="0"/>
                  </a:lnTo>
                  <a:close/>
                  <a:moveTo>
                    <a:pt x="121409" y="229185"/>
                  </a:moveTo>
                  <a:cubicBezTo>
                    <a:pt x="61343" y="229185"/>
                    <a:pt x="12780" y="180667"/>
                    <a:pt x="12780" y="120657"/>
                  </a:cubicBezTo>
                  <a:cubicBezTo>
                    <a:pt x="12780" y="60648"/>
                    <a:pt x="61343" y="12129"/>
                    <a:pt x="121409" y="12129"/>
                  </a:cubicBezTo>
                  <a:cubicBezTo>
                    <a:pt x="181474" y="12129"/>
                    <a:pt x="230038" y="60648"/>
                    <a:pt x="230038" y="120657"/>
                  </a:cubicBezTo>
                  <a:lnTo>
                    <a:pt x="230038" y="120657"/>
                  </a:lnTo>
                  <a:cubicBezTo>
                    <a:pt x="230038" y="180667"/>
                    <a:pt x="181474" y="229185"/>
                    <a:pt x="121409" y="229185"/>
                  </a:cubicBezTo>
                  <a:lnTo>
                    <a:pt x="121409" y="229185"/>
                  </a:lnTo>
                  <a:lnTo>
                    <a:pt x="121409" y="229185"/>
                  </a:lnTo>
                  <a:close/>
                </a:path>
              </a:pathLst>
            </a:custGeom>
            <a:grpFill/>
            <a:ln w="6390" cap="flat">
              <a:noFill/>
              <a:prstDash val="solid"/>
              <a:miter/>
            </a:ln>
          </p:spPr>
          <p:txBody>
            <a:bodyPr rtlCol="0" anchor="ctr"/>
            <a:lstStyle/>
            <a:p>
              <a:endParaRPr lang="en-US"/>
            </a:p>
          </p:txBody>
        </p:sp>
        <p:sp>
          <p:nvSpPr>
            <p:cNvPr id="38" name="Graphic 4">
              <a:extLst>
                <a:ext uri="{FF2B5EF4-FFF2-40B4-BE49-F238E27FC236}">
                  <a16:creationId xmlns:a16="http://schemas.microsoft.com/office/drawing/2014/main" id="{C6BCEFB6-9B19-4532-954A-8D3770E7FCB9}"/>
                </a:ext>
              </a:extLst>
            </p:cNvPr>
            <p:cNvSpPr/>
            <p:nvPr/>
          </p:nvSpPr>
          <p:spPr>
            <a:xfrm>
              <a:off x="5825356" y="4433489"/>
              <a:ext cx="103227" cy="70572"/>
            </a:xfrm>
            <a:custGeom>
              <a:avLst/>
              <a:gdLst>
                <a:gd name="connsiteX0" fmla="*/ 92364 w 103227"/>
                <a:gd name="connsiteY0" fmla="*/ 27161 h 70572"/>
                <a:gd name="connsiteX1" fmla="*/ 64249 w 103227"/>
                <a:gd name="connsiteY1" fmla="*/ 55251 h 70572"/>
                <a:gd name="connsiteX2" fmla="*/ 11212 w 103227"/>
                <a:gd name="connsiteY2" fmla="*/ 2264 h 70572"/>
                <a:gd name="connsiteX3" fmla="*/ 2266 w 103227"/>
                <a:gd name="connsiteY3" fmla="*/ 1625 h 70572"/>
                <a:gd name="connsiteX4" fmla="*/ 1627 w 103227"/>
                <a:gd name="connsiteY4" fmla="*/ 10563 h 70572"/>
                <a:gd name="connsiteX5" fmla="*/ 2266 w 103227"/>
                <a:gd name="connsiteY5" fmla="*/ 11201 h 70572"/>
                <a:gd name="connsiteX6" fmla="*/ 59776 w 103227"/>
                <a:gd name="connsiteY6" fmla="*/ 68657 h 70572"/>
                <a:gd name="connsiteX7" fmla="*/ 68722 w 103227"/>
                <a:gd name="connsiteY7" fmla="*/ 68657 h 70572"/>
                <a:gd name="connsiteX8" fmla="*/ 68722 w 103227"/>
                <a:gd name="connsiteY8" fmla="*/ 68657 h 70572"/>
                <a:gd name="connsiteX9" fmla="*/ 101310 w 103227"/>
                <a:gd name="connsiteY9" fmla="*/ 36099 h 70572"/>
                <a:gd name="connsiteX10" fmla="*/ 101310 w 103227"/>
                <a:gd name="connsiteY10" fmla="*/ 27161 h 70572"/>
                <a:gd name="connsiteX11" fmla="*/ 92364 w 103227"/>
                <a:gd name="connsiteY11" fmla="*/ 27161 h 70572"/>
                <a:gd name="connsiteX12" fmla="*/ 92364 w 103227"/>
                <a:gd name="connsiteY12" fmla="*/ 27161 h 70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227" h="70572">
                  <a:moveTo>
                    <a:pt x="92364" y="27161"/>
                  </a:moveTo>
                  <a:lnTo>
                    <a:pt x="64249" y="55251"/>
                  </a:lnTo>
                  <a:lnTo>
                    <a:pt x="11212" y="2264"/>
                  </a:lnTo>
                  <a:cubicBezTo>
                    <a:pt x="8656" y="-290"/>
                    <a:pt x="4822" y="-928"/>
                    <a:pt x="2266" y="1625"/>
                  </a:cubicBezTo>
                  <a:cubicBezTo>
                    <a:pt x="-290" y="4179"/>
                    <a:pt x="-929" y="8009"/>
                    <a:pt x="1627" y="10563"/>
                  </a:cubicBezTo>
                  <a:cubicBezTo>
                    <a:pt x="1627" y="10563"/>
                    <a:pt x="2266" y="11201"/>
                    <a:pt x="2266" y="11201"/>
                  </a:cubicBezTo>
                  <a:lnTo>
                    <a:pt x="59776" y="68657"/>
                  </a:lnTo>
                  <a:cubicBezTo>
                    <a:pt x="62332" y="71211"/>
                    <a:pt x="66166" y="71211"/>
                    <a:pt x="68722" y="68657"/>
                  </a:cubicBezTo>
                  <a:cubicBezTo>
                    <a:pt x="68722" y="68657"/>
                    <a:pt x="68722" y="68657"/>
                    <a:pt x="68722" y="68657"/>
                  </a:cubicBezTo>
                  <a:lnTo>
                    <a:pt x="101310" y="36099"/>
                  </a:lnTo>
                  <a:cubicBezTo>
                    <a:pt x="103866" y="33545"/>
                    <a:pt x="103866" y="29715"/>
                    <a:pt x="101310" y="27161"/>
                  </a:cubicBezTo>
                  <a:cubicBezTo>
                    <a:pt x="99393" y="24608"/>
                    <a:pt x="95559" y="24608"/>
                    <a:pt x="92364" y="27161"/>
                  </a:cubicBezTo>
                  <a:cubicBezTo>
                    <a:pt x="93003" y="26523"/>
                    <a:pt x="92364" y="27161"/>
                    <a:pt x="92364" y="27161"/>
                  </a:cubicBezTo>
                  <a:close/>
                </a:path>
              </a:pathLst>
            </a:custGeom>
            <a:grpFill/>
            <a:ln w="6390" cap="flat">
              <a:noFill/>
              <a:prstDash val="solid"/>
              <a:miter/>
            </a:ln>
          </p:spPr>
          <p:txBody>
            <a:bodyPr rtlCol="0" anchor="ctr"/>
            <a:lstStyle/>
            <a:p>
              <a:endParaRPr lang="en-US"/>
            </a:p>
          </p:txBody>
        </p:sp>
        <p:sp>
          <p:nvSpPr>
            <p:cNvPr id="39" name="Graphic 4">
              <a:extLst>
                <a:ext uri="{FF2B5EF4-FFF2-40B4-BE49-F238E27FC236}">
                  <a16:creationId xmlns:a16="http://schemas.microsoft.com/office/drawing/2014/main" id="{F590A6FF-C2E6-C52D-AEC2-A9A803952124}"/>
                </a:ext>
              </a:extLst>
            </p:cNvPr>
            <p:cNvSpPr/>
            <p:nvPr/>
          </p:nvSpPr>
          <p:spPr>
            <a:xfrm>
              <a:off x="5883215" y="4401279"/>
              <a:ext cx="12779" cy="21067"/>
            </a:xfrm>
            <a:custGeom>
              <a:avLst/>
              <a:gdLst>
                <a:gd name="connsiteX0" fmla="*/ 6390 w 12779"/>
                <a:gd name="connsiteY0" fmla="*/ 21067 h 21067"/>
                <a:gd name="connsiteX1" fmla="*/ 12780 w 12779"/>
                <a:gd name="connsiteY1" fmla="*/ 14683 h 21067"/>
                <a:gd name="connsiteX2" fmla="*/ 12780 w 12779"/>
                <a:gd name="connsiteY2" fmla="*/ 6384 h 21067"/>
                <a:gd name="connsiteX3" fmla="*/ 6390 w 12779"/>
                <a:gd name="connsiteY3" fmla="*/ 0 h 21067"/>
                <a:gd name="connsiteX4" fmla="*/ 0 w 12779"/>
                <a:gd name="connsiteY4" fmla="*/ 6384 h 21067"/>
                <a:gd name="connsiteX5" fmla="*/ 0 w 12779"/>
                <a:gd name="connsiteY5" fmla="*/ 14683 h 21067"/>
                <a:gd name="connsiteX6" fmla="*/ 6390 w 12779"/>
                <a:gd name="connsiteY6" fmla="*/ 21067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1067">
                  <a:moveTo>
                    <a:pt x="6390" y="21067"/>
                  </a:moveTo>
                  <a:cubicBezTo>
                    <a:pt x="10224" y="21067"/>
                    <a:pt x="12780" y="18514"/>
                    <a:pt x="12780" y="14683"/>
                  </a:cubicBezTo>
                  <a:lnTo>
                    <a:pt x="12780" y="6384"/>
                  </a:lnTo>
                  <a:cubicBezTo>
                    <a:pt x="12780" y="2554"/>
                    <a:pt x="10224" y="0"/>
                    <a:pt x="6390" y="0"/>
                  </a:cubicBezTo>
                  <a:cubicBezTo>
                    <a:pt x="2556" y="0"/>
                    <a:pt x="0" y="2554"/>
                    <a:pt x="0" y="6384"/>
                  </a:cubicBezTo>
                  <a:lnTo>
                    <a:pt x="0" y="14683"/>
                  </a:lnTo>
                  <a:cubicBezTo>
                    <a:pt x="0" y="17875"/>
                    <a:pt x="3195" y="21067"/>
                    <a:pt x="6390" y="21067"/>
                  </a:cubicBezTo>
                  <a:close/>
                </a:path>
              </a:pathLst>
            </a:custGeom>
            <a:grpFill/>
            <a:ln w="6390" cap="flat">
              <a:noFill/>
              <a:prstDash val="solid"/>
              <a:miter/>
            </a:ln>
          </p:spPr>
          <p:txBody>
            <a:bodyPr rtlCol="0" anchor="ctr"/>
            <a:lstStyle/>
            <a:p>
              <a:endParaRPr lang="en-US"/>
            </a:p>
          </p:txBody>
        </p:sp>
        <p:sp>
          <p:nvSpPr>
            <p:cNvPr id="40" name="Graphic 4">
              <a:extLst>
                <a:ext uri="{FF2B5EF4-FFF2-40B4-BE49-F238E27FC236}">
                  <a16:creationId xmlns:a16="http://schemas.microsoft.com/office/drawing/2014/main" id="{998AEB01-19A5-C6C6-063C-7E00B39BC6A1}"/>
                </a:ext>
              </a:extLst>
            </p:cNvPr>
            <p:cNvSpPr/>
            <p:nvPr/>
          </p:nvSpPr>
          <p:spPr>
            <a:xfrm>
              <a:off x="5883215" y="4557049"/>
              <a:ext cx="12779" cy="21067"/>
            </a:xfrm>
            <a:custGeom>
              <a:avLst/>
              <a:gdLst>
                <a:gd name="connsiteX0" fmla="*/ 6390 w 12779"/>
                <a:gd name="connsiteY0" fmla="*/ 0 h 21067"/>
                <a:gd name="connsiteX1" fmla="*/ 0 w 12779"/>
                <a:gd name="connsiteY1" fmla="*/ 6384 h 21067"/>
                <a:gd name="connsiteX2" fmla="*/ 0 w 12779"/>
                <a:gd name="connsiteY2" fmla="*/ 14683 h 21067"/>
                <a:gd name="connsiteX3" fmla="*/ 6390 w 12779"/>
                <a:gd name="connsiteY3" fmla="*/ 21067 h 21067"/>
                <a:gd name="connsiteX4" fmla="*/ 12780 w 12779"/>
                <a:gd name="connsiteY4" fmla="*/ 14683 h 21067"/>
                <a:gd name="connsiteX5" fmla="*/ 12780 w 12779"/>
                <a:gd name="connsiteY5" fmla="*/ 6384 h 21067"/>
                <a:gd name="connsiteX6" fmla="*/ 6390 w 12779"/>
                <a:gd name="connsiteY6" fmla="*/ 0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1067">
                  <a:moveTo>
                    <a:pt x="6390" y="0"/>
                  </a:moveTo>
                  <a:cubicBezTo>
                    <a:pt x="2556" y="0"/>
                    <a:pt x="0" y="2553"/>
                    <a:pt x="0" y="6384"/>
                  </a:cubicBezTo>
                  <a:lnTo>
                    <a:pt x="0" y="14683"/>
                  </a:lnTo>
                  <a:cubicBezTo>
                    <a:pt x="0" y="18513"/>
                    <a:pt x="2556" y="21067"/>
                    <a:pt x="6390" y="21067"/>
                  </a:cubicBezTo>
                  <a:cubicBezTo>
                    <a:pt x="10224" y="21067"/>
                    <a:pt x="12780" y="18513"/>
                    <a:pt x="12780" y="14683"/>
                  </a:cubicBezTo>
                  <a:lnTo>
                    <a:pt x="12780" y="6384"/>
                  </a:lnTo>
                  <a:cubicBezTo>
                    <a:pt x="12780" y="2553"/>
                    <a:pt x="10224" y="0"/>
                    <a:pt x="6390" y="0"/>
                  </a:cubicBezTo>
                  <a:close/>
                </a:path>
              </a:pathLst>
            </a:custGeom>
            <a:grpFill/>
            <a:ln w="6390" cap="flat">
              <a:noFill/>
              <a:prstDash val="solid"/>
              <a:miter/>
            </a:ln>
          </p:spPr>
          <p:txBody>
            <a:bodyPr rtlCol="0" anchor="ctr"/>
            <a:lstStyle/>
            <a:p>
              <a:endParaRPr lang="en-US"/>
            </a:p>
          </p:txBody>
        </p:sp>
        <p:sp>
          <p:nvSpPr>
            <p:cNvPr id="41" name="Graphic 4">
              <a:extLst>
                <a:ext uri="{FF2B5EF4-FFF2-40B4-BE49-F238E27FC236}">
                  <a16:creationId xmlns:a16="http://schemas.microsoft.com/office/drawing/2014/main" id="{F0C80814-0165-D133-A15E-D1B94893B52E}"/>
                </a:ext>
              </a:extLst>
            </p:cNvPr>
            <p:cNvSpPr/>
            <p:nvPr/>
          </p:nvSpPr>
          <p:spPr>
            <a:xfrm>
              <a:off x="5956699" y="4482994"/>
              <a:ext cx="21086" cy="12767"/>
            </a:xfrm>
            <a:custGeom>
              <a:avLst/>
              <a:gdLst>
                <a:gd name="connsiteX0" fmla="*/ 14697 w 21086"/>
                <a:gd name="connsiteY0" fmla="*/ 0 h 12767"/>
                <a:gd name="connsiteX1" fmla="*/ 6390 w 21086"/>
                <a:gd name="connsiteY1" fmla="*/ 0 h 12767"/>
                <a:gd name="connsiteX2" fmla="*/ 0 w 21086"/>
                <a:gd name="connsiteY2" fmla="*/ 6384 h 12767"/>
                <a:gd name="connsiteX3" fmla="*/ 6390 w 21086"/>
                <a:gd name="connsiteY3" fmla="*/ 12768 h 12767"/>
                <a:gd name="connsiteX4" fmla="*/ 14697 w 21086"/>
                <a:gd name="connsiteY4" fmla="*/ 12768 h 12767"/>
                <a:gd name="connsiteX5" fmla="*/ 21087 w 21086"/>
                <a:gd name="connsiteY5" fmla="*/ 6384 h 12767"/>
                <a:gd name="connsiteX6" fmla="*/ 14697 w 2108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86" h="12767">
                  <a:moveTo>
                    <a:pt x="14697" y="0"/>
                  </a:moveTo>
                  <a:lnTo>
                    <a:pt x="6390" y="0"/>
                  </a:lnTo>
                  <a:cubicBezTo>
                    <a:pt x="2556" y="0"/>
                    <a:pt x="0" y="2554"/>
                    <a:pt x="0" y="6384"/>
                  </a:cubicBezTo>
                  <a:cubicBezTo>
                    <a:pt x="0" y="10215"/>
                    <a:pt x="2556" y="12768"/>
                    <a:pt x="6390" y="12768"/>
                  </a:cubicBezTo>
                  <a:lnTo>
                    <a:pt x="14697" y="12768"/>
                  </a:lnTo>
                  <a:cubicBezTo>
                    <a:pt x="18531" y="12768"/>
                    <a:pt x="21087" y="10215"/>
                    <a:pt x="21087" y="6384"/>
                  </a:cubicBezTo>
                  <a:cubicBezTo>
                    <a:pt x="21087" y="2554"/>
                    <a:pt x="18531" y="0"/>
                    <a:pt x="14697" y="0"/>
                  </a:cubicBezTo>
                  <a:close/>
                </a:path>
              </a:pathLst>
            </a:custGeom>
            <a:grpFill/>
            <a:ln w="6390" cap="flat">
              <a:noFill/>
              <a:prstDash val="solid"/>
              <a:miter/>
            </a:ln>
          </p:spPr>
          <p:txBody>
            <a:bodyPr rtlCol="0" anchor="ctr"/>
            <a:lstStyle/>
            <a:p>
              <a:endParaRPr lang="en-US"/>
            </a:p>
          </p:txBody>
        </p:sp>
        <p:sp>
          <p:nvSpPr>
            <p:cNvPr id="42" name="Graphic 4">
              <a:extLst>
                <a:ext uri="{FF2B5EF4-FFF2-40B4-BE49-F238E27FC236}">
                  <a16:creationId xmlns:a16="http://schemas.microsoft.com/office/drawing/2014/main" id="{0FC8B8B8-586A-70BD-351B-AD0ED18891CA}"/>
                </a:ext>
              </a:extLst>
            </p:cNvPr>
            <p:cNvSpPr/>
            <p:nvPr/>
          </p:nvSpPr>
          <p:spPr>
            <a:xfrm>
              <a:off x="5801424" y="4482994"/>
              <a:ext cx="21086" cy="12767"/>
            </a:xfrm>
            <a:custGeom>
              <a:avLst/>
              <a:gdLst>
                <a:gd name="connsiteX0" fmla="*/ 14697 w 21086"/>
                <a:gd name="connsiteY0" fmla="*/ 0 h 12767"/>
                <a:gd name="connsiteX1" fmla="*/ 6390 w 21086"/>
                <a:gd name="connsiteY1" fmla="*/ 0 h 12767"/>
                <a:gd name="connsiteX2" fmla="*/ 0 w 21086"/>
                <a:gd name="connsiteY2" fmla="*/ 6384 h 12767"/>
                <a:gd name="connsiteX3" fmla="*/ 6390 w 21086"/>
                <a:gd name="connsiteY3" fmla="*/ 12768 h 12767"/>
                <a:gd name="connsiteX4" fmla="*/ 14697 w 21086"/>
                <a:gd name="connsiteY4" fmla="*/ 12768 h 12767"/>
                <a:gd name="connsiteX5" fmla="*/ 21087 w 21086"/>
                <a:gd name="connsiteY5" fmla="*/ 6384 h 12767"/>
                <a:gd name="connsiteX6" fmla="*/ 14697 w 2108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86" h="12767">
                  <a:moveTo>
                    <a:pt x="14697" y="0"/>
                  </a:moveTo>
                  <a:lnTo>
                    <a:pt x="6390" y="0"/>
                  </a:lnTo>
                  <a:cubicBezTo>
                    <a:pt x="2556" y="0"/>
                    <a:pt x="0" y="2554"/>
                    <a:pt x="0" y="6384"/>
                  </a:cubicBezTo>
                  <a:cubicBezTo>
                    <a:pt x="0" y="10215"/>
                    <a:pt x="2556" y="12768"/>
                    <a:pt x="6390" y="12768"/>
                  </a:cubicBezTo>
                  <a:lnTo>
                    <a:pt x="14697" y="12768"/>
                  </a:lnTo>
                  <a:cubicBezTo>
                    <a:pt x="18531" y="12768"/>
                    <a:pt x="21087" y="10215"/>
                    <a:pt x="21087" y="6384"/>
                  </a:cubicBezTo>
                  <a:cubicBezTo>
                    <a:pt x="21087" y="2554"/>
                    <a:pt x="17892" y="0"/>
                    <a:pt x="14697" y="0"/>
                  </a:cubicBez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31369930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39753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9"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l-SI" sz="2000" dirty="0">
              <a:latin typeface="Chronicle Display Black"/>
              <a:sym typeface="Chronicle Display Black"/>
            </a:endParaRPr>
          </a:p>
        </p:txBody>
      </p:sp>
      <p:sp>
        <p:nvSpPr>
          <p:cNvPr id="3" name="Text Placeholder 1"/>
          <p:cNvSpPr>
            <a:spLocks noGrp="1"/>
          </p:cNvSpPr>
          <p:nvPr>
            <p:ph type="body" sz="quarter" idx="13"/>
          </p:nvPr>
        </p:nvSpPr>
        <p:spPr>
          <a:xfrm>
            <a:off x="469900" y="410771"/>
            <a:ext cx="11252200" cy="259185"/>
          </a:xfrm>
        </p:spPr>
        <p:txBody>
          <a:bodyPr/>
          <a:lstStyle/>
          <a:p>
            <a:r>
              <a:rPr lang="sl-SI" sz="1600" dirty="0"/>
              <a:t>Ključne predpostavke za pripravo Nacionalne strategije na področju plačil</a:t>
            </a:r>
          </a:p>
        </p:txBody>
      </p:sp>
      <p:sp>
        <p:nvSpPr>
          <p:cNvPr id="5" name="Title 2"/>
          <p:cNvSpPr>
            <a:spLocks noGrp="1"/>
          </p:cNvSpPr>
          <p:nvPr>
            <p:ph type="title"/>
          </p:nvPr>
        </p:nvSpPr>
        <p:spPr>
          <a:xfrm>
            <a:off x="469900" y="683241"/>
            <a:ext cx="11252200" cy="698501"/>
          </a:xfrm>
        </p:spPr>
        <p:txBody>
          <a:bodyPr vert="horz"/>
          <a:lstStyle/>
          <a:p>
            <a:r>
              <a:rPr lang="sl-SI" altLang="ja-JP" dirty="0"/>
              <a:t>Na podlagi glavnih ugotovitev Diagnostične faze projekta je </a:t>
            </a:r>
            <a:r>
              <a:rPr lang="sl-SI" altLang="ja-JP" dirty="0" err="1"/>
              <a:t>Deloitte</a:t>
            </a:r>
            <a:r>
              <a:rPr lang="sl-SI" altLang="ja-JP" dirty="0"/>
              <a:t> identificiral ključne teme, ki so naslovljene v okviru posameznih strateških iniciativ</a:t>
            </a:r>
          </a:p>
        </p:txBody>
      </p:sp>
      <p:sp>
        <p:nvSpPr>
          <p:cNvPr id="73" name="TextBox 72">
            <a:extLst>
              <a:ext uri="{FF2B5EF4-FFF2-40B4-BE49-F238E27FC236}">
                <a16:creationId xmlns:a16="http://schemas.microsoft.com/office/drawing/2014/main" id="{26E65120-9CC1-3C4E-0E13-5AB6658DDF92}"/>
              </a:ext>
            </a:extLst>
          </p:cNvPr>
          <p:cNvSpPr txBox="1"/>
          <p:nvPr/>
        </p:nvSpPr>
        <p:spPr>
          <a:xfrm>
            <a:off x="1059873" y="1368457"/>
            <a:ext cx="4582024" cy="276999"/>
          </a:xfrm>
          <a:prstGeom prst="rect">
            <a:avLst/>
          </a:prstGeom>
          <a:noFill/>
        </p:spPr>
        <p:txBody>
          <a:bodyPr wrap="square" rtlCol="0">
            <a:spAutoFit/>
          </a:bodyPr>
          <a:lstStyle/>
          <a:p>
            <a:r>
              <a:rPr lang="sl-SI" sz="1200" b="1" dirty="0"/>
              <a:t>Vedenje potrošnikov</a:t>
            </a:r>
            <a:endParaRPr lang="en-US" sz="1200" b="1" dirty="0"/>
          </a:p>
        </p:txBody>
      </p:sp>
      <p:sp>
        <p:nvSpPr>
          <p:cNvPr id="74" name="TextBox 73">
            <a:extLst>
              <a:ext uri="{FF2B5EF4-FFF2-40B4-BE49-F238E27FC236}">
                <a16:creationId xmlns:a16="http://schemas.microsoft.com/office/drawing/2014/main" id="{C75F9912-6253-2BD5-64A9-8BBAC83CEF69}"/>
              </a:ext>
            </a:extLst>
          </p:cNvPr>
          <p:cNvSpPr txBox="1"/>
          <p:nvPr/>
        </p:nvSpPr>
        <p:spPr>
          <a:xfrm>
            <a:off x="1059873" y="2192172"/>
            <a:ext cx="4582024" cy="276999"/>
          </a:xfrm>
          <a:prstGeom prst="rect">
            <a:avLst/>
          </a:prstGeom>
          <a:noFill/>
        </p:spPr>
        <p:txBody>
          <a:bodyPr wrap="square" rtlCol="0">
            <a:spAutoFit/>
          </a:bodyPr>
          <a:lstStyle/>
          <a:p>
            <a:r>
              <a:rPr lang="sl-SI" sz="1200" b="1" dirty="0"/>
              <a:t>Dejavniki za uporabo posameznih načinov plačil</a:t>
            </a:r>
            <a:endParaRPr lang="en-US" sz="1200" b="1" dirty="0"/>
          </a:p>
        </p:txBody>
      </p:sp>
      <p:sp>
        <p:nvSpPr>
          <p:cNvPr id="75" name="TextBox 74">
            <a:extLst>
              <a:ext uri="{FF2B5EF4-FFF2-40B4-BE49-F238E27FC236}">
                <a16:creationId xmlns:a16="http://schemas.microsoft.com/office/drawing/2014/main" id="{F466BE47-8347-0F35-CFD0-01FD0A59CDFA}"/>
              </a:ext>
            </a:extLst>
          </p:cNvPr>
          <p:cNvSpPr txBox="1"/>
          <p:nvPr/>
        </p:nvSpPr>
        <p:spPr>
          <a:xfrm>
            <a:off x="1059873" y="3015887"/>
            <a:ext cx="4582024" cy="276999"/>
          </a:xfrm>
          <a:prstGeom prst="rect">
            <a:avLst/>
          </a:prstGeom>
          <a:noFill/>
        </p:spPr>
        <p:txBody>
          <a:bodyPr wrap="square" rtlCol="0">
            <a:spAutoFit/>
          </a:bodyPr>
          <a:lstStyle/>
          <a:p>
            <a:r>
              <a:rPr lang="sl-SI" sz="1200" b="1" dirty="0"/>
              <a:t>Percepcija učinkovitosti</a:t>
            </a:r>
            <a:endParaRPr lang="en-US" sz="1200" b="1" dirty="0"/>
          </a:p>
        </p:txBody>
      </p:sp>
      <p:sp>
        <p:nvSpPr>
          <p:cNvPr id="76" name="TextBox 75">
            <a:extLst>
              <a:ext uri="{FF2B5EF4-FFF2-40B4-BE49-F238E27FC236}">
                <a16:creationId xmlns:a16="http://schemas.microsoft.com/office/drawing/2014/main" id="{1FF716CB-D45B-CEAF-6C4B-FE45EDE869F7}"/>
              </a:ext>
            </a:extLst>
          </p:cNvPr>
          <p:cNvSpPr txBox="1"/>
          <p:nvPr/>
        </p:nvSpPr>
        <p:spPr>
          <a:xfrm>
            <a:off x="1059873" y="3839602"/>
            <a:ext cx="4582024" cy="276999"/>
          </a:xfrm>
          <a:prstGeom prst="rect">
            <a:avLst/>
          </a:prstGeom>
          <a:noFill/>
        </p:spPr>
        <p:txBody>
          <a:bodyPr wrap="square" rtlCol="0">
            <a:spAutoFit/>
          </a:bodyPr>
          <a:lstStyle/>
          <a:p>
            <a:r>
              <a:rPr lang="sl-SI" sz="1200" b="1" dirty="0"/>
              <a:t>Sprejemanje različnih načinov plačila na POS</a:t>
            </a:r>
            <a:endParaRPr lang="en-US" sz="1200" b="1" dirty="0"/>
          </a:p>
        </p:txBody>
      </p:sp>
      <p:sp>
        <p:nvSpPr>
          <p:cNvPr id="77" name="TextBox 76">
            <a:extLst>
              <a:ext uri="{FF2B5EF4-FFF2-40B4-BE49-F238E27FC236}">
                <a16:creationId xmlns:a16="http://schemas.microsoft.com/office/drawing/2014/main" id="{9D595557-4F8B-7D38-7B12-8DBCF7A83944}"/>
              </a:ext>
            </a:extLst>
          </p:cNvPr>
          <p:cNvSpPr txBox="1"/>
          <p:nvPr/>
        </p:nvSpPr>
        <p:spPr>
          <a:xfrm>
            <a:off x="1059873" y="4663317"/>
            <a:ext cx="4582024" cy="276999"/>
          </a:xfrm>
          <a:prstGeom prst="rect">
            <a:avLst/>
          </a:prstGeom>
          <a:noFill/>
        </p:spPr>
        <p:txBody>
          <a:bodyPr wrap="square" rtlCol="0">
            <a:spAutoFit/>
          </a:bodyPr>
          <a:lstStyle/>
          <a:p>
            <a:r>
              <a:rPr lang="sl-SI" sz="1200" b="1" dirty="0"/>
              <a:t>Sodelovanje znotraj ekosistema plačil</a:t>
            </a:r>
            <a:endParaRPr lang="en-US" sz="1200" b="1" dirty="0"/>
          </a:p>
        </p:txBody>
      </p:sp>
      <p:sp>
        <p:nvSpPr>
          <p:cNvPr id="78" name="TextBox 77">
            <a:extLst>
              <a:ext uri="{FF2B5EF4-FFF2-40B4-BE49-F238E27FC236}">
                <a16:creationId xmlns:a16="http://schemas.microsoft.com/office/drawing/2014/main" id="{C27869CB-A1F8-D67C-69D8-855565995C68}"/>
              </a:ext>
            </a:extLst>
          </p:cNvPr>
          <p:cNvSpPr txBox="1"/>
          <p:nvPr/>
        </p:nvSpPr>
        <p:spPr>
          <a:xfrm>
            <a:off x="1059873" y="5487032"/>
            <a:ext cx="4582024" cy="276999"/>
          </a:xfrm>
          <a:prstGeom prst="rect">
            <a:avLst/>
          </a:prstGeom>
          <a:noFill/>
        </p:spPr>
        <p:txBody>
          <a:bodyPr wrap="square" rtlCol="0">
            <a:spAutoFit/>
          </a:bodyPr>
          <a:lstStyle/>
          <a:p>
            <a:r>
              <a:rPr lang="sl-SI" sz="1200" b="1" dirty="0"/>
              <a:t>Trendi za prihodnost</a:t>
            </a:r>
            <a:endParaRPr lang="en-US" sz="1200" b="1" dirty="0"/>
          </a:p>
        </p:txBody>
      </p:sp>
      <p:grpSp>
        <p:nvGrpSpPr>
          <p:cNvPr id="79" name="Graphic 4">
            <a:extLst>
              <a:ext uri="{FF2B5EF4-FFF2-40B4-BE49-F238E27FC236}">
                <a16:creationId xmlns:a16="http://schemas.microsoft.com/office/drawing/2014/main" id="{3A07600E-C409-5134-07CA-661A90732255}"/>
              </a:ext>
            </a:extLst>
          </p:cNvPr>
          <p:cNvGrpSpPr>
            <a:grpSpLocks noChangeAspect="1"/>
          </p:cNvGrpSpPr>
          <p:nvPr/>
        </p:nvGrpSpPr>
        <p:grpSpPr>
          <a:xfrm>
            <a:off x="472990" y="1506956"/>
            <a:ext cx="432403" cy="432000"/>
            <a:chOff x="5099169" y="3339623"/>
            <a:chExt cx="362309" cy="361971"/>
          </a:xfrm>
          <a:solidFill>
            <a:srgbClr val="92D050"/>
          </a:solidFill>
        </p:grpSpPr>
        <p:sp>
          <p:nvSpPr>
            <p:cNvPr id="80" name="Graphic 4">
              <a:extLst>
                <a:ext uri="{FF2B5EF4-FFF2-40B4-BE49-F238E27FC236}">
                  <a16:creationId xmlns:a16="http://schemas.microsoft.com/office/drawing/2014/main" id="{6977F216-70E2-4402-776E-A7A4CD35CC40}"/>
                </a:ext>
              </a:extLst>
            </p:cNvPr>
            <p:cNvSpPr/>
            <p:nvPr/>
          </p:nvSpPr>
          <p:spPr>
            <a:xfrm>
              <a:off x="5201408" y="3430914"/>
              <a:ext cx="16613" cy="16598"/>
            </a:xfrm>
            <a:custGeom>
              <a:avLst/>
              <a:gdLst>
                <a:gd name="connsiteX0" fmla="*/ 8307 w 16613"/>
                <a:gd name="connsiteY0" fmla="*/ 16599 h 16598"/>
                <a:gd name="connsiteX1" fmla="*/ 16614 w 16613"/>
                <a:gd name="connsiteY1" fmla="*/ 8299 h 16598"/>
                <a:gd name="connsiteX2" fmla="*/ 8307 w 16613"/>
                <a:gd name="connsiteY2" fmla="*/ 0 h 16598"/>
                <a:gd name="connsiteX3" fmla="*/ 0 w 16613"/>
                <a:gd name="connsiteY3" fmla="*/ 8299 h 16598"/>
                <a:gd name="connsiteX4" fmla="*/ 8307 w 16613"/>
                <a:gd name="connsiteY4" fmla="*/ 16599 h 16598"/>
                <a:gd name="connsiteX5" fmla="*/ 8307 w 16613"/>
                <a:gd name="connsiteY5" fmla="*/ 16599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16599"/>
                  </a:moveTo>
                  <a:cubicBezTo>
                    <a:pt x="12780" y="16599"/>
                    <a:pt x="16614" y="12768"/>
                    <a:pt x="16614" y="8299"/>
                  </a:cubicBezTo>
                  <a:cubicBezTo>
                    <a:pt x="16614" y="3831"/>
                    <a:pt x="12780" y="0"/>
                    <a:pt x="8307" y="0"/>
                  </a:cubicBezTo>
                  <a:cubicBezTo>
                    <a:pt x="3834" y="0"/>
                    <a:pt x="0" y="3831"/>
                    <a:pt x="0" y="8299"/>
                  </a:cubicBezTo>
                  <a:cubicBezTo>
                    <a:pt x="0" y="12768"/>
                    <a:pt x="3195" y="16599"/>
                    <a:pt x="8307" y="16599"/>
                  </a:cubicBezTo>
                  <a:cubicBezTo>
                    <a:pt x="8307" y="16599"/>
                    <a:pt x="8307" y="16599"/>
                    <a:pt x="8307" y="16599"/>
                  </a:cubicBezTo>
                  <a:close/>
                </a:path>
              </a:pathLst>
            </a:custGeom>
            <a:grpFill/>
            <a:ln w="6390" cap="flat">
              <a:noFill/>
              <a:prstDash val="solid"/>
              <a:miter/>
            </a:ln>
          </p:spPr>
          <p:txBody>
            <a:bodyPr rtlCol="0" anchor="ctr"/>
            <a:lstStyle/>
            <a:p>
              <a:endParaRPr lang="en-US"/>
            </a:p>
          </p:txBody>
        </p:sp>
        <p:sp>
          <p:nvSpPr>
            <p:cNvPr id="81" name="Graphic 4">
              <a:extLst>
                <a:ext uri="{FF2B5EF4-FFF2-40B4-BE49-F238E27FC236}">
                  <a16:creationId xmlns:a16="http://schemas.microsoft.com/office/drawing/2014/main" id="{E90C2199-EF33-F745-0A89-39E7D304F915}"/>
                </a:ext>
              </a:extLst>
            </p:cNvPr>
            <p:cNvSpPr/>
            <p:nvPr/>
          </p:nvSpPr>
          <p:spPr>
            <a:xfrm>
              <a:off x="5193740" y="3489647"/>
              <a:ext cx="31949" cy="46603"/>
            </a:xfrm>
            <a:custGeom>
              <a:avLst/>
              <a:gdLst>
                <a:gd name="connsiteX0" fmla="*/ 0 w 31949"/>
                <a:gd name="connsiteY0" fmla="*/ 0 h 46603"/>
                <a:gd name="connsiteX1" fmla="*/ 31950 w 31949"/>
                <a:gd name="connsiteY1" fmla="*/ 0 h 46603"/>
                <a:gd name="connsiteX2" fmla="*/ 31950 w 31949"/>
                <a:gd name="connsiteY2" fmla="*/ 46603 h 46603"/>
                <a:gd name="connsiteX3" fmla="*/ 0 w 31949"/>
                <a:gd name="connsiteY3" fmla="*/ 46603 h 46603"/>
              </a:gdLst>
              <a:ahLst/>
              <a:cxnLst>
                <a:cxn ang="0">
                  <a:pos x="connsiteX0" y="connsiteY0"/>
                </a:cxn>
                <a:cxn ang="0">
                  <a:pos x="connsiteX1" y="connsiteY1"/>
                </a:cxn>
                <a:cxn ang="0">
                  <a:pos x="connsiteX2" y="connsiteY2"/>
                </a:cxn>
                <a:cxn ang="0">
                  <a:pos x="connsiteX3" y="connsiteY3"/>
                </a:cxn>
              </a:cxnLst>
              <a:rect l="l" t="t" r="r" b="b"/>
              <a:pathLst>
                <a:path w="31949" h="46603">
                  <a:moveTo>
                    <a:pt x="0" y="0"/>
                  </a:moveTo>
                  <a:lnTo>
                    <a:pt x="31950" y="0"/>
                  </a:lnTo>
                  <a:lnTo>
                    <a:pt x="31950" y="46603"/>
                  </a:lnTo>
                  <a:lnTo>
                    <a:pt x="0" y="46603"/>
                  </a:lnTo>
                  <a:close/>
                </a:path>
              </a:pathLst>
            </a:custGeom>
            <a:grpFill/>
            <a:ln w="6390" cap="flat">
              <a:noFill/>
              <a:prstDash val="solid"/>
              <a:miter/>
            </a:ln>
          </p:spPr>
          <p:txBody>
            <a:bodyPr rtlCol="0" anchor="ctr"/>
            <a:lstStyle/>
            <a:p>
              <a:endParaRPr lang="en-US"/>
            </a:p>
          </p:txBody>
        </p:sp>
        <p:sp>
          <p:nvSpPr>
            <p:cNvPr id="82" name="Graphic 4">
              <a:extLst>
                <a:ext uri="{FF2B5EF4-FFF2-40B4-BE49-F238E27FC236}">
                  <a16:creationId xmlns:a16="http://schemas.microsoft.com/office/drawing/2014/main" id="{14A426FF-DAA2-4877-22BA-21190C97EC3D}"/>
                </a:ext>
              </a:extLst>
            </p:cNvPr>
            <p:cNvSpPr/>
            <p:nvPr/>
          </p:nvSpPr>
          <p:spPr>
            <a:xfrm>
              <a:off x="5350224" y="3430914"/>
              <a:ext cx="16683" cy="16598"/>
            </a:xfrm>
            <a:custGeom>
              <a:avLst/>
              <a:gdLst>
                <a:gd name="connsiteX0" fmla="*/ 8376 w 16683"/>
                <a:gd name="connsiteY0" fmla="*/ 16599 h 16598"/>
                <a:gd name="connsiteX1" fmla="*/ 16684 w 16683"/>
                <a:gd name="connsiteY1" fmla="*/ 8299 h 16598"/>
                <a:gd name="connsiteX2" fmla="*/ 8376 w 16683"/>
                <a:gd name="connsiteY2" fmla="*/ 0 h 16598"/>
                <a:gd name="connsiteX3" fmla="*/ 70 w 16683"/>
                <a:gd name="connsiteY3" fmla="*/ 8299 h 16598"/>
                <a:gd name="connsiteX4" fmla="*/ 8376 w 16683"/>
                <a:gd name="connsiteY4" fmla="*/ 16599 h 16598"/>
                <a:gd name="connsiteX5" fmla="*/ 8376 w 16683"/>
                <a:gd name="connsiteY5" fmla="*/ 16599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83" h="16598">
                  <a:moveTo>
                    <a:pt x="8376" y="16599"/>
                  </a:moveTo>
                  <a:cubicBezTo>
                    <a:pt x="12850" y="16599"/>
                    <a:pt x="16684" y="12768"/>
                    <a:pt x="16684" y="8299"/>
                  </a:cubicBezTo>
                  <a:cubicBezTo>
                    <a:pt x="16684" y="3831"/>
                    <a:pt x="12850" y="0"/>
                    <a:pt x="8376" y="0"/>
                  </a:cubicBezTo>
                  <a:cubicBezTo>
                    <a:pt x="3904" y="0"/>
                    <a:pt x="70" y="3831"/>
                    <a:pt x="70" y="8299"/>
                  </a:cubicBezTo>
                  <a:cubicBezTo>
                    <a:pt x="-569" y="12768"/>
                    <a:pt x="3265" y="16599"/>
                    <a:pt x="8376" y="16599"/>
                  </a:cubicBezTo>
                  <a:cubicBezTo>
                    <a:pt x="8376" y="16599"/>
                    <a:pt x="8376" y="16599"/>
                    <a:pt x="8376" y="16599"/>
                  </a:cubicBez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425F5571-D7A9-568F-8467-C8A71C3216E2}"/>
                </a:ext>
              </a:extLst>
            </p:cNvPr>
            <p:cNvSpPr/>
            <p:nvPr/>
          </p:nvSpPr>
          <p:spPr>
            <a:xfrm>
              <a:off x="5275531" y="3430914"/>
              <a:ext cx="16614" cy="16598"/>
            </a:xfrm>
            <a:custGeom>
              <a:avLst/>
              <a:gdLst>
                <a:gd name="connsiteX0" fmla="*/ 8307 w 16614"/>
                <a:gd name="connsiteY0" fmla="*/ 16599 h 16598"/>
                <a:gd name="connsiteX1" fmla="*/ 16614 w 16614"/>
                <a:gd name="connsiteY1" fmla="*/ 8299 h 16598"/>
                <a:gd name="connsiteX2" fmla="*/ 8307 w 16614"/>
                <a:gd name="connsiteY2" fmla="*/ 0 h 16598"/>
                <a:gd name="connsiteX3" fmla="*/ 0 w 16614"/>
                <a:gd name="connsiteY3" fmla="*/ 8299 h 16598"/>
                <a:gd name="connsiteX4" fmla="*/ 8307 w 16614"/>
                <a:gd name="connsiteY4" fmla="*/ 16599 h 16598"/>
                <a:gd name="connsiteX5" fmla="*/ 8307 w 16614"/>
                <a:gd name="connsiteY5" fmla="*/ 16599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4" h="16598">
                  <a:moveTo>
                    <a:pt x="8307" y="16599"/>
                  </a:moveTo>
                  <a:cubicBezTo>
                    <a:pt x="12780" y="16599"/>
                    <a:pt x="16614" y="12768"/>
                    <a:pt x="16614" y="8299"/>
                  </a:cubicBezTo>
                  <a:cubicBezTo>
                    <a:pt x="16614" y="3831"/>
                    <a:pt x="12780" y="0"/>
                    <a:pt x="8307" y="0"/>
                  </a:cubicBezTo>
                  <a:cubicBezTo>
                    <a:pt x="3834" y="0"/>
                    <a:pt x="0" y="3831"/>
                    <a:pt x="0" y="8299"/>
                  </a:cubicBezTo>
                  <a:cubicBezTo>
                    <a:pt x="0" y="12768"/>
                    <a:pt x="3834" y="16599"/>
                    <a:pt x="8307" y="16599"/>
                  </a:cubicBezTo>
                  <a:cubicBezTo>
                    <a:pt x="8307" y="16599"/>
                    <a:pt x="8307" y="16599"/>
                    <a:pt x="8307" y="16599"/>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62E78742-60D0-E94B-7613-7D048334C107}"/>
                </a:ext>
              </a:extLst>
            </p:cNvPr>
            <p:cNvSpPr/>
            <p:nvPr/>
          </p:nvSpPr>
          <p:spPr>
            <a:xfrm>
              <a:off x="5267864" y="3489647"/>
              <a:ext cx="31949" cy="46603"/>
            </a:xfrm>
            <a:custGeom>
              <a:avLst/>
              <a:gdLst>
                <a:gd name="connsiteX0" fmla="*/ 0 w 31949"/>
                <a:gd name="connsiteY0" fmla="*/ 0 h 46603"/>
                <a:gd name="connsiteX1" fmla="*/ 31950 w 31949"/>
                <a:gd name="connsiteY1" fmla="*/ 0 h 46603"/>
                <a:gd name="connsiteX2" fmla="*/ 31950 w 31949"/>
                <a:gd name="connsiteY2" fmla="*/ 46603 h 46603"/>
                <a:gd name="connsiteX3" fmla="*/ 0 w 31949"/>
                <a:gd name="connsiteY3" fmla="*/ 46603 h 46603"/>
              </a:gdLst>
              <a:ahLst/>
              <a:cxnLst>
                <a:cxn ang="0">
                  <a:pos x="connsiteX0" y="connsiteY0"/>
                </a:cxn>
                <a:cxn ang="0">
                  <a:pos x="connsiteX1" y="connsiteY1"/>
                </a:cxn>
                <a:cxn ang="0">
                  <a:pos x="connsiteX2" y="connsiteY2"/>
                </a:cxn>
                <a:cxn ang="0">
                  <a:pos x="connsiteX3" y="connsiteY3"/>
                </a:cxn>
              </a:cxnLst>
              <a:rect l="l" t="t" r="r" b="b"/>
              <a:pathLst>
                <a:path w="31949" h="46603">
                  <a:moveTo>
                    <a:pt x="0" y="0"/>
                  </a:moveTo>
                  <a:lnTo>
                    <a:pt x="31950" y="0"/>
                  </a:lnTo>
                  <a:lnTo>
                    <a:pt x="31950" y="46603"/>
                  </a:lnTo>
                  <a:lnTo>
                    <a:pt x="0" y="46603"/>
                  </a:ln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7BFC05FC-C65E-493C-44F5-7BA384912E87}"/>
                </a:ext>
              </a:extLst>
            </p:cNvPr>
            <p:cNvSpPr/>
            <p:nvPr/>
          </p:nvSpPr>
          <p:spPr>
            <a:xfrm>
              <a:off x="5099169" y="333962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259431 w 362309"/>
                <a:gd name="connsiteY7" fmla="*/ 77885 h 361971"/>
                <a:gd name="connsiteX8" fmla="*/ 280518 w 362309"/>
                <a:gd name="connsiteY8" fmla="*/ 98952 h 361971"/>
                <a:gd name="connsiteX9" fmla="*/ 259431 w 362309"/>
                <a:gd name="connsiteY9" fmla="*/ 120019 h 361971"/>
                <a:gd name="connsiteX10" fmla="*/ 238345 w 362309"/>
                <a:gd name="connsiteY10" fmla="*/ 98952 h 361971"/>
                <a:gd name="connsiteX11" fmla="*/ 259431 w 362309"/>
                <a:gd name="connsiteY11" fmla="*/ 77885 h 361971"/>
                <a:gd name="connsiteX12" fmla="*/ 259431 w 362309"/>
                <a:gd name="connsiteY12" fmla="*/ 77885 h 361971"/>
                <a:gd name="connsiteX13" fmla="*/ 184669 w 362309"/>
                <a:gd name="connsiteY13" fmla="*/ 77885 h 361971"/>
                <a:gd name="connsiteX14" fmla="*/ 205756 w 362309"/>
                <a:gd name="connsiteY14" fmla="*/ 98952 h 361971"/>
                <a:gd name="connsiteX15" fmla="*/ 184669 w 362309"/>
                <a:gd name="connsiteY15" fmla="*/ 120019 h 361971"/>
                <a:gd name="connsiteX16" fmla="*/ 163582 w 362309"/>
                <a:gd name="connsiteY16" fmla="*/ 98952 h 361971"/>
                <a:gd name="connsiteX17" fmla="*/ 184669 w 362309"/>
                <a:gd name="connsiteY17" fmla="*/ 77885 h 361971"/>
                <a:gd name="connsiteX18" fmla="*/ 184669 w 362309"/>
                <a:gd name="connsiteY18" fmla="*/ 77885 h 361971"/>
                <a:gd name="connsiteX19" fmla="*/ 110546 w 362309"/>
                <a:gd name="connsiteY19" fmla="*/ 77885 h 361971"/>
                <a:gd name="connsiteX20" fmla="*/ 131633 w 362309"/>
                <a:gd name="connsiteY20" fmla="*/ 98952 h 361971"/>
                <a:gd name="connsiteX21" fmla="*/ 110546 w 362309"/>
                <a:gd name="connsiteY21" fmla="*/ 120019 h 361971"/>
                <a:gd name="connsiteX22" fmla="*/ 89459 w 362309"/>
                <a:gd name="connsiteY22" fmla="*/ 98952 h 361971"/>
                <a:gd name="connsiteX23" fmla="*/ 110546 w 362309"/>
                <a:gd name="connsiteY23" fmla="*/ 77885 h 361971"/>
                <a:gd name="connsiteX24" fmla="*/ 110546 w 362309"/>
                <a:gd name="connsiteY24" fmla="*/ 77885 h 361971"/>
                <a:gd name="connsiteX25" fmla="*/ 139301 w 362309"/>
                <a:gd name="connsiteY25" fmla="*/ 203649 h 361971"/>
                <a:gd name="connsiteX26" fmla="*/ 132911 w 362309"/>
                <a:gd name="connsiteY26" fmla="*/ 210033 h 361971"/>
                <a:gd name="connsiteX27" fmla="*/ 131633 w 362309"/>
                <a:gd name="connsiteY27" fmla="*/ 210033 h 361971"/>
                <a:gd name="connsiteX28" fmla="*/ 131633 w 362309"/>
                <a:gd name="connsiteY28" fmla="*/ 277703 h 361971"/>
                <a:gd name="connsiteX29" fmla="*/ 125243 w 362309"/>
                <a:gd name="connsiteY29" fmla="*/ 284087 h 361971"/>
                <a:gd name="connsiteX30" fmla="*/ 118853 w 362309"/>
                <a:gd name="connsiteY30" fmla="*/ 277703 h 361971"/>
                <a:gd name="connsiteX31" fmla="*/ 118853 w 362309"/>
                <a:gd name="connsiteY31" fmla="*/ 210033 h 361971"/>
                <a:gd name="connsiteX32" fmla="*/ 102239 w 362309"/>
                <a:gd name="connsiteY32" fmla="*/ 210033 h 361971"/>
                <a:gd name="connsiteX33" fmla="*/ 102239 w 362309"/>
                <a:gd name="connsiteY33" fmla="*/ 277703 h 361971"/>
                <a:gd name="connsiteX34" fmla="*/ 95849 w 362309"/>
                <a:gd name="connsiteY34" fmla="*/ 284087 h 361971"/>
                <a:gd name="connsiteX35" fmla="*/ 89459 w 362309"/>
                <a:gd name="connsiteY35" fmla="*/ 277703 h 361971"/>
                <a:gd name="connsiteX36" fmla="*/ 89459 w 362309"/>
                <a:gd name="connsiteY36" fmla="*/ 210033 h 361971"/>
                <a:gd name="connsiteX37" fmla="*/ 88181 w 362309"/>
                <a:gd name="connsiteY37" fmla="*/ 210033 h 361971"/>
                <a:gd name="connsiteX38" fmla="*/ 81791 w 362309"/>
                <a:gd name="connsiteY38" fmla="*/ 203649 h 361971"/>
                <a:gd name="connsiteX39" fmla="*/ 81791 w 362309"/>
                <a:gd name="connsiteY39" fmla="*/ 143640 h 361971"/>
                <a:gd name="connsiteX40" fmla="*/ 88181 w 362309"/>
                <a:gd name="connsiteY40" fmla="*/ 137256 h 361971"/>
                <a:gd name="connsiteX41" fmla="*/ 132911 w 362309"/>
                <a:gd name="connsiteY41" fmla="*/ 137256 h 361971"/>
                <a:gd name="connsiteX42" fmla="*/ 139301 w 362309"/>
                <a:gd name="connsiteY42" fmla="*/ 143640 h 361971"/>
                <a:gd name="connsiteX43" fmla="*/ 139301 w 362309"/>
                <a:gd name="connsiteY43" fmla="*/ 203649 h 361971"/>
                <a:gd name="connsiteX44" fmla="*/ 213424 w 362309"/>
                <a:gd name="connsiteY44" fmla="*/ 203649 h 361971"/>
                <a:gd name="connsiteX45" fmla="*/ 207034 w 362309"/>
                <a:gd name="connsiteY45" fmla="*/ 210033 h 361971"/>
                <a:gd name="connsiteX46" fmla="*/ 205756 w 362309"/>
                <a:gd name="connsiteY46" fmla="*/ 210033 h 361971"/>
                <a:gd name="connsiteX47" fmla="*/ 205756 w 362309"/>
                <a:gd name="connsiteY47" fmla="*/ 277703 h 361971"/>
                <a:gd name="connsiteX48" fmla="*/ 199366 w 362309"/>
                <a:gd name="connsiteY48" fmla="*/ 284087 h 361971"/>
                <a:gd name="connsiteX49" fmla="*/ 192976 w 362309"/>
                <a:gd name="connsiteY49" fmla="*/ 277703 h 361971"/>
                <a:gd name="connsiteX50" fmla="*/ 192976 w 362309"/>
                <a:gd name="connsiteY50" fmla="*/ 210033 h 361971"/>
                <a:gd name="connsiteX51" fmla="*/ 175723 w 362309"/>
                <a:gd name="connsiteY51" fmla="*/ 210033 h 361971"/>
                <a:gd name="connsiteX52" fmla="*/ 175723 w 362309"/>
                <a:gd name="connsiteY52" fmla="*/ 277703 h 361971"/>
                <a:gd name="connsiteX53" fmla="*/ 169333 w 362309"/>
                <a:gd name="connsiteY53" fmla="*/ 284087 h 361971"/>
                <a:gd name="connsiteX54" fmla="*/ 162943 w 362309"/>
                <a:gd name="connsiteY54" fmla="*/ 277703 h 361971"/>
                <a:gd name="connsiteX55" fmla="*/ 162943 w 362309"/>
                <a:gd name="connsiteY55" fmla="*/ 210033 h 361971"/>
                <a:gd name="connsiteX56" fmla="*/ 161665 w 362309"/>
                <a:gd name="connsiteY56" fmla="*/ 210033 h 361971"/>
                <a:gd name="connsiteX57" fmla="*/ 155275 w 362309"/>
                <a:gd name="connsiteY57" fmla="*/ 203649 h 361971"/>
                <a:gd name="connsiteX58" fmla="*/ 155275 w 362309"/>
                <a:gd name="connsiteY58" fmla="*/ 143640 h 361971"/>
                <a:gd name="connsiteX59" fmla="*/ 161665 w 362309"/>
                <a:gd name="connsiteY59" fmla="*/ 137256 h 361971"/>
                <a:gd name="connsiteX60" fmla="*/ 206395 w 362309"/>
                <a:gd name="connsiteY60" fmla="*/ 137256 h 361971"/>
                <a:gd name="connsiteX61" fmla="*/ 212785 w 362309"/>
                <a:gd name="connsiteY61" fmla="*/ 143640 h 361971"/>
                <a:gd name="connsiteX62" fmla="*/ 213424 w 362309"/>
                <a:gd name="connsiteY62" fmla="*/ 203649 h 361971"/>
                <a:gd name="connsiteX63" fmla="*/ 286269 w 362309"/>
                <a:gd name="connsiteY63" fmla="*/ 222801 h 361971"/>
                <a:gd name="connsiteX64" fmla="*/ 281157 w 362309"/>
                <a:gd name="connsiteY64" fmla="*/ 225355 h 361971"/>
                <a:gd name="connsiteX65" fmla="*/ 279879 w 362309"/>
                <a:gd name="connsiteY65" fmla="*/ 225355 h 361971"/>
                <a:gd name="connsiteX66" fmla="*/ 279879 w 362309"/>
                <a:gd name="connsiteY66" fmla="*/ 278341 h 361971"/>
                <a:gd name="connsiteX67" fmla="*/ 273489 w 362309"/>
                <a:gd name="connsiteY67" fmla="*/ 284725 h 361971"/>
                <a:gd name="connsiteX68" fmla="*/ 267099 w 362309"/>
                <a:gd name="connsiteY68" fmla="*/ 278341 h 361971"/>
                <a:gd name="connsiteX69" fmla="*/ 267099 w 362309"/>
                <a:gd name="connsiteY69" fmla="*/ 225355 h 361971"/>
                <a:gd name="connsiteX70" fmla="*/ 249846 w 362309"/>
                <a:gd name="connsiteY70" fmla="*/ 225355 h 361971"/>
                <a:gd name="connsiteX71" fmla="*/ 249846 w 362309"/>
                <a:gd name="connsiteY71" fmla="*/ 278341 h 361971"/>
                <a:gd name="connsiteX72" fmla="*/ 243456 w 362309"/>
                <a:gd name="connsiteY72" fmla="*/ 284725 h 361971"/>
                <a:gd name="connsiteX73" fmla="*/ 237067 w 362309"/>
                <a:gd name="connsiteY73" fmla="*/ 278341 h 361971"/>
                <a:gd name="connsiteX74" fmla="*/ 237067 w 362309"/>
                <a:gd name="connsiteY74" fmla="*/ 225355 h 361971"/>
                <a:gd name="connsiteX75" fmla="*/ 235789 w 362309"/>
                <a:gd name="connsiteY75" fmla="*/ 225355 h 361971"/>
                <a:gd name="connsiteX76" fmla="*/ 230677 w 362309"/>
                <a:gd name="connsiteY76" fmla="*/ 222801 h 361971"/>
                <a:gd name="connsiteX77" fmla="*/ 229399 w 362309"/>
                <a:gd name="connsiteY77" fmla="*/ 217694 h 361971"/>
                <a:gd name="connsiteX78" fmla="*/ 244096 w 362309"/>
                <a:gd name="connsiteY78" fmla="*/ 143001 h 361971"/>
                <a:gd name="connsiteX79" fmla="*/ 250486 w 362309"/>
                <a:gd name="connsiteY79" fmla="*/ 137894 h 361971"/>
                <a:gd name="connsiteX80" fmla="*/ 265182 w 362309"/>
                <a:gd name="connsiteY80" fmla="*/ 137894 h 361971"/>
                <a:gd name="connsiteX81" fmla="*/ 271572 w 362309"/>
                <a:gd name="connsiteY81" fmla="*/ 143001 h 361971"/>
                <a:gd name="connsiteX82" fmla="*/ 286269 w 362309"/>
                <a:gd name="connsiteY82" fmla="*/ 217694 h 361971"/>
                <a:gd name="connsiteX83" fmla="*/ 286269 w 362309"/>
                <a:gd name="connsiteY83" fmla="*/ 222801 h 361971"/>
                <a:gd name="connsiteX84" fmla="*/ 286269 w 362309"/>
                <a:gd name="connsiteY84" fmla="*/ 22280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lnTo>
                    <a:pt x="362310" y="181305"/>
                  </a:lnTo>
                  <a:cubicBezTo>
                    <a:pt x="362310" y="81077"/>
                    <a:pt x="281157" y="0"/>
                    <a:pt x="181474" y="0"/>
                  </a:cubicBezTo>
                  <a:cubicBezTo>
                    <a:pt x="181474" y="0"/>
                    <a:pt x="181474" y="0"/>
                    <a:pt x="181474" y="0"/>
                  </a:cubicBezTo>
                  <a:close/>
                  <a:moveTo>
                    <a:pt x="259431" y="77885"/>
                  </a:moveTo>
                  <a:cubicBezTo>
                    <a:pt x="270934" y="77885"/>
                    <a:pt x="280518" y="87461"/>
                    <a:pt x="280518" y="98952"/>
                  </a:cubicBezTo>
                  <a:cubicBezTo>
                    <a:pt x="280518" y="110443"/>
                    <a:pt x="270934" y="120019"/>
                    <a:pt x="259431" y="120019"/>
                  </a:cubicBezTo>
                  <a:cubicBezTo>
                    <a:pt x="247929" y="120019"/>
                    <a:pt x="238345" y="110443"/>
                    <a:pt x="238345" y="98952"/>
                  </a:cubicBezTo>
                  <a:cubicBezTo>
                    <a:pt x="238345" y="87461"/>
                    <a:pt x="247291" y="77885"/>
                    <a:pt x="259431" y="77885"/>
                  </a:cubicBezTo>
                  <a:lnTo>
                    <a:pt x="259431" y="77885"/>
                  </a:lnTo>
                  <a:close/>
                  <a:moveTo>
                    <a:pt x="184669" y="77885"/>
                  </a:moveTo>
                  <a:cubicBezTo>
                    <a:pt x="196171" y="77885"/>
                    <a:pt x="205756" y="87461"/>
                    <a:pt x="205756" y="98952"/>
                  </a:cubicBezTo>
                  <a:cubicBezTo>
                    <a:pt x="205756" y="110443"/>
                    <a:pt x="196171" y="120019"/>
                    <a:pt x="184669" y="120019"/>
                  </a:cubicBezTo>
                  <a:cubicBezTo>
                    <a:pt x="173167" y="120019"/>
                    <a:pt x="163582" y="110443"/>
                    <a:pt x="163582" y="98952"/>
                  </a:cubicBezTo>
                  <a:cubicBezTo>
                    <a:pt x="163582" y="87461"/>
                    <a:pt x="173167" y="77885"/>
                    <a:pt x="184669" y="77885"/>
                  </a:cubicBezTo>
                  <a:lnTo>
                    <a:pt x="184669" y="77885"/>
                  </a:lnTo>
                  <a:close/>
                  <a:moveTo>
                    <a:pt x="110546" y="77885"/>
                  </a:moveTo>
                  <a:cubicBezTo>
                    <a:pt x="122048" y="77885"/>
                    <a:pt x="131633" y="87461"/>
                    <a:pt x="131633" y="98952"/>
                  </a:cubicBezTo>
                  <a:cubicBezTo>
                    <a:pt x="131633" y="110443"/>
                    <a:pt x="122048" y="120019"/>
                    <a:pt x="110546" y="120019"/>
                  </a:cubicBezTo>
                  <a:cubicBezTo>
                    <a:pt x="99044" y="120019"/>
                    <a:pt x="89459" y="110443"/>
                    <a:pt x="89459" y="98952"/>
                  </a:cubicBezTo>
                  <a:cubicBezTo>
                    <a:pt x="89459" y="87461"/>
                    <a:pt x="98405" y="77885"/>
                    <a:pt x="110546" y="77885"/>
                  </a:cubicBezTo>
                  <a:lnTo>
                    <a:pt x="110546" y="77885"/>
                  </a:lnTo>
                  <a:close/>
                  <a:moveTo>
                    <a:pt x="139301" y="203649"/>
                  </a:moveTo>
                  <a:cubicBezTo>
                    <a:pt x="139301" y="207479"/>
                    <a:pt x="136745" y="210033"/>
                    <a:pt x="132911" y="210033"/>
                  </a:cubicBezTo>
                  <a:lnTo>
                    <a:pt x="131633" y="210033"/>
                  </a:lnTo>
                  <a:lnTo>
                    <a:pt x="131633" y="277703"/>
                  </a:lnTo>
                  <a:cubicBezTo>
                    <a:pt x="131633" y="281533"/>
                    <a:pt x="129077" y="284087"/>
                    <a:pt x="125243" y="284087"/>
                  </a:cubicBezTo>
                  <a:cubicBezTo>
                    <a:pt x="121409" y="284087"/>
                    <a:pt x="118853" y="281533"/>
                    <a:pt x="118853" y="277703"/>
                  </a:cubicBezTo>
                  <a:lnTo>
                    <a:pt x="118853" y="210033"/>
                  </a:lnTo>
                  <a:lnTo>
                    <a:pt x="102239" y="210033"/>
                  </a:lnTo>
                  <a:lnTo>
                    <a:pt x="102239" y="277703"/>
                  </a:lnTo>
                  <a:cubicBezTo>
                    <a:pt x="102239" y="281533"/>
                    <a:pt x="99683" y="284087"/>
                    <a:pt x="95849" y="284087"/>
                  </a:cubicBezTo>
                  <a:cubicBezTo>
                    <a:pt x="92015" y="284087"/>
                    <a:pt x="89459" y="281533"/>
                    <a:pt x="89459" y="277703"/>
                  </a:cubicBezTo>
                  <a:lnTo>
                    <a:pt x="89459" y="210033"/>
                  </a:lnTo>
                  <a:lnTo>
                    <a:pt x="88181" y="210033"/>
                  </a:lnTo>
                  <a:cubicBezTo>
                    <a:pt x="84347" y="210033"/>
                    <a:pt x="81791" y="207479"/>
                    <a:pt x="81791" y="203649"/>
                  </a:cubicBezTo>
                  <a:lnTo>
                    <a:pt x="81791" y="143640"/>
                  </a:lnTo>
                  <a:cubicBezTo>
                    <a:pt x="81791" y="139809"/>
                    <a:pt x="84347" y="137256"/>
                    <a:pt x="88181" y="137256"/>
                  </a:cubicBezTo>
                  <a:lnTo>
                    <a:pt x="132911" y="137256"/>
                  </a:lnTo>
                  <a:cubicBezTo>
                    <a:pt x="136745" y="137256"/>
                    <a:pt x="139301" y="139809"/>
                    <a:pt x="139301" y="143640"/>
                  </a:cubicBezTo>
                  <a:lnTo>
                    <a:pt x="139301" y="203649"/>
                  </a:lnTo>
                  <a:close/>
                  <a:moveTo>
                    <a:pt x="213424" y="203649"/>
                  </a:moveTo>
                  <a:cubicBezTo>
                    <a:pt x="213424" y="207479"/>
                    <a:pt x="210868" y="210033"/>
                    <a:pt x="207034" y="210033"/>
                  </a:cubicBezTo>
                  <a:lnTo>
                    <a:pt x="205756" y="210033"/>
                  </a:lnTo>
                  <a:lnTo>
                    <a:pt x="205756" y="277703"/>
                  </a:lnTo>
                  <a:cubicBezTo>
                    <a:pt x="205756" y="281533"/>
                    <a:pt x="203200" y="284087"/>
                    <a:pt x="199366" y="284087"/>
                  </a:cubicBezTo>
                  <a:cubicBezTo>
                    <a:pt x="195532" y="284087"/>
                    <a:pt x="192976" y="281533"/>
                    <a:pt x="192976" y="277703"/>
                  </a:cubicBezTo>
                  <a:lnTo>
                    <a:pt x="192976" y="210033"/>
                  </a:lnTo>
                  <a:lnTo>
                    <a:pt x="175723" y="210033"/>
                  </a:lnTo>
                  <a:lnTo>
                    <a:pt x="175723" y="277703"/>
                  </a:lnTo>
                  <a:cubicBezTo>
                    <a:pt x="175723" y="281533"/>
                    <a:pt x="173167" y="284087"/>
                    <a:pt x="169333" y="284087"/>
                  </a:cubicBezTo>
                  <a:cubicBezTo>
                    <a:pt x="165500" y="284087"/>
                    <a:pt x="162943" y="281533"/>
                    <a:pt x="162943" y="277703"/>
                  </a:cubicBezTo>
                  <a:lnTo>
                    <a:pt x="162943" y="210033"/>
                  </a:lnTo>
                  <a:lnTo>
                    <a:pt x="161665" y="210033"/>
                  </a:lnTo>
                  <a:cubicBezTo>
                    <a:pt x="157832" y="210033"/>
                    <a:pt x="155275" y="207479"/>
                    <a:pt x="155275" y="203649"/>
                  </a:cubicBezTo>
                  <a:lnTo>
                    <a:pt x="155275" y="143640"/>
                  </a:lnTo>
                  <a:cubicBezTo>
                    <a:pt x="155275" y="139809"/>
                    <a:pt x="157832" y="137256"/>
                    <a:pt x="161665" y="137256"/>
                  </a:cubicBezTo>
                  <a:lnTo>
                    <a:pt x="206395" y="137256"/>
                  </a:lnTo>
                  <a:cubicBezTo>
                    <a:pt x="210229" y="137256"/>
                    <a:pt x="212785" y="139809"/>
                    <a:pt x="212785" y="143640"/>
                  </a:cubicBezTo>
                  <a:lnTo>
                    <a:pt x="213424" y="203649"/>
                  </a:lnTo>
                  <a:close/>
                  <a:moveTo>
                    <a:pt x="286269" y="222801"/>
                  </a:moveTo>
                  <a:cubicBezTo>
                    <a:pt x="284991" y="224078"/>
                    <a:pt x="283074" y="225355"/>
                    <a:pt x="281157" y="225355"/>
                  </a:cubicBezTo>
                  <a:lnTo>
                    <a:pt x="279879" y="225355"/>
                  </a:lnTo>
                  <a:lnTo>
                    <a:pt x="279879" y="278341"/>
                  </a:lnTo>
                  <a:cubicBezTo>
                    <a:pt x="279879" y="282172"/>
                    <a:pt x="277323" y="284725"/>
                    <a:pt x="273489" y="284725"/>
                  </a:cubicBezTo>
                  <a:cubicBezTo>
                    <a:pt x="269655" y="284725"/>
                    <a:pt x="267099" y="282172"/>
                    <a:pt x="267099" y="278341"/>
                  </a:cubicBezTo>
                  <a:lnTo>
                    <a:pt x="267099" y="225355"/>
                  </a:lnTo>
                  <a:lnTo>
                    <a:pt x="249846" y="225355"/>
                  </a:lnTo>
                  <a:lnTo>
                    <a:pt x="249846" y="278341"/>
                  </a:lnTo>
                  <a:cubicBezTo>
                    <a:pt x="249846" y="282172"/>
                    <a:pt x="247291" y="284725"/>
                    <a:pt x="243456" y="284725"/>
                  </a:cubicBezTo>
                  <a:cubicBezTo>
                    <a:pt x="239623" y="284725"/>
                    <a:pt x="237067" y="282172"/>
                    <a:pt x="237067" y="278341"/>
                  </a:cubicBezTo>
                  <a:lnTo>
                    <a:pt x="237067" y="225355"/>
                  </a:lnTo>
                  <a:lnTo>
                    <a:pt x="235789" y="225355"/>
                  </a:lnTo>
                  <a:cubicBezTo>
                    <a:pt x="233872" y="225355"/>
                    <a:pt x="231955" y="224716"/>
                    <a:pt x="230677" y="222801"/>
                  </a:cubicBezTo>
                  <a:cubicBezTo>
                    <a:pt x="229399" y="221524"/>
                    <a:pt x="228760" y="219609"/>
                    <a:pt x="229399" y="217694"/>
                  </a:cubicBezTo>
                  <a:lnTo>
                    <a:pt x="244096" y="143001"/>
                  </a:lnTo>
                  <a:cubicBezTo>
                    <a:pt x="244735" y="139809"/>
                    <a:pt x="247291" y="137894"/>
                    <a:pt x="250486" y="137894"/>
                  </a:cubicBezTo>
                  <a:lnTo>
                    <a:pt x="265182" y="137894"/>
                  </a:lnTo>
                  <a:cubicBezTo>
                    <a:pt x="268377" y="137894"/>
                    <a:pt x="270934" y="139809"/>
                    <a:pt x="271572" y="143001"/>
                  </a:cubicBezTo>
                  <a:lnTo>
                    <a:pt x="286269" y="217694"/>
                  </a:lnTo>
                  <a:cubicBezTo>
                    <a:pt x="288825" y="218971"/>
                    <a:pt x="288186" y="220886"/>
                    <a:pt x="286269" y="222801"/>
                  </a:cubicBezTo>
                  <a:lnTo>
                    <a:pt x="286269" y="222801"/>
                  </a:lnTo>
                  <a:close/>
                </a:path>
              </a:pathLst>
            </a:custGeom>
            <a:grpFill/>
            <a:ln w="6390" cap="flat">
              <a:noFill/>
              <a:prstDash val="solid"/>
              <a:miter/>
            </a:ln>
          </p:spPr>
          <p:txBody>
            <a:bodyPr rtlCol="0" anchor="ctr"/>
            <a:lstStyle/>
            <a:p>
              <a:endParaRPr lang="en-US"/>
            </a:p>
          </p:txBody>
        </p:sp>
        <p:sp>
          <p:nvSpPr>
            <p:cNvPr id="86" name="Graphic 4">
              <a:extLst>
                <a:ext uri="{FF2B5EF4-FFF2-40B4-BE49-F238E27FC236}">
                  <a16:creationId xmlns:a16="http://schemas.microsoft.com/office/drawing/2014/main" id="{9A8EA33E-1EF3-3104-F5E8-8D81FF25CBDF}"/>
                </a:ext>
              </a:extLst>
            </p:cNvPr>
            <p:cNvSpPr/>
            <p:nvPr/>
          </p:nvSpPr>
          <p:spPr>
            <a:xfrm>
              <a:off x="5343904" y="3489647"/>
              <a:ext cx="29393" cy="61924"/>
            </a:xfrm>
            <a:custGeom>
              <a:avLst/>
              <a:gdLst>
                <a:gd name="connsiteX0" fmla="*/ 12141 w 29393"/>
                <a:gd name="connsiteY0" fmla="*/ 0 h 61924"/>
                <a:gd name="connsiteX1" fmla="*/ 0 w 29393"/>
                <a:gd name="connsiteY1" fmla="*/ 61925 h 61924"/>
                <a:gd name="connsiteX2" fmla="*/ 29394 w 29393"/>
                <a:gd name="connsiteY2" fmla="*/ 61925 h 61924"/>
                <a:gd name="connsiteX3" fmla="*/ 16614 w 29393"/>
                <a:gd name="connsiteY3" fmla="*/ 0 h 61924"/>
              </a:gdLst>
              <a:ahLst/>
              <a:cxnLst>
                <a:cxn ang="0">
                  <a:pos x="connsiteX0" y="connsiteY0"/>
                </a:cxn>
                <a:cxn ang="0">
                  <a:pos x="connsiteX1" y="connsiteY1"/>
                </a:cxn>
                <a:cxn ang="0">
                  <a:pos x="connsiteX2" y="connsiteY2"/>
                </a:cxn>
                <a:cxn ang="0">
                  <a:pos x="connsiteX3" y="connsiteY3"/>
                </a:cxn>
              </a:cxnLst>
              <a:rect l="l" t="t" r="r" b="b"/>
              <a:pathLst>
                <a:path w="29393" h="61924">
                  <a:moveTo>
                    <a:pt x="12141" y="0"/>
                  </a:moveTo>
                  <a:lnTo>
                    <a:pt x="0" y="61925"/>
                  </a:lnTo>
                  <a:lnTo>
                    <a:pt x="29394" y="61925"/>
                  </a:lnTo>
                  <a:lnTo>
                    <a:pt x="16614" y="0"/>
                  </a:lnTo>
                  <a:close/>
                </a:path>
              </a:pathLst>
            </a:custGeom>
            <a:grpFill/>
            <a:ln w="6390" cap="flat">
              <a:noFill/>
              <a:prstDash val="solid"/>
              <a:miter/>
            </a:ln>
          </p:spPr>
          <p:txBody>
            <a:bodyPr rtlCol="0" anchor="ctr"/>
            <a:lstStyle/>
            <a:p>
              <a:endParaRPr lang="en-US"/>
            </a:p>
          </p:txBody>
        </p:sp>
      </p:grpSp>
      <p:grpSp>
        <p:nvGrpSpPr>
          <p:cNvPr id="88" name="Graphic 1039">
            <a:extLst>
              <a:ext uri="{FF2B5EF4-FFF2-40B4-BE49-F238E27FC236}">
                <a16:creationId xmlns:a16="http://schemas.microsoft.com/office/drawing/2014/main" id="{512D63F9-B1FC-82CC-8ED3-C4B2139733A3}"/>
              </a:ext>
            </a:extLst>
          </p:cNvPr>
          <p:cNvGrpSpPr/>
          <p:nvPr/>
        </p:nvGrpSpPr>
        <p:grpSpPr>
          <a:xfrm>
            <a:off x="473393" y="3958499"/>
            <a:ext cx="432000" cy="432000"/>
            <a:chOff x="6147119" y="3824168"/>
            <a:chExt cx="361670" cy="361333"/>
          </a:xfrm>
          <a:solidFill>
            <a:schemeClr val="accent5"/>
          </a:solidFill>
        </p:grpSpPr>
        <p:sp>
          <p:nvSpPr>
            <p:cNvPr id="89" name="Graphic 1039">
              <a:extLst>
                <a:ext uri="{FF2B5EF4-FFF2-40B4-BE49-F238E27FC236}">
                  <a16:creationId xmlns:a16="http://schemas.microsoft.com/office/drawing/2014/main" id="{0B4F8640-AD9F-FA0E-80BD-B1288D763DD0}"/>
                </a:ext>
              </a:extLst>
            </p:cNvPr>
            <p:cNvSpPr/>
            <p:nvPr/>
          </p:nvSpPr>
          <p:spPr>
            <a:xfrm>
              <a:off x="6228910" y="3981852"/>
              <a:ext cx="197449" cy="91929"/>
            </a:xfrm>
            <a:custGeom>
              <a:avLst/>
              <a:gdLst>
                <a:gd name="connsiteX0" fmla="*/ 0 w 197449"/>
                <a:gd name="connsiteY0" fmla="*/ 0 h 91929"/>
                <a:gd name="connsiteX1" fmla="*/ 0 w 197449"/>
                <a:gd name="connsiteY1" fmla="*/ 91930 h 91929"/>
                <a:gd name="connsiteX2" fmla="*/ 197449 w 197449"/>
                <a:gd name="connsiteY2" fmla="*/ 91930 h 91929"/>
                <a:gd name="connsiteX3" fmla="*/ 197449 w 197449"/>
                <a:gd name="connsiteY3" fmla="*/ 0 h 91929"/>
                <a:gd name="connsiteX4" fmla="*/ 0 w 197449"/>
                <a:gd name="connsiteY4" fmla="*/ 0 h 91929"/>
                <a:gd name="connsiteX5" fmla="*/ 99044 w 197449"/>
                <a:gd name="connsiteY5" fmla="*/ 74693 h 91929"/>
                <a:gd name="connsiteX6" fmla="*/ 24282 w 197449"/>
                <a:gd name="connsiteY6" fmla="*/ 74693 h 91929"/>
                <a:gd name="connsiteX7" fmla="*/ 17892 w 197449"/>
                <a:gd name="connsiteY7" fmla="*/ 68309 h 91929"/>
                <a:gd name="connsiteX8" fmla="*/ 24282 w 197449"/>
                <a:gd name="connsiteY8" fmla="*/ 61925 h 91929"/>
                <a:gd name="connsiteX9" fmla="*/ 99044 w 197449"/>
                <a:gd name="connsiteY9" fmla="*/ 61925 h 91929"/>
                <a:gd name="connsiteX10" fmla="*/ 105434 w 197449"/>
                <a:gd name="connsiteY10" fmla="*/ 68309 h 91929"/>
                <a:gd name="connsiteX11" fmla="*/ 99044 w 197449"/>
                <a:gd name="connsiteY11" fmla="*/ 74693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449" h="91929">
                  <a:moveTo>
                    <a:pt x="0" y="0"/>
                  </a:moveTo>
                  <a:lnTo>
                    <a:pt x="0" y="91930"/>
                  </a:lnTo>
                  <a:lnTo>
                    <a:pt x="197449" y="91930"/>
                  </a:lnTo>
                  <a:lnTo>
                    <a:pt x="197449" y="0"/>
                  </a:lnTo>
                  <a:lnTo>
                    <a:pt x="0" y="0"/>
                  </a:lnTo>
                  <a:close/>
                  <a:moveTo>
                    <a:pt x="99044" y="74693"/>
                  </a:moveTo>
                  <a:lnTo>
                    <a:pt x="24282" y="74693"/>
                  </a:lnTo>
                  <a:cubicBezTo>
                    <a:pt x="20448" y="74693"/>
                    <a:pt x="17892" y="72139"/>
                    <a:pt x="17892" y="68309"/>
                  </a:cubicBezTo>
                  <a:cubicBezTo>
                    <a:pt x="17892" y="64478"/>
                    <a:pt x="20448" y="61925"/>
                    <a:pt x="24282" y="61925"/>
                  </a:cubicBezTo>
                  <a:lnTo>
                    <a:pt x="99044" y="61925"/>
                  </a:lnTo>
                  <a:cubicBezTo>
                    <a:pt x="102878" y="61925"/>
                    <a:pt x="105434" y="64478"/>
                    <a:pt x="105434" y="68309"/>
                  </a:cubicBezTo>
                  <a:cubicBezTo>
                    <a:pt x="105434" y="72139"/>
                    <a:pt x="102239" y="74693"/>
                    <a:pt x="99044" y="74693"/>
                  </a:cubicBezTo>
                  <a:close/>
                </a:path>
              </a:pathLst>
            </a:custGeom>
            <a:grpFill/>
            <a:ln w="6390" cap="flat">
              <a:noFill/>
              <a:prstDash val="solid"/>
              <a:miter/>
            </a:ln>
          </p:spPr>
          <p:txBody>
            <a:bodyPr rtlCol="0" anchor="ctr"/>
            <a:lstStyle/>
            <a:p>
              <a:endParaRPr lang="en-US"/>
            </a:p>
          </p:txBody>
        </p:sp>
        <p:sp>
          <p:nvSpPr>
            <p:cNvPr id="90" name="Graphic 1039">
              <a:extLst>
                <a:ext uri="{FF2B5EF4-FFF2-40B4-BE49-F238E27FC236}">
                  <a16:creationId xmlns:a16="http://schemas.microsoft.com/office/drawing/2014/main" id="{CADE6412-BA9C-BA45-5ED6-78A555428FEF}"/>
                </a:ext>
              </a:extLst>
            </p:cNvPr>
            <p:cNvSpPr/>
            <p:nvPr/>
          </p:nvSpPr>
          <p:spPr>
            <a:xfrm>
              <a:off x="6147119" y="3824168"/>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92020 w 361670"/>
                <a:gd name="connsiteY5" fmla="*/ 255998 h 361333"/>
                <a:gd name="connsiteX6" fmla="*/ 285630 w 361670"/>
                <a:gd name="connsiteY6" fmla="*/ 262382 h 361333"/>
                <a:gd name="connsiteX7" fmla="*/ 75401 w 361670"/>
                <a:gd name="connsiteY7" fmla="*/ 262382 h 361333"/>
                <a:gd name="connsiteX8" fmla="*/ 69011 w 361670"/>
                <a:gd name="connsiteY8" fmla="*/ 255998 h 361333"/>
                <a:gd name="connsiteX9" fmla="*/ 69011 w 361670"/>
                <a:gd name="connsiteY9" fmla="*/ 105974 h 361333"/>
                <a:gd name="connsiteX10" fmla="*/ 75401 w 361670"/>
                <a:gd name="connsiteY10" fmla="*/ 99590 h 361333"/>
                <a:gd name="connsiteX11" fmla="*/ 285630 w 361670"/>
                <a:gd name="connsiteY11" fmla="*/ 99590 h 361333"/>
                <a:gd name="connsiteX12" fmla="*/ 292020 w 361670"/>
                <a:gd name="connsiteY12" fmla="*/ 105974 h 361333"/>
                <a:gd name="connsiteX13" fmla="*/ 292020 w 361670"/>
                <a:gd name="connsiteY13" fmla="*/ 255998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333">
                  <a:moveTo>
                    <a:pt x="180835" y="0"/>
                  </a:moveTo>
                  <a:cubicBezTo>
                    <a:pt x="80513" y="0"/>
                    <a:pt x="0" y="81076"/>
                    <a:pt x="0" y="180667"/>
                  </a:cubicBezTo>
                  <a:cubicBezTo>
                    <a:pt x="0" y="280257"/>
                    <a:pt x="81152" y="361333"/>
                    <a:pt x="180835" y="361333"/>
                  </a:cubicBezTo>
                  <a:cubicBezTo>
                    <a:pt x="281157" y="361333"/>
                    <a:pt x="361670" y="280257"/>
                    <a:pt x="361670" y="180667"/>
                  </a:cubicBezTo>
                  <a:cubicBezTo>
                    <a:pt x="361670" y="81076"/>
                    <a:pt x="280518" y="0"/>
                    <a:pt x="180835" y="0"/>
                  </a:cubicBezTo>
                  <a:close/>
                  <a:moveTo>
                    <a:pt x="292020" y="255998"/>
                  </a:moveTo>
                  <a:cubicBezTo>
                    <a:pt x="292020" y="259828"/>
                    <a:pt x="289464" y="262382"/>
                    <a:pt x="285630" y="262382"/>
                  </a:cubicBezTo>
                  <a:lnTo>
                    <a:pt x="75401" y="262382"/>
                  </a:lnTo>
                  <a:cubicBezTo>
                    <a:pt x="71567" y="262382"/>
                    <a:pt x="69011" y="259828"/>
                    <a:pt x="69011" y="255998"/>
                  </a:cubicBezTo>
                  <a:lnTo>
                    <a:pt x="69011" y="105974"/>
                  </a:lnTo>
                  <a:cubicBezTo>
                    <a:pt x="69011" y="102144"/>
                    <a:pt x="71567" y="99590"/>
                    <a:pt x="75401" y="99590"/>
                  </a:cubicBezTo>
                  <a:lnTo>
                    <a:pt x="285630" y="99590"/>
                  </a:lnTo>
                  <a:cubicBezTo>
                    <a:pt x="289464" y="99590"/>
                    <a:pt x="292020" y="102144"/>
                    <a:pt x="292020" y="105974"/>
                  </a:cubicBezTo>
                  <a:lnTo>
                    <a:pt x="292020" y="255998"/>
                  </a:lnTo>
                  <a:close/>
                </a:path>
              </a:pathLst>
            </a:custGeom>
            <a:grpFill/>
            <a:ln w="6390" cap="flat">
              <a:noFill/>
              <a:prstDash val="solid"/>
              <a:miter/>
            </a:ln>
          </p:spPr>
          <p:txBody>
            <a:bodyPr rtlCol="0" anchor="ctr"/>
            <a:lstStyle/>
            <a:p>
              <a:endParaRPr lang="en-US"/>
            </a:p>
          </p:txBody>
        </p:sp>
        <p:sp>
          <p:nvSpPr>
            <p:cNvPr id="91" name="Graphic 1039">
              <a:extLst>
                <a:ext uri="{FF2B5EF4-FFF2-40B4-BE49-F238E27FC236}">
                  <a16:creationId xmlns:a16="http://schemas.microsoft.com/office/drawing/2014/main" id="{DF3F6F2B-80B0-A7D1-F48F-9286E6210499}"/>
                </a:ext>
              </a:extLst>
            </p:cNvPr>
            <p:cNvSpPr/>
            <p:nvPr/>
          </p:nvSpPr>
          <p:spPr>
            <a:xfrm>
              <a:off x="6228910" y="3936526"/>
              <a:ext cx="197449" cy="23620"/>
            </a:xfrm>
            <a:custGeom>
              <a:avLst/>
              <a:gdLst>
                <a:gd name="connsiteX0" fmla="*/ 0 w 197449"/>
                <a:gd name="connsiteY0" fmla="*/ 0 h 23620"/>
                <a:gd name="connsiteX1" fmla="*/ 197449 w 197449"/>
                <a:gd name="connsiteY1" fmla="*/ 0 h 23620"/>
                <a:gd name="connsiteX2" fmla="*/ 197449 w 197449"/>
                <a:gd name="connsiteY2" fmla="*/ 23621 h 23620"/>
                <a:gd name="connsiteX3" fmla="*/ 0 w 197449"/>
                <a:gd name="connsiteY3" fmla="*/ 23621 h 23620"/>
              </a:gdLst>
              <a:ahLst/>
              <a:cxnLst>
                <a:cxn ang="0">
                  <a:pos x="connsiteX0" y="connsiteY0"/>
                </a:cxn>
                <a:cxn ang="0">
                  <a:pos x="connsiteX1" y="connsiteY1"/>
                </a:cxn>
                <a:cxn ang="0">
                  <a:pos x="connsiteX2" y="connsiteY2"/>
                </a:cxn>
                <a:cxn ang="0">
                  <a:pos x="connsiteX3" y="connsiteY3"/>
                </a:cxn>
              </a:cxnLst>
              <a:rect l="l" t="t" r="r" b="b"/>
              <a:pathLst>
                <a:path w="197449" h="23620">
                  <a:moveTo>
                    <a:pt x="0" y="0"/>
                  </a:moveTo>
                  <a:lnTo>
                    <a:pt x="197449" y="0"/>
                  </a:lnTo>
                  <a:lnTo>
                    <a:pt x="197449" y="23621"/>
                  </a:lnTo>
                  <a:lnTo>
                    <a:pt x="0" y="23621"/>
                  </a:lnTo>
                  <a:close/>
                </a:path>
              </a:pathLst>
            </a:custGeom>
            <a:grpFill/>
            <a:ln w="6390" cap="flat">
              <a:noFill/>
              <a:prstDash val="solid"/>
              <a:miter/>
            </a:ln>
          </p:spPr>
          <p:txBody>
            <a:bodyPr rtlCol="0" anchor="ctr"/>
            <a:lstStyle/>
            <a:p>
              <a:endParaRPr lang="en-US"/>
            </a:p>
          </p:txBody>
        </p:sp>
      </p:grpSp>
      <p:grpSp>
        <p:nvGrpSpPr>
          <p:cNvPr id="92" name="Graphic 4">
            <a:extLst>
              <a:ext uri="{FF2B5EF4-FFF2-40B4-BE49-F238E27FC236}">
                <a16:creationId xmlns:a16="http://schemas.microsoft.com/office/drawing/2014/main" id="{EEFA4760-C8EE-5977-0DAF-A1C1EAB41931}"/>
              </a:ext>
            </a:extLst>
          </p:cNvPr>
          <p:cNvGrpSpPr>
            <a:grpSpLocks noChangeAspect="1"/>
          </p:cNvGrpSpPr>
          <p:nvPr/>
        </p:nvGrpSpPr>
        <p:grpSpPr>
          <a:xfrm>
            <a:off x="472985" y="3154386"/>
            <a:ext cx="432408" cy="432000"/>
            <a:chOff x="1952125" y="2855717"/>
            <a:chExt cx="362313" cy="361971"/>
          </a:xfrm>
          <a:solidFill>
            <a:srgbClr val="92D050"/>
          </a:solidFill>
        </p:grpSpPr>
        <p:sp>
          <p:nvSpPr>
            <p:cNvPr id="93" name="Graphic 4">
              <a:extLst>
                <a:ext uri="{FF2B5EF4-FFF2-40B4-BE49-F238E27FC236}">
                  <a16:creationId xmlns:a16="http://schemas.microsoft.com/office/drawing/2014/main" id="{E027FE27-ADC3-D4B0-F8EF-F56C064FC791}"/>
                </a:ext>
              </a:extLst>
            </p:cNvPr>
            <p:cNvSpPr/>
            <p:nvPr/>
          </p:nvSpPr>
          <p:spPr>
            <a:xfrm>
              <a:off x="2047974" y="2955307"/>
              <a:ext cx="61087" cy="61286"/>
            </a:xfrm>
            <a:custGeom>
              <a:avLst/>
              <a:gdLst>
                <a:gd name="connsiteX0" fmla="*/ 54954 w 61087"/>
                <a:gd name="connsiteY0" fmla="*/ 12130 h 61286"/>
                <a:gd name="connsiteX1" fmla="*/ 35145 w 61087"/>
                <a:gd name="connsiteY1" fmla="*/ 0 h 61286"/>
                <a:gd name="connsiteX2" fmla="*/ 30672 w 61087"/>
                <a:gd name="connsiteY2" fmla="*/ 0 h 61286"/>
                <a:gd name="connsiteX3" fmla="*/ 0 w 61087"/>
                <a:gd name="connsiteY3" fmla="*/ 30643 h 61286"/>
                <a:gd name="connsiteX4" fmla="*/ 30672 w 61087"/>
                <a:gd name="connsiteY4" fmla="*/ 61286 h 61286"/>
                <a:gd name="connsiteX5" fmla="*/ 60704 w 61087"/>
                <a:gd name="connsiteY5" fmla="*/ 35112 h 61286"/>
                <a:gd name="connsiteX6" fmla="*/ 54954 w 61087"/>
                <a:gd name="connsiteY6" fmla="*/ 12130 h 6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87" h="61286">
                  <a:moveTo>
                    <a:pt x="54954" y="12130"/>
                  </a:moveTo>
                  <a:cubicBezTo>
                    <a:pt x="49841" y="5746"/>
                    <a:pt x="42813" y="1277"/>
                    <a:pt x="35145" y="0"/>
                  </a:cubicBezTo>
                  <a:cubicBezTo>
                    <a:pt x="33867" y="0"/>
                    <a:pt x="31950" y="0"/>
                    <a:pt x="30672" y="0"/>
                  </a:cubicBezTo>
                  <a:cubicBezTo>
                    <a:pt x="14058" y="0"/>
                    <a:pt x="0" y="14045"/>
                    <a:pt x="0" y="30643"/>
                  </a:cubicBezTo>
                  <a:cubicBezTo>
                    <a:pt x="0" y="47242"/>
                    <a:pt x="14058" y="61286"/>
                    <a:pt x="30672" y="61286"/>
                  </a:cubicBezTo>
                  <a:cubicBezTo>
                    <a:pt x="46008" y="61286"/>
                    <a:pt x="58788" y="49795"/>
                    <a:pt x="60704" y="35112"/>
                  </a:cubicBezTo>
                  <a:cubicBezTo>
                    <a:pt x="61982" y="26813"/>
                    <a:pt x="60065" y="18514"/>
                    <a:pt x="54954" y="12130"/>
                  </a:cubicBezTo>
                  <a:close/>
                </a:path>
              </a:pathLst>
            </a:custGeom>
            <a:grpFill/>
            <a:ln w="6390" cap="flat">
              <a:noFill/>
              <a:prstDash val="solid"/>
              <a:miter/>
            </a:ln>
          </p:spPr>
          <p:txBody>
            <a:bodyPr rtlCol="0" anchor="ctr"/>
            <a:lstStyle/>
            <a:p>
              <a:endParaRPr lang="en-US"/>
            </a:p>
          </p:txBody>
        </p:sp>
        <p:sp>
          <p:nvSpPr>
            <p:cNvPr id="94" name="Graphic 4">
              <a:extLst>
                <a:ext uri="{FF2B5EF4-FFF2-40B4-BE49-F238E27FC236}">
                  <a16:creationId xmlns:a16="http://schemas.microsoft.com/office/drawing/2014/main" id="{2517B3E9-F626-0AE6-5DAD-9DB767830B6F}"/>
                </a:ext>
              </a:extLst>
            </p:cNvPr>
            <p:cNvSpPr/>
            <p:nvPr/>
          </p:nvSpPr>
          <p:spPr>
            <a:xfrm>
              <a:off x="2183407" y="2999963"/>
              <a:ext cx="40325" cy="40285"/>
            </a:xfrm>
            <a:custGeom>
              <a:avLst/>
              <a:gdLst>
                <a:gd name="connsiteX0" fmla="*/ 19204 w 40325"/>
                <a:gd name="connsiteY0" fmla="*/ 32 h 40285"/>
                <a:gd name="connsiteX1" fmla="*/ 35 w 40325"/>
                <a:gd name="connsiteY1" fmla="*/ 21099 h 40285"/>
                <a:gd name="connsiteX2" fmla="*/ 21121 w 40325"/>
                <a:gd name="connsiteY2" fmla="*/ 40251 h 40285"/>
                <a:gd name="connsiteX3" fmla="*/ 40291 w 40325"/>
                <a:gd name="connsiteY3" fmla="*/ 19184 h 40285"/>
                <a:gd name="connsiteX4" fmla="*/ 19204 w 40325"/>
                <a:gd name="connsiteY4" fmla="*/ 32 h 40285"/>
                <a:gd name="connsiteX5" fmla="*/ 19204 w 40325"/>
                <a:gd name="connsiteY5" fmla="*/ 32 h 4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25" h="40285">
                  <a:moveTo>
                    <a:pt x="19204" y="32"/>
                  </a:moveTo>
                  <a:cubicBezTo>
                    <a:pt x="7702" y="671"/>
                    <a:pt x="-605" y="10247"/>
                    <a:pt x="35" y="21099"/>
                  </a:cubicBezTo>
                  <a:cubicBezTo>
                    <a:pt x="673" y="32591"/>
                    <a:pt x="10258" y="40890"/>
                    <a:pt x="21121" y="40251"/>
                  </a:cubicBezTo>
                  <a:cubicBezTo>
                    <a:pt x="32623" y="39613"/>
                    <a:pt x="40930" y="30037"/>
                    <a:pt x="40291" y="19184"/>
                  </a:cubicBezTo>
                  <a:cubicBezTo>
                    <a:pt x="39652" y="8331"/>
                    <a:pt x="30067" y="-606"/>
                    <a:pt x="19204" y="32"/>
                  </a:cubicBezTo>
                  <a:cubicBezTo>
                    <a:pt x="19204" y="32"/>
                    <a:pt x="19204" y="32"/>
                    <a:pt x="19204" y="32"/>
                  </a:cubicBezTo>
                  <a:close/>
                </a:path>
              </a:pathLst>
            </a:custGeom>
            <a:grpFill/>
            <a:ln w="6390" cap="flat">
              <a:noFill/>
              <a:prstDash val="solid"/>
              <a:miter/>
            </a:ln>
          </p:spPr>
          <p:txBody>
            <a:bodyPr rtlCol="0" anchor="ctr"/>
            <a:lstStyle/>
            <a:p>
              <a:endParaRPr lang="en-US"/>
            </a:p>
          </p:txBody>
        </p:sp>
        <p:sp>
          <p:nvSpPr>
            <p:cNvPr id="95" name="Graphic 4">
              <a:extLst>
                <a:ext uri="{FF2B5EF4-FFF2-40B4-BE49-F238E27FC236}">
                  <a16:creationId xmlns:a16="http://schemas.microsoft.com/office/drawing/2014/main" id="{FA1064CA-164F-B840-CE16-A268B76D57C1}"/>
                </a:ext>
              </a:extLst>
            </p:cNvPr>
            <p:cNvSpPr/>
            <p:nvPr/>
          </p:nvSpPr>
          <p:spPr>
            <a:xfrm>
              <a:off x="2109922" y="3079795"/>
              <a:ext cx="38408" cy="38338"/>
            </a:xfrm>
            <a:custGeom>
              <a:avLst/>
              <a:gdLst>
                <a:gd name="connsiteX0" fmla="*/ 19204 w 38408"/>
                <a:gd name="connsiteY0" fmla="*/ 0 h 38338"/>
                <a:gd name="connsiteX1" fmla="*/ 18565 w 38408"/>
                <a:gd name="connsiteY1" fmla="*/ 0 h 38338"/>
                <a:gd name="connsiteX2" fmla="*/ 35 w 38408"/>
                <a:gd name="connsiteY2" fmla="*/ 19790 h 38338"/>
                <a:gd name="connsiteX3" fmla="*/ 19843 w 38408"/>
                <a:gd name="connsiteY3" fmla="*/ 38304 h 38338"/>
                <a:gd name="connsiteX4" fmla="*/ 38374 w 38408"/>
                <a:gd name="connsiteY4" fmla="*/ 18514 h 38338"/>
                <a:gd name="connsiteX5" fmla="*/ 19204 w 38408"/>
                <a:gd name="connsiteY5" fmla="*/ 0 h 3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08" h="38338">
                  <a:moveTo>
                    <a:pt x="19204" y="0"/>
                  </a:moveTo>
                  <a:lnTo>
                    <a:pt x="18565" y="0"/>
                  </a:lnTo>
                  <a:cubicBezTo>
                    <a:pt x="7702" y="0"/>
                    <a:pt x="-604" y="8938"/>
                    <a:pt x="35" y="19790"/>
                  </a:cubicBezTo>
                  <a:cubicBezTo>
                    <a:pt x="673" y="30643"/>
                    <a:pt x="8980" y="38942"/>
                    <a:pt x="19843" y="38304"/>
                  </a:cubicBezTo>
                  <a:cubicBezTo>
                    <a:pt x="30706" y="38304"/>
                    <a:pt x="39013" y="29366"/>
                    <a:pt x="38374" y="18514"/>
                  </a:cubicBezTo>
                  <a:cubicBezTo>
                    <a:pt x="37735" y="8299"/>
                    <a:pt x="30067" y="638"/>
                    <a:pt x="19204" y="0"/>
                  </a:cubicBezTo>
                  <a:close/>
                </a:path>
              </a:pathLst>
            </a:custGeom>
            <a:grpFill/>
            <a:ln w="6390" cap="flat">
              <a:noFill/>
              <a:prstDash val="solid"/>
              <a:miter/>
            </a:ln>
          </p:spPr>
          <p:txBody>
            <a:bodyPr rtlCol="0" anchor="ctr"/>
            <a:lstStyle/>
            <a:p>
              <a:endParaRPr lang="en-US"/>
            </a:p>
          </p:txBody>
        </p:sp>
        <p:sp>
          <p:nvSpPr>
            <p:cNvPr id="96" name="Graphic 4">
              <a:extLst>
                <a:ext uri="{FF2B5EF4-FFF2-40B4-BE49-F238E27FC236}">
                  <a16:creationId xmlns:a16="http://schemas.microsoft.com/office/drawing/2014/main" id="{C1103E55-AC4E-4829-B90F-841620F1F5C1}"/>
                </a:ext>
              </a:extLst>
            </p:cNvPr>
            <p:cNvSpPr/>
            <p:nvPr/>
          </p:nvSpPr>
          <p:spPr>
            <a:xfrm>
              <a:off x="2024331" y="2932325"/>
              <a:ext cx="109267" cy="110442"/>
            </a:xfrm>
            <a:custGeom>
              <a:avLst/>
              <a:gdLst>
                <a:gd name="connsiteX0" fmla="*/ 65177 w 109267"/>
                <a:gd name="connsiteY0" fmla="*/ 97675 h 110442"/>
                <a:gd name="connsiteX1" fmla="*/ 76679 w 109267"/>
                <a:gd name="connsiteY1" fmla="*/ 93206 h 110442"/>
                <a:gd name="connsiteX2" fmla="*/ 82430 w 109267"/>
                <a:gd name="connsiteY2" fmla="*/ 93206 h 110442"/>
                <a:gd name="connsiteX3" fmla="*/ 88820 w 109267"/>
                <a:gd name="connsiteY3" fmla="*/ 97036 h 110442"/>
                <a:gd name="connsiteX4" fmla="*/ 93932 w 109267"/>
                <a:gd name="connsiteY4" fmla="*/ 92568 h 110442"/>
                <a:gd name="connsiteX5" fmla="*/ 90737 w 109267"/>
                <a:gd name="connsiteY5" fmla="*/ 85545 h 110442"/>
                <a:gd name="connsiteX6" fmla="*/ 90737 w 109267"/>
                <a:gd name="connsiteY6" fmla="*/ 79800 h 110442"/>
                <a:gd name="connsiteX7" fmla="*/ 96488 w 109267"/>
                <a:gd name="connsiteY7" fmla="*/ 68947 h 110442"/>
                <a:gd name="connsiteX8" fmla="*/ 100961 w 109267"/>
                <a:gd name="connsiteY8" fmla="*/ 65755 h 110442"/>
                <a:gd name="connsiteX9" fmla="*/ 108629 w 109267"/>
                <a:gd name="connsiteY9" fmla="*/ 64478 h 110442"/>
                <a:gd name="connsiteX10" fmla="*/ 109268 w 109267"/>
                <a:gd name="connsiteY10" fmla="*/ 57456 h 110442"/>
                <a:gd name="connsiteX11" fmla="*/ 102878 w 109267"/>
                <a:gd name="connsiteY11" fmla="*/ 54264 h 110442"/>
                <a:gd name="connsiteX12" fmla="*/ 99683 w 109267"/>
                <a:gd name="connsiteY12" fmla="*/ 49795 h 110442"/>
                <a:gd name="connsiteX13" fmla="*/ 97766 w 109267"/>
                <a:gd name="connsiteY13" fmla="*/ 38304 h 110442"/>
                <a:gd name="connsiteX14" fmla="*/ 99044 w 109267"/>
                <a:gd name="connsiteY14" fmla="*/ 33197 h 110442"/>
                <a:gd name="connsiteX15" fmla="*/ 104156 w 109267"/>
                <a:gd name="connsiteY15" fmla="*/ 27451 h 110442"/>
                <a:gd name="connsiteX16" fmla="*/ 100322 w 109267"/>
                <a:gd name="connsiteY16" fmla="*/ 21706 h 110442"/>
                <a:gd name="connsiteX17" fmla="*/ 92654 w 109267"/>
                <a:gd name="connsiteY17" fmla="*/ 23621 h 110442"/>
                <a:gd name="connsiteX18" fmla="*/ 87542 w 109267"/>
                <a:gd name="connsiteY18" fmla="*/ 22344 h 110442"/>
                <a:gd name="connsiteX19" fmla="*/ 77957 w 109267"/>
                <a:gd name="connsiteY19" fmla="*/ 14683 h 110442"/>
                <a:gd name="connsiteX20" fmla="*/ 75401 w 109267"/>
                <a:gd name="connsiteY20" fmla="*/ 9576 h 110442"/>
                <a:gd name="connsiteX21" fmla="*/ 75401 w 109267"/>
                <a:gd name="connsiteY21" fmla="*/ 1915 h 110442"/>
                <a:gd name="connsiteX22" fmla="*/ 69011 w 109267"/>
                <a:gd name="connsiteY22" fmla="*/ 0 h 110442"/>
                <a:gd name="connsiteX23" fmla="*/ 64538 w 109267"/>
                <a:gd name="connsiteY23" fmla="*/ 5746 h 110442"/>
                <a:gd name="connsiteX24" fmla="*/ 59427 w 109267"/>
                <a:gd name="connsiteY24" fmla="*/ 8299 h 110442"/>
                <a:gd name="connsiteX25" fmla="*/ 47286 w 109267"/>
                <a:gd name="connsiteY25" fmla="*/ 8938 h 110442"/>
                <a:gd name="connsiteX26" fmla="*/ 42174 w 109267"/>
                <a:gd name="connsiteY26" fmla="*/ 7022 h 110442"/>
                <a:gd name="connsiteX27" fmla="*/ 37062 w 109267"/>
                <a:gd name="connsiteY27" fmla="*/ 1277 h 110442"/>
                <a:gd name="connsiteX28" fmla="*/ 30672 w 109267"/>
                <a:gd name="connsiteY28" fmla="*/ 3830 h 110442"/>
                <a:gd name="connsiteX29" fmla="*/ 31311 w 109267"/>
                <a:gd name="connsiteY29" fmla="*/ 11491 h 110442"/>
                <a:gd name="connsiteX30" fmla="*/ 29394 w 109267"/>
                <a:gd name="connsiteY30" fmla="*/ 16598 h 110442"/>
                <a:gd name="connsiteX31" fmla="*/ 20448 w 109267"/>
                <a:gd name="connsiteY31" fmla="*/ 24897 h 110442"/>
                <a:gd name="connsiteX32" fmla="*/ 15336 w 109267"/>
                <a:gd name="connsiteY32" fmla="*/ 26174 h 110442"/>
                <a:gd name="connsiteX33" fmla="*/ 7668 w 109267"/>
                <a:gd name="connsiteY33" fmla="*/ 24897 h 110442"/>
                <a:gd name="connsiteX34" fmla="*/ 4473 w 109267"/>
                <a:gd name="connsiteY34" fmla="*/ 31281 h 110442"/>
                <a:gd name="connsiteX35" fmla="*/ 9585 w 109267"/>
                <a:gd name="connsiteY35" fmla="*/ 37027 h 110442"/>
                <a:gd name="connsiteX36" fmla="*/ 11502 w 109267"/>
                <a:gd name="connsiteY36" fmla="*/ 42134 h 110442"/>
                <a:gd name="connsiteX37" fmla="*/ 9585 w 109267"/>
                <a:gd name="connsiteY37" fmla="*/ 54264 h 110442"/>
                <a:gd name="connsiteX38" fmla="*/ 6390 w 109267"/>
                <a:gd name="connsiteY38" fmla="*/ 58733 h 110442"/>
                <a:gd name="connsiteX39" fmla="*/ 0 w 109267"/>
                <a:gd name="connsiteY39" fmla="*/ 62563 h 110442"/>
                <a:gd name="connsiteX40" fmla="*/ 1278 w 109267"/>
                <a:gd name="connsiteY40" fmla="*/ 69585 h 110442"/>
                <a:gd name="connsiteX41" fmla="*/ 8946 w 109267"/>
                <a:gd name="connsiteY41" fmla="*/ 70224 h 110442"/>
                <a:gd name="connsiteX42" fmla="*/ 13419 w 109267"/>
                <a:gd name="connsiteY42" fmla="*/ 73416 h 110442"/>
                <a:gd name="connsiteX43" fmla="*/ 19809 w 109267"/>
                <a:gd name="connsiteY43" fmla="*/ 83630 h 110442"/>
                <a:gd name="connsiteX44" fmla="*/ 20448 w 109267"/>
                <a:gd name="connsiteY44" fmla="*/ 89376 h 110442"/>
                <a:gd name="connsiteX45" fmla="*/ 17892 w 109267"/>
                <a:gd name="connsiteY45" fmla="*/ 96398 h 110442"/>
                <a:gd name="connsiteX46" fmla="*/ 23643 w 109267"/>
                <a:gd name="connsiteY46" fmla="*/ 100867 h 110442"/>
                <a:gd name="connsiteX47" fmla="*/ 30033 w 109267"/>
                <a:gd name="connsiteY47" fmla="*/ 97036 h 110442"/>
                <a:gd name="connsiteX48" fmla="*/ 33228 w 109267"/>
                <a:gd name="connsiteY48" fmla="*/ 95760 h 110442"/>
                <a:gd name="connsiteX49" fmla="*/ 35145 w 109267"/>
                <a:gd name="connsiteY49" fmla="*/ 95760 h 110442"/>
                <a:gd name="connsiteX50" fmla="*/ 46647 w 109267"/>
                <a:gd name="connsiteY50" fmla="*/ 99590 h 110442"/>
                <a:gd name="connsiteX51" fmla="*/ 50481 w 109267"/>
                <a:gd name="connsiteY51" fmla="*/ 103420 h 110442"/>
                <a:gd name="connsiteX52" fmla="*/ 53037 w 109267"/>
                <a:gd name="connsiteY52" fmla="*/ 110443 h 110442"/>
                <a:gd name="connsiteX53" fmla="*/ 60066 w 109267"/>
                <a:gd name="connsiteY53" fmla="*/ 110443 h 110442"/>
                <a:gd name="connsiteX54" fmla="*/ 62622 w 109267"/>
                <a:gd name="connsiteY54" fmla="*/ 103420 h 110442"/>
                <a:gd name="connsiteX55" fmla="*/ 65177 w 109267"/>
                <a:gd name="connsiteY55" fmla="*/ 97675 h 110442"/>
                <a:gd name="connsiteX56" fmla="*/ 54314 w 109267"/>
                <a:gd name="connsiteY56" fmla="*/ 97036 h 110442"/>
                <a:gd name="connsiteX57" fmla="*/ 47925 w 109267"/>
                <a:gd name="connsiteY57" fmla="*/ 96398 h 110442"/>
                <a:gd name="connsiteX58" fmla="*/ 12141 w 109267"/>
                <a:gd name="connsiteY58" fmla="*/ 47241 h 110442"/>
                <a:gd name="connsiteX59" fmla="*/ 61343 w 109267"/>
                <a:gd name="connsiteY59" fmla="*/ 11491 h 110442"/>
                <a:gd name="connsiteX60" fmla="*/ 88820 w 109267"/>
                <a:gd name="connsiteY60" fmla="*/ 28089 h 110442"/>
                <a:gd name="connsiteX61" fmla="*/ 79874 w 109267"/>
                <a:gd name="connsiteY61" fmla="*/ 88737 h 110442"/>
                <a:gd name="connsiteX62" fmla="*/ 79874 w 109267"/>
                <a:gd name="connsiteY62" fmla="*/ 88737 h 110442"/>
                <a:gd name="connsiteX63" fmla="*/ 54314 w 109267"/>
                <a:gd name="connsiteY63" fmla="*/ 97036 h 110442"/>
                <a:gd name="connsiteX64" fmla="*/ 54314 w 109267"/>
                <a:gd name="connsiteY64" fmla="*/ 97036 h 11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9267" h="110442">
                  <a:moveTo>
                    <a:pt x="65177" y="97675"/>
                  </a:moveTo>
                  <a:lnTo>
                    <a:pt x="76679" y="93206"/>
                  </a:lnTo>
                  <a:cubicBezTo>
                    <a:pt x="78596" y="92568"/>
                    <a:pt x="80513" y="92568"/>
                    <a:pt x="82430" y="93206"/>
                  </a:cubicBezTo>
                  <a:lnTo>
                    <a:pt x="88820" y="97036"/>
                  </a:lnTo>
                  <a:lnTo>
                    <a:pt x="93932" y="92568"/>
                  </a:lnTo>
                  <a:lnTo>
                    <a:pt x="90737" y="85545"/>
                  </a:lnTo>
                  <a:cubicBezTo>
                    <a:pt x="90098" y="83630"/>
                    <a:pt x="90098" y="81715"/>
                    <a:pt x="90737" y="79800"/>
                  </a:cubicBezTo>
                  <a:lnTo>
                    <a:pt x="96488" y="68947"/>
                  </a:lnTo>
                  <a:cubicBezTo>
                    <a:pt x="97127" y="67032"/>
                    <a:pt x="99044" y="65755"/>
                    <a:pt x="100961" y="65755"/>
                  </a:cubicBezTo>
                  <a:lnTo>
                    <a:pt x="108629" y="64478"/>
                  </a:lnTo>
                  <a:lnTo>
                    <a:pt x="109268" y="57456"/>
                  </a:lnTo>
                  <a:lnTo>
                    <a:pt x="102878" y="54264"/>
                  </a:lnTo>
                  <a:cubicBezTo>
                    <a:pt x="100961" y="53625"/>
                    <a:pt x="99683" y="51710"/>
                    <a:pt x="99683" y="49795"/>
                  </a:cubicBezTo>
                  <a:lnTo>
                    <a:pt x="97766" y="38304"/>
                  </a:lnTo>
                  <a:cubicBezTo>
                    <a:pt x="97127" y="36389"/>
                    <a:pt x="97766" y="34473"/>
                    <a:pt x="99044" y="33197"/>
                  </a:cubicBezTo>
                  <a:lnTo>
                    <a:pt x="104156" y="27451"/>
                  </a:lnTo>
                  <a:lnTo>
                    <a:pt x="100322" y="21706"/>
                  </a:lnTo>
                  <a:lnTo>
                    <a:pt x="92654" y="23621"/>
                  </a:lnTo>
                  <a:cubicBezTo>
                    <a:pt x="90737" y="24259"/>
                    <a:pt x="88820" y="23621"/>
                    <a:pt x="87542" y="22344"/>
                  </a:cubicBezTo>
                  <a:lnTo>
                    <a:pt x="77957" y="14683"/>
                  </a:lnTo>
                  <a:cubicBezTo>
                    <a:pt x="76679" y="13406"/>
                    <a:pt x="75401" y="11491"/>
                    <a:pt x="75401" y="9576"/>
                  </a:cubicBezTo>
                  <a:lnTo>
                    <a:pt x="75401" y="1915"/>
                  </a:lnTo>
                  <a:lnTo>
                    <a:pt x="69011" y="0"/>
                  </a:lnTo>
                  <a:lnTo>
                    <a:pt x="64538" y="5746"/>
                  </a:lnTo>
                  <a:cubicBezTo>
                    <a:pt x="63261" y="7022"/>
                    <a:pt x="61343" y="8299"/>
                    <a:pt x="59427" y="8299"/>
                  </a:cubicBezTo>
                  <a:lnTo>
                    <a:pt x="47286" y="8938"/>
                  </a:lnTo>
                  <a:cubicBezTo>
                    <a:pt x="45369" y="8938"/>
                    <a:pt x="43452" y="8299"/>
                    <a:pt x="42174" y="7022"/>
                  </a:cubicBezTo>
                  <a:lnTo>
                    <a:pt x="37062" y="1277"/>
                  </a:lnTo>
                  <a:lnTo>
                    <a:pt x="30672" y="3830"/>
                  </a:lnTo>
                  <a:lnTo>
                    <a:pt x="31311" y="11491"/>
                  </a:lnTo>
                  <a:cubicBezTo>
                    <a:pt x="31311" y="13406"/>
                    <a:pt x="30672" y="15322"/>
                    <a:pt x="29394" y="16598"/>
                  </a:cubicBezTo>
                  <a:lnTo>
                    <a:pt x="20448" y="24897"/>
                  </a:lnTo>
                  <a:cubicBezTo>
                    <a:pt x="19170" y="26174"/>
                    <a:pt x="17253" y="26813"/>
                    <a:pt x="15336" y="26174"/>
                  </a:cubicBezTo>
                  <a:lnTo>
                    <a:pt x="7668" y="24897"/>
                  </a:lnTo>
                  <a:lnTo>
                    <a:pt x="4473" y="31281"/>
                  </a:lnTo>
                  <a:lnTo>
                    <a:pt x="9585" y="37027"/>
                  </a:lnTo>
                  <a:cubicBezTo>
                    <a:pt x="10863" y="38304"/>
                    <a:pt x="11502" y="40219"/>
                    <a:pt x="11502" y="42134"/>
                  </a:cubicBezTo>
                  <a:lnTo>
                    <a:pt x="9585" y="54264"/>
                  </a:lnTo>
                  <a:cubicBezTo>
                    <a:pt x="9585" y="56179"/>
                    <a:pt x="8307" y="58094"/>
                    <a:pt x="6390" y="58733"/>
                  </a:cubicBezTo>
                  <a:lnTo>
                    <a:pt x="0" y="62563"/>
                  </a:lnTo>
                  <a:lnTo>
                    <a:pt x="1278" y="69585"/>
                  </a:lnTo>
                  <a:lnTo>
                    <a:pt x="8946" y="70224"/>
                  </a:lnTo>
                  <a:cubicBezTo>
                    <a:pt x="10863" y="70224"/>
                    <a:pt x="12780" y="71500"/>
                    <a:pt x="13419" y="73416"/>
                  </a:cubicBezTo>
                  <a:lnTo>
                    <a:pt x="19809" y="83630"/>
                  </a:lnTo>
                  <a:cubicBezTo>
                    <a:pt x="21087" y="85545"/>
                    <a:pt x="21087" y="87460"/>
                    <a:pt x="20448" y="89376"/>
                  </a:cubicBezTo>
                  <a:lnTo>
                    <a:pt x="17892" y="96398"/>
                  </a:lnTo>
                  <a:lnTo>
                    <a:pt x="23643" y="100867"/>
                  </a:lnTo>
                  <a:lnTo>
                    <a:pt x="30033" y="97036"/>
                  </a:lnTo>
                  <a:cubicBezTo>
                    <a:pt x="31311" y="96398"/>
                    <a:pt x="31950" y="95760"/>
                    <a:pt x="33228" y="95760"/>
                  </a:cubicBezTo>
                  <a:cubicBezTo>
                    <a:pt x="33867" y="95760"/>
                    <a:pt x="34506" y="95760"/>
                    <a:pt x="35145" y="95760"/>
                  </a:cubicBezTo>
                  <a:lnTo>
                    <a:pt x="46647" y="99590"/>
                  </a:lnTo>
                  <a:cubicBezTo>
                    <a:pt x="48564" y="100228"/>
                    <a:pt x="49842" y="101505"/>
                    <a:pt x="50481" y="103420"/>
                  </a:cubicBezTo>
                  <a:lnTo>
                    <a:pt x="53037" y="110443"/>
                  </a:lnTo>
                  <a:lnTo>
                    <a:pt x="60066" y="110443"/>
                  </a:lnTo>
                  <a:lnTo>
                    <a:pt x="62622" y="103420"/>
                  </a:lnTo>
                  <a:cubicBezTo>
                    <a:pt x="62622" y="100228"/>
                    <a:pt x="63899" y="98952"/>
                    <a:pt x="65177" y="97675"/>
                  </a:cubicBezTo>
                  <a:close/>
                  <a:moveTo>
                    <a:pt x="54314" y="97036"/>
                  </a:moveTo>
                  <a:cubicBezTo>
                    <a:pt x="52398" y="97036"/>
                    <a:pt x="49842" y="97036"/>
                    <a:pt x="47925" y="96398"/>
                  </a:cubicBezTo>
                  <a:cubicBezTo>
                    <a:pt x="24282" y="92568"/>
                    <a:pt x="8307" y="70224"/>
                    <a:pt x="12141" y="47241"/>
                  </a:cubicBezTo>
                  <a:cubicBezTo>
                    <a:pt x="15975" y="23621"/>
                    <a:pt x="38340" y="7661"/>
                    <a:pt x="61343" y="11491"/>
                  </a:cubicBezTo>
                  <a:cubicBezTo>
                    <a:pt x="72206" y="13406"/>
                    <a:pt x="82430" y="19152"/>
                    <a:pt x="88820" y="28089"/>
                  </a:cubicBezTo>
                  <a:cubicBezTo>
                    <a:pt x="102878" y="47241"/>
                    <a:pt x="99044" y="74054"/>
                    <a:pt x="79874" y="88737"/>
                  </a:cubicBezTo>
                  <a:cubicBezTo>
                    <a:pt x="79874" y="88737"/>
                    <a:pt x="79874" y="88737"/>
                    <a:pt x="79874" y="88737"/>
                  </a:cubicBezTo>
                  <a:cubicBezTo>
                    <a:pt x="72845" y="93844"/>
                    <a:pt x="63899" y="97036"/>
                    <a:pt x="54314" y="97036"/>
                  </a:cubicBezTo>
                  <a:lnTo>
                    <a:pt x="54314" y="97036"/>
                  </a:lnTo>
                  <a:close/>
                </a:path>
              </a:pathLst>
            </a:custGeom>
            <a:grpFill/>
            <a:ln w="6390" cap="flat">
              <a:noFill/>
              <a:prstDash val="solid"/>
              <a:miter/>
            </a:ln>
          </p:spPr>
          <p:txBody>
            <a:bodyPr rtlCol="0" anchor="ctr"/>
            <a:lstStyle/>
            <a:p>
              <a:endParaRPr lang="en-US"/>
            </a:p>
          </p:txBody>
        </p:sp>
        <p:sp>
          <p:nvSpPr>
            <p:cNvPr id="97" name="Graphic 4">
              <a:extLst>
                <a:ext uri="{FF2B5EF4-FFF2-40B4-BE49-F238E27FC236}">
                  <a16:creationId xmlns:a16="http://schemas.microsoft.com/office/drawing/2014/main" id="{C41E7118-F33B-53CB-1052-AF65275D893C}"/>
                </a:ext>
              </a:extLst>
            </p:cNvPr>
            <p:cNvSpPr/>
            <p:nvPr/>
          </p:nvSpPr>
          <p:spPr>
            <a:xfrm>
              <a:off x="2089509" y="3058728"/>
              <a:ext cx="82430" cy="82353"/>
            </a:xfrm>
            <a:custGeom>
              <a:avLst/>
              <a:gdLst>
                <a:gd name="connsiteX0" fmla="*/ 76679 w 82430"/>
                <a:gd name="connsiteY0" fmla="*/ 37027 h 82353"/>
                <a:gd name="connsiteX1" fmla="*/ 72845 w 82430"/>
                <a:gd name="connsiteY1" fmla="*/ 33197 h 82353"/>
                <a:gd name="connsiteX2" fmla="*/ 69011 w 82430"/>
                <a:gd name="connsiteY2" fmla="*/ 24897 h 82353"/>
                <a:gd name="connsiteX3" fmla="*/ 69011 w 82430"/>
                <a:gd name="connsiteY3" fmla="*/ 19152 h 82353"/>
                <a:gd name="connsiteX4" fmla="*/ 71567 w 82430"/>
                <a:gd name="connsiteY4" fmla="*/ 14683 h 82353"/>
                <a:gd name="connsiteX5" fmla="*/ 69011 w 82430"/>
                <a:gd name="connsiteY5" fmla="*/ 12130 h 82353"/>
                <a:gd name="connsiteX6" fmla="*/ 64538 w 82430"/>
                <a:gd name="connsiteY6" fmla="*/ 14045 h 82353"/>
                <a:gd name="connsiteX7" fmla="*/ 58788 w 82430"/>
                <a:gd name="connsiteY7" fmla="*/ 14045 h 82353"/>
                <a:gd name="connsiteX8" fmla="*/ 51119 w 82430"/>
                <a:gd name="connsiteY8" fmla="*/ 9576 h 82353"/>
                <a:gd name="connsiteX9" fmla="*/ 47925 w 82430"/>
                <a:gd name="connsiteY9" fmla="*/ 5107 h 82353"/>
                <a:gd name="connsiteX10" fmla="*/ 47285 w 82430"/>
                <a:gd name="connsiteY10" fmla="*/ 638 h 82353"/>
                <a:gd name="connsiteX11" fmla="*/ 44091 w 82430"/>
                <a:gd name="connsiteY11" fmla="*/ 0 h 82353"/>
                <a:gd name="connsiteX12" fmla="*/ 42174 w 82430"/>
                <a:gd name="connsiteY12" fmla="*/ 4469 h 82353"/>
                <a:gd name="connsiteX13" fmla="*/ 37701 w 82430"/>
                <a:gd name="connsiteY13" fmla="*/ 7661 h 82353"/>
                <a:gd name="connsiteX14" fmla="*/ 28755 w 82430"/>
                <a:gd name="connsiteY14" fmla="*/ 9576 h 82353"/>
                <a:gd name="connsiteX15" fmla="*/ 23643 w 82430"/>
                <a:gd name="connsiteY15" fmla="*/ 8299 h 82353"/>
                <a:gd name="connsiteX16" fmla="*/ 19809 w 82430"/>
                <a:gd name="connsiteY16" fmla="*/ 5107 h 82353"/>
                <a:gd name="connsiteX17" fmla="*/ 17253 w 82430"/>
                <a:gd name="connsiteY17" fmla="*/ 7022 h 82353"/>
                <a:gd name="connsiteX18" fmla="*/ 18531 w 82430"/>
                <a:gd name="connsiteY18" fmla="*/ 11491 h 82353"/>
                <a:gd name="connsiteX19" fmla="*/ 17253 w 82430"/>
                <a:gd name="connsiteY19" fmla="*/ 17237 h 82353"/>
                <a:gd name="connsiteX20" fmla="*/ 11502 w 82430"/>
                <a:gd name="connsiteY20" fmla="*/ 24259 h 82353"/>
                <a:gd name="connsiteX21" fmla="*/ 6390 w 82430"/>
                <a:gd name="connsiteY21" fmla="*/ 26813 h 82353"/>
                <a:gd name="connsiteX22" fmla="*/ 1278 w 82430"/>
                <a:gd name="connsiteY22" fmla="*/ 26813 h 82353"/>
                <a:gd name="connsiteX23" fmla="*/ 0 w 82430"/>
                <a:gd name="connsiteY23" fmla="*/ 30005 h 82353"/>
                <a:gd name="connsiteX24" fmla="*/ 3834 w 82430"/>
                <a:gd name="connsiteY24" fmla="*/ 32558 h 82353"/>
                <a:gd name="connsiteX25" fmla="*/ 6390 w 82430"/>
                <a:gd name="connsiteY25" fmla="*/ 37665 h 82353"/>
                <a:gd name="connsiteX26" fmla="*/ 7029 w 82430"/>
                <a:gd name="connsiteY26" fmla="*/ 47241 h 82353"/>
                <a:gd name="connsiteX27" fmla="*/ 5112 w 82430"/>
                <a:gd name="connsiteY27" fmla="*/ 52349 h 82353"/>
                <a:gd name="connsiteX28" fmla="*/ 1278 w 82430"/>
                <a:gd name="connsiteY28" fmla="*/ 55541 h 82353"/>
                <a:gd name="connsiteX29" fmla="*/ 2556 w 82430"/>
                <a:gd name="connsiteY29" fmla="*/ 58733 h 82353"/>
                <a:gd name="connsiteX30" fmla="*/ 7668 w 82430"/>
                <a:gd name="connsiteY30" fmla="*/ 58733 h 82353"/>
                <a:gd name="connsiteX31" fmla="*/ 12780 w 82430"/>
                <a:gd name="connsiteY31" fmla="*/ 60648 h 82353"/>
                <a:gd name="connsiteX32" fmla="*/ 19170 w 82430"/>
                <a:gd name="connsiteY32" fmla="*/ 67670 h 82353"/>
                <a:gd name="connsiteX33" fmla="*/ 20448 w 82430"/>
                <a:gd name="connsiteY33" fmla="*/ 72777 h 82353"/>
                <a:gd name="connsiteX34" fmla="*/ 19809 w 82430"/>
                <a:gd name="connsiteY34" fmla="*/ 77885 h 82353"/>
                <a:gd name="connsiteX35" fmla="*/ 23004 w 82430"/>
                <a:gd name="connsiteY35" fmla="*/ 79161 h 82353"/>
                <a:gd name="connsiteX36" fmla="*/ 26199 w 82430"/>
                <a:gd name="connsiteY36" fmla="*/ 75969 h 82353"/>
                <a:gd name="connsiteX37" fmla="*/ 30672 w 82430"/>
                <a:gd name="connsiteY37" fmla="*/ 74054 h 82353"/>
                <a:gd name="connsiteX38" fmla="*/ 31311 w 82430"/>
                <a:gd name="connsiteY38" fmla="*/ 74054 h 82353"/>
                <a:gd name="connsiteX39" fmla="*/ 40896 w 82430"/>
                <a:gd name="connsiteY39" fmla="*/ 75331 h 82353"/>
                <a:gd name="connsiteX40" fmla="*/ 45369 w 82430"/>
                <a:gd name="connsiteY40" fmla="*/ 78523 h 82353"/>
                <a:gd name="connsiteX41" fmla="*/ 47925 w 82430"/>
                <a:gd name="connsiteY41" fmla="*/ 82353 h 82353"/>
                <a:gd name="connsiteX42" fmla="*/ 51119 w 82430"/>
                <a:gd name="connsiteY42" fmla="*/ 81715 h 82353"/>
                <a:gd name="connsiteX43" fmla="*/ 51759 w 82430"/>
                <a:gd name="connsiteY43" fmla="*/ 76608 h 82353"/>
                <a:gd name="connsiteX44" fmla="*/ 54954 w 82430"/>
                <a:gd name="connsiteY44" fmla="*/ 72139 h 82353"/>
                <a:gd name="connsiteX45" fmla="*/ 62621 w 82430"/>
                <a:gd name="connsiteY45" fmla="*/ 67032 h 82353"/>
                <a:gd name="connsiteX46" fmla="*/ 68372 w 82430"/>
                <a:gd name="connsiteY46" fmla="*/ 66393 h 82353"/>
                <a:gd name="connsiteX47" fmla="*/ 72845 w 82430"/>
                <a:gd name="connsiteY47" fmla="*/ 67670 h 82353"/>
                <a:gd name="connsiteX48" fmla="*/ 74762 w 82430"/>
                <a:gd name="connsiteY48" fmla="*/ 65117 h 82353"/>
                <a:gd name="connsiteX49" fmla="*/ 72206 w 82430"/>
                <a:gd name="connsiteY49" fmla="*/ 61286 h 82353"/>
                <a:gd name="connsiteX50" fmla="*/ 71567 w 82430"/>
                <a:gd name="connsiteY50" fmla="*/ 55541 h 82353"/>
                <a:gd name="connsiteX51" fmla="*/ 74123 w 82430"/>
                <a:gd name="connsiteY51" fmla="*/ 46603 h 82353"/>
                <a:gd name="connsiteX52" fmla="*/ 77957 w 82430"/>
                <a:gd name="connsiteY52" fmla="*/ 42773 h 82353"/>
                <a:gd name="connsiteX53" fmla="*/ 82430 w 82430"/>
                <a:gd name="connsiteY53" fmla="*/ 40857 h 82353"/>
                <a:gd name="connsiteX54" fmla="*/ 82430 w 82430"/>
                <a:gd name="connsiteY54" fmla="*/ 37665 h 82353"/>
                <a:gd name="connsiteX55" fmla="*/ 76679 w 82430"/>
                <a:gd name="connsiteY55" fmla="*/ 37027 h 82353"/>
                <a:gd name="connsiteX56" fmla="*/ 41535 w 82430"/>
                <a:gd name="connsiteY56" fmla="*/ 74693 h 82353"/>
                <a:gd name="connsiteX57" fmla="*/ 40257 w 82430"/>
                <a:gd name="connsiteY57" fmla="*/ 74693 h 82353"/>
                <a:gd name="connsiteX58" fmla="*/ 7668 w 82430"/>
                <a:gd name="connsiteY58" fmla="*/ 40857 h 82353"/>
                <a:gd name="connsiteX59" fmla="*/ 38979 w 82430"/>
                <a:gd name="connsiteY59" fmla="*/ 8299 h 82353"/>
                <a:gd name="connsiteX60" fmla="*/ 73484 w 82430"/>
                <a:gd name="connsiteY60" fmla="*/ 40219 h 82353"/>
                <a:gd name="connsiteX61" fmla="*/ 41535 w 82430"/>
                <a:gd name="connsiteY61" fmla="*/ 74693 h 82353"/>
                <a:gd name="connsiteX62" fmla="*/ 41535 w 82430"/>
                <a:gd name="connsiteY62" fmla="*/ 74693 h 8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430" h="82353">
                  <a:moveTo>
                    <a:pt x="76679" y="37027"/>
                  </a:moveTo>
                  <a:cubicBezTo>
                    <a:pt x="74762" y="36389"/>
                    <a:pt x="73484" y="35112"/>
                    <a:pt x="72845" y="33197"/>
                  </a:cubicBezTo>
                  <a:lnTo>
                    <a:pt x="69011" y="24897"/>
                  </a:lnTo>
                  <a:cubicBezTo>
                    <a:pt x="68372" y="22982"/>
                    <a:pt x="68372" y="21067"/>
                    <a:pt x="69011" y="19152"/>
                  </a:cubicBezTo>
                  <a:lnTo>
                    <a:pt x="71567" y="14683"/>
                  </a:lnTo>
                  <a:lnTo>
                    <a:pt x="69011" y="12130"/>
                  </a:lnTo>
                  <a:lnTo>
                    <a:pt x="64538" y="14045"/>
                  </a:lnTo>
                  <a:cubicBezTo>
                    <a:pt x="62621" y="14683"/>
                    <a:pt x="60704" y="14683"/>
                    <a:pt x="58788" y="14045"/>
                  </a:cubicBezTo>
                  <a:lnTo>
                    <a:pt x="51119" y="9576"/>
                  </a:lnTo>
                  <a:cubicBezTo>
                    <a:pt x="49203" y="8938"/>
                    <a:pt x="47925" y="7022"/>
                    <a:pt x="47925" y="5107"/>
                  </a:cubicBezTo>
                  <a:lnTo>
                    <a:pt x="47285" y="638"/>
                  </a:lnTo>
                  <a:lnTo>
                    <a:pt x="44091" y="0"/>
                  </a:lnTo>
                  <a:lnTo>
                    <a:pt x="42174" y="4469"/>
                  </a:lnTo>
                  <a:cubicBezTo>
                    <a:pt x="41535" y="6384"/>
                    <a:pt x="39618" y="7661"/>
                    <a:pt x="37701" y="7661"/>
                  </a:cubicBezTo>
                  <a:lnTo>
                    <a:pt x="28755" y="9576"/>
                  </a:lnTo>
                  <a:cubicBezTo>
                    <a:pt x="26838" y="10214"/>
                    <a:pt x="24921" y="9576"/>
                    <a:pt x="23643" y="8299"/>
                  </a:cubicBezTo>
                  <a:lnTo>
                    <a:pt x="19809" y="5107"/>
                  </a:lnTo>
                  <a:lnTo>
                    <a:pt x="17253" y="7022"/>
                  </a:lnTo>
                  <a:lnTo>
                    <a:pt x="18531" y="11491"/>
                  </a:lnTo>
                  <a:cubicBezTo>
                    <a:pt x="19170" y="13406"/>
                    <a:pt x="18531" y="15322"/>
                    <a:pt x="17253" y="17237"/>
                  </a:cubicBezTo>
                  <a:lnTo>
                    <a:pt x="11502" y="24259"/>
                  </a:lnTo>
                  <a:cubicBezTo>
                    <a:pt x="10224" y="25536"/>
                    <a:pt x="8307" y="26813"/>
                    <a:pt x="6390" y="26813"/>
                  </a:cubicBezTo>
                  <a:lnTo>
                    <a:pt x="1278" y="26813"/>
                  </a:lnTo>
                  <a:lnTo>
                    <a:pt x="0" y="30005"/>
                  </a:lnTo>
                  <a:lnTo>
                    <a:pt x="3834" y="32558"/>
                  </a:lnTo>
                  <a:cubicBezTo>
                    <a:pt x="5112" y="33835"/>
                    <a:pt x="6390" y="35750"/>
                    <a:pt x="6390" y="37665"/>
                  </a:cubicBezTo>
                  <a:lnTo>
                    <a:pt x="7029" y="47241"/>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7"/>
                  </a:cubicBezTo>
                  <a:lnTo>
                    <a:pt x="19809" y="77885"/>
                  </a:lnTo>
                  <a:lnTo>
                    <a:pt x="23004" y="79161"/>
                  </a:lnTo>
                  <a:lnTo>
                    <a:pt x="26199" y="75969"/>
                  </a:lnTo>
                  <a:cubicBezTo>
                    <a:pt x="27477" y="74693"/>
                    <a:pt x="28755" y="74054"/>
                    <a:pt x="30672" y="74054"/>
                  </a:cubicBezTo>
                  <a:lnTo>
                    <a:pt x="31311" y="74054"/>
                  </a:lnTo>
                  <a:lnTo>
                    <a:pt x="40896" y="75331"/>
                  </a:lnTo>
                  <a:cubicBezTo>
                    <a:pt x="42813" y="75331"/>
                    <a:pt x="44730" y="76608"/>
                    <a:pt x="45369" y="78523"/>
                  </a:cubicBezTo>
                  <a:lnTo>
                    <a:pt x="47925" y="82353"/>
                  </a:lnTo>
                  <a:lnTo>
                    <a:pt x="51119" y="81715"/>
                  </a:lnTo>
                  <a:lnTo>
                    <a:pt x="51759" y="76608"/>
                  </a:lnTo>
                  <a:cubicBezTo>
                    <a:pt x="51759" y="74693"/>
                    <a:pt x="53036" y="72777"/>
                    <a:pt x="54954" y="72139"/>
                  </a:cubicBezTo>
                  <a:lnTo>
                    <a:pt x="62621" y="67032"/>
                  </a:lnTo>
                  <a:cubicBezTo>
                    <a:pt x="64538" y="65755"/>
                    <a:pt x="66455" y="65755"/>
                    <a:pt x="68372" y="66393"/>
                  </a:cubicBezTo>
                  <a:lnTo>
                    <a:pt x="72845" y="67670"/>
                  </a:lnTo>
                  <a:lnTo>
                    <a:pt x="74762" y="65117"/>
                  </a:lnTo>
                  <a:lnTo>
                    <a:pt x="72206" y="61286"/>
                  </a:lnTo>
                  <a:cubicBezTo>
                    <a:pt x="70928" y="59371"/>
                    <a:pt x="70928" y="57456"/>
                    <a:pt x="71567" y="55541"/>
                  </a:cubicBezTo>
                  <a:lnTo>
                    <a:pt x="74123" y="46603"/>
                  </a:lnTo>
                  <a:cubicBezTo>
                    <a:pt x="74762" y="44688"/>
                    <a:pt x="76040" y="43411"/>
                    <a:pt x="77957" y="42773"/>
                  </a:cubicBezTo>
                  <a:lnTo>
                    <a:pt x="82430" y="40857"/>
                  </a:lnTo>
                  <a:lnTo>
                    <a:pt x="82430" y="37665"/>
                  </a:lnTo>
                  <a:lnTo>
                    <a:pt x="76679" y="37027"/>
                  </a:lnTo>
                  <a:close/>
                  <a:moveTo>
                    <a:pt x="41535" y="74693"/>
                  </a:moveTo>
                  <a:lnTo>
                    <a:pt x="40257" y="74693"/>
                  </a:lnTo>
                  <a:cubicBezTo>
                    <a:pt x="21726" y="74054"/>
                    <a:pt x="7668" y="59371"/>
                    <a:pt x="7668" y="40857"/>
                  </a:cubicBezTo>
                  <a:cubicBezTo>
                    <a:pt x="8307" y="23621"/>
                    <a:pt x="21726" y="9576"/>
                    <a:pt x="38979" y="8299"/>
                  </a:cubicBezTo>
                  <a:cubicBezTo>
                    <a:pt x="57509" y="7661"/>
                    <a:pt x="72845" y="21706"/>
                    <a:pt x="73484" y="40219"/>
                  </a:cubicBezTo>
                  <a:cubicBezTo>
                    <a:pt x="73484" y="58094"/>
                    <a:pt x="59426" y="74054"/>
                    <a:pt x="41535" y="74693"/>
                  </a:cubicBezTo>
                  <a:lnTo>
                    <a:pt x="41535" y="74693"/>
                  </a:lnTo>
                  <a:close/>
                </a:path>
              </a:pathLst>
            </a:custGeom>
            <a:grpFill/>
            <a:ln w="6390" cap="flat">
              <a:noFill/>
              <a:prstDash val="solid"/>
              <a:miter/>
            </a:ln>
          </p:spPr>
          <p:txBody>
            <a:bodyPr rtlCol="0" anchor="ctr"/>
            <a:lstStyle/>
            <a:p>
              <a:endParaRPr lang="en-US"/>
            </a:p>
          </p:txBody>
        </p:sp>
        <p:sp>
          <p:nvSpPr>
            <p:cNvPr id="98" name="Graphic 4">
              <a:extLst>
                <a:ext uri="{FF2B5EF4-FFF2-40B4-BE49-F238E27FC236}">
                  <a16:creationId xmlns:a16="http://schemas.microsoft.com/office/drawing/2014/main" id="{F3D3E54E-D6F0-9C41-D083-79B22C682530}"/>
                </a:ext>
              </a:extLst>
            </p:cNvPr>
            <p:cNvSpPr/>
            <p:nvPr/>
          </p:nvSpPr>
          <p:spPr>
            <a:xfrm>
              <a:off x="1952125" y="2855717"/>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22048 w 362313"/>
                <a:gd name="connsiteY6" fmla="*/ 198542 h 361971"/>
                <a:gd name="connsiteX7" fmla="*/ 113741 w 362313"/>
                <a:gd name="connsiteY7" fmla="*/ 192796 h 361971"/>
                <a:gd name="connsiteX8" fmla="*/ 111185 w 362313"/>
                <a:gd name="connsiteY8" fmla="*/ 185774 h 361971"/>
                <a:gd name="connsiteX9" fmla="*/ 105434 w 362313"/>
                <a:gd name="connsiteY9" fmla="*/ 183859 h 361971"/>
                <a:gd name="connsiteX10" fmla="*/ 99044 w 362313"/>
                <a:gd name="connsiteY10" fmla="*/ 187689 h 361971"/>
                <a:gd name="connsiteX11" fmla="*/ 88820 w 362313"/>
                <a:gd name="connsiteY11" fmla="*/ 187051 h 361971"/>
                <a:gd name="connsiteX12" fmla="*/ 78596 w 362313"/>
                <a:gd name="connsiteY12" fmla="*/ 179390 h 361971"/>
                <a:gd name="connsiteX13" fmla="*/ 75401 w 362313"/>
                <a:gd name="connsiteY13" fmla="*/ 169814 h 361971"/>
                <a:gd name="connsiteX14" fmla="*/ 77957 w 362313"/>
                <a:gd name="connsiteY14" fmla="*/ 162792 h 361971"/>
                <a:gd name="connsiteX15" fmla="*/ 74762 w 362313"/>
                <a:gd name="connsiteY15" fmla="*/ 157684 h 361971"/>
                <a:gd name="connsiteX16" fmla="*/ 67094 w 362313"/>
                <a:gd name="connsiteY16" fmla="*/ 157046 h 361971"/>
                <a:gd name="connsiteX17" fmla="*/ 59426 w 362313"/>
                <a:gd name="connsiteY17" fmla="*/ 150024 h 361971"/>
                <a:gd name="connsiteX18" fmla="*/ 56870 w 362313"/>
                <a:gd name="connsiteY18" fmla="*/ 137256 h 361971"/>
                <a:gd name="connsiteX19" fmla="*/ 60704 w 362313"/>
                <a:gd name="connsiteY19" fmla="*/ 128318 h 361971"/>
                <a:gd name="connsiteX20" fmla="*/ 67094 w 362313"/>
                <a:gd name="connsiteY20" fmla="*/ 124488 h 361971"/>
                <a:gd name="connsiteX21" fmla="*/ 67733 w 362313"/>
                <a:gd name="connsiteY21" fmla="*/ 118742 h 361971"/>
                <a:gd name="connsiteX22" fmla="*/ 62621 w 362313"/>
                <a:gd name="connsiteY22" fmla="*/ 112996 h 361971"/>
                <a:gd name="connsiteX23" fmla="*/ 61343 w 362313"/>
                <a:gd name="connsiteY23" fmla="*/ 102782 h 361971"/>
                <a:gd name="connsiteX24" fmla="*/ 67733 w 362313"/>
                <a:gd name="connsiteY24" fmla="*/ 91291 h 361971"/>
                <a:gd name="connsiteX25" fmla="*/ 76679 w 362313"/>
                <a:gd name="connsiteY25" fmla="*/ 86822 h 361971"/>
                <a:gd name="connsiteX26" fmla="*/ 84347 w 362313"/>
                <a:gd name="connsiteY26" fmla="*/ 88099 h 361971"/>
                <a:gd name="connsiteX27" fmla="*/ 88820 w 362313"/>
                <a:gd name="connsiteY27" fmla="*/ 84268 h 361971"/>
                <a:gd name="connsiteX28" fmla="*/ 88181 w 362313"/>
                <a:gd name="connsiteY28" fmla="*/ 76608 h 361971"/>
                <a:gd name="connsiteX29" fmla="*/ 93293 w 362313"/>
                <a:gd name="connsiteY29" fmla="*/ 68308 h 361971"/>
                <a:gd name="connsiteX30" fmla="*/ 105434 w 362313"/>
                <a:gd name="connsiteY30" fmla="*/ 63201 h 361971"/>
                <a:gd name="connsiteX31" fmla="*/ 115019 w 362313"/>
                <a:gd name="connsiteY31" fmla="*/ 65755 h 361971"/>
                <a:gd name="connsiteX32" fmla="*/ 120131 w 362313"/>
                <a:gd name="connsiteY32" fmla="*/ 71500 h 361971"/>
                <a:gd name="connsiteX33" fmla="*/ 125882 w 362313"/>
                <a:gd name="connsiteY33" fmla="*/ 71500 h 361971"/>
                <a:gd name="connsiteX34" fmla="*/ 130355 w 362313"/>
                <a:gd name="connsiteY34" fmla="*/ 65755 h 361971"/>
                <a:gd name="connsiteX35" fmla="*/ 139940 w 362313"/>
                <a:gd name="connsiteY35" fmla="*/ 62563 h 361971"/>
                <a:gd name="connsiteX36" fmla="*/ 152080 w 362313"/>
                <a:gd name="connsiteY36" fmla="*/ 66393 h 361971"/>
                <a:gd name="connsiteX37" fmla="*/ 157832 w 362313"/>
                <a:gd name="connsiteY37" fmla="*/ 74692 h 361971"/>
                <a:gd name="connsiteX38" fmla="*/ 157832 w 362313"/>
                <a:gd name="connsiteY38" fmla="*/ 82353 h 361971"/>
                <a:gd name="connsiteX39" fmla="*/ 162304 w 362313"/>
                <a:gd name="connsiteY39" fmla="*/ 86184 h 361971"/>
                <a:gd name="connsiteX40" fmla="*/ 169333 w 362313"/>
                <a:gd name="connsiteY40" fmla="*/ 84268 h 361971"/>
                <a:gd name="connsiteX41" fmla="*/ 178918 w 362313"/>
                <a:gd name="connsiteY41" fmla="*/ 88099 h 361971"/>
                <a:gd name="connsiteX42" fmla="*/ 185947 w 362313"/>
                <a:gd name="connsiteY42" fmla="*/ 98952 h 361971"/>
                <a:gd name="connsiteX43" fmla="*/ 185308 w 362313"/>
                <a:gd name="connsiteY43" fmla="*/ 109166 h 361971"/>
                <a:gd name="connsiteX44" fmla="*/ 180835 w 362313"/>
                <a:gd name="connsiteY44" fmla="*/ 114912 h 361971"/>
                <a:gd name="connsiteX45" fmla="*/ 182113 w 362313"/>
                <a:gd name="connsiteY45" fmla="*/ 120657 h 361971"/>
                <a:gd name="connsiteX46" fmla="*/ 188503 w 362313"/>
                <a:gd name="connsiteY46" fmla="*/ 123849 h 361971"/>
                <a:gd name="connsiteX47" fmla="*/ 192976 w 362313"/>
                <a:gd name="connsiteY47" fmla="*/ 132787 h 361971"/>
                <a:gd name="connsiteX48" fmla="*/ 191059 w 362313"/>
                <a:gd name="connsiteY48" fmla="*/ 145555 h 361971"/>
                <a:gd name="connsiteX49" fmla="*/ 184030 w 362313"/>
                <a:gd name="connsiteY49" fmla="*/ 152577 h 361971"/>
                <a:gd name="connsiteX50" fmla="*/ 177001 w 362313"/>
                <a:gd name="connsiteY50" fmla="*/ 153854 h 361971"/>
                <a:gd name="connsiteX51" fmla="*/ 174445 w 362313"/>
                <a:gd name="connsiteY51" fmla="*/ 158961 h 361971"/>
                <a:gd name="connsiteX52" fmla="*/ 177640 w 362313"/>
                <a:gd name="connsiteY52" fmla="*/ 165984 h 361971"/>
                <a:gd name="connsiteX53" fmla="*/ 175723 w 362313"/>
                <a:gd name="connsiteY53" fmla="*/ 175560 h 361971"/>
                <a:gd name="connsiteX54" fmla="*/ 166138 w 362313"/>
                <a:gd name="connsiteY54" fmla="*/ 184497 h 361971"/>
                <a:gd name="connsiteX55" fmla="*/ 155914 w 362313"/>
                <a:gd name="connsiteY55" fmla="*/ 185774 h 361971"/>
                <a:gd name="connsiteX56" fmla="*/ 149524 w 362313"/>
                <a:gd name="connsiteY56" fmla="*/ 181944 h 361971"/>
                <a:gd name="connsiteX57" fmla="*/ 143774 w 362313"/>
                <a:gd name="connsiteY57" fmla="*/ 184497 h 361971"/>
                <a:gd name="connsiteX58" fmla="*/ 141857 w 362313"/>
                <a:gd name="connsiteY58" fmla="*/ 191519 h 361971"/>
                <a:gd name="connsiteX59" fmla="*/ 134189 w 362313"/>
                <a:gd name="connsiteY59" fmla="*/ 197903 h 361971"/>
                <a:gd name="connsiteX60" fmla="*/ 122048 w 362313"/>
                <a:gd name="connsiteY60" fmla="*/ 198542 h 361971"/>
                <a:gd name="connsiteX61" fmla="*/ 122048 w 362313"/>
                <a:gd name="connsiteY61" fmla="*/ 198542 h 361971"/>
                <a:gd name="connsiteX62" fmla="*/ 226843 w 362313"/>
                <a:gd name="connsiteY62" fmla="*/ 255359 h 361971"/>
                <a:gd name="connsiteX63" fmla="*/ 222370 w 362313"/>
                <a:gd name="connsiteY63" fmla="*/ 257274 h 361971"/>
                <a:gd name="connsiteX64" fmla="*/ 221731 w 362313"/>
                <a:gd name="connsiteY64" fmla="*/ 260466 h 361971"/>
                <a:gd name="connsiteX65" fmla="*/ 224287 w 362313"/>
                <a:gd name="connsiteY65" fmla="*/ 264935 h 361971"/>
                <a:gd name="connsiteX66" fmla="*/ 224287 w 362313"/>
                <a:gd name="connsiteY66" fmla="*/ 274511 h 361971"/>
                <a:gd name="connsiteX67" fmla="*/ 217897 w 362313"/>
                <a:gd name="connsiteY67" fmla="*/ 282172 h 361971"/>
                <a:gd name="connsiteX68" fmla="*/ 208951 w 362313"/>
                <a:gd name="connsiteY68" fmla="*/ 284725 h 361971"/>
                <a:gd name="connsiteX69" fmla="*/ 203839 w 362313"/>
                <a:gd name="connsiteY69" fmla="*/ 283449 h 361971"/>
                <a:gd name="connsiteX70" fmla="*/ 201283 w 362313"/>
                <a:gd name="connsiteY70" fmla="*/ 285364 h 361971"/>
                <a:gd name="connsiteX71" fmla="*/ 200644 w 362313"/>
                <a:gd name="connsiteY71" fmla="*/ 290471 h 361971"/>
                <a:gd name="connsiteX72" fmla="*/ 194254 w 362313"/>
                <a:gd name="connsiteY72" fmla="*/ 297493 h 361971"/>
                <a:gd name="connsiteX73" fmla="*/ 184669 w 362313"/>
                <a:gd name="connsiteY73" fmla="*/ 299409 h 361971"/>
                <a:gd name="connsiteX74" fmla="*/ 182752 w 362313"/>
                <a:gd name="connsiteY74" fmla="*/ 299409 h 361971"/>
                <a:gd name="connsiteX75" fmla="*/ 175723 w 362313"/>
                <a:gd name="connsiteY75" fmla="*/ 295578 h 361971"/>
                <a:gd name="connsiteX76" fmla="*/ 173167 w 362313"/>
                <a:gd name="connsiteY76" fmla="*/ 291109 h 361971"/>
                <a:gd name="connsiteX77" fmla="*/ 169972 w 362313"/>
                <a:gd name="connsiteY77" fmla="*/ 290471 h 361971"/>
                <a:gd name="connsiteX78" fmla="*/ 166138 w 362313"/>
                <a:gd name="connsiteY78" fmla="*/ 293663 h 361971"/>
                <a:gd name="connsiteX79" fmla="*/ 156553 w 362313"/>
                <a:gd name="connsiteY79" fmla="*/ 294940 h 361971"/>
                <a:gd name="connsiteX80" fmla="*/ 147608 w 362313"/>
                <a:gd name="connsiteY80" fmla="*/ 290471 h 361971"/>
                <a:gd name="connsiteX81" fmla="*/ 143135 w 362313"/>
                <a:gd name="connsiteY81" fmla="*/ 282172 h 361971"/>
                <a:gd name="connsiteX82" fmla="*/ 143774 w 362313"/>
                <a:gd name="connsiteY82" fmla="*/ 277065 h 361971"/>
                <a:gd name="connsiteX83" fmla="*/ 141857 w 362313"/>
                <a:gd name="connsiteY83" fmla="*/ 274511 h 361971"/>
                <a:gd name="connsiteX84" fmla="*/ 136745 w 362313"/>
                <a:gd name="connsiteY84" fmla="*/ 274511 h 361971"/>
                <a:gd name="connsiteX85" fmla="*/ 128438 w 362313"/>
                <a:gd name="connsiteY85" fmla="*/ 269404 h 361971"/>
                <a:gd name="connsiteX86" fmla="*/ 124604 w 362313"/>
                <a:gd name="connsiteY86" fmla="*/ 260466 h 361971"/>
                <a:gd name="connsiteX87" fmla="*/ 126521 w 362313"/>
                <a:gd name="connsiteY87" fmla="*/ 251529 h 361971"/>
                <a:gd name="connsiteX88" fmla="*/ 130355 w 362313"/>
                <a:gd name="connsiteY88" fmla="*/ 248337 h 361971"/>
                <a:gd name="connsiteX89" fmla="*/ 130355 w 362313"/>
                <a:gd name="connsiteY89" fmla="*/ 244506 h 361971"/>
                <a:gd name="connsiteX90" fmla="*/ 126521 w 362313"/>
                <a:gd name="connsiteY90" fmla="*/ 241314 h 361971"/>
                <a:gd name="connsiteX91" fmla="*/ 123326 w 362313"/>
                <a:gd name="connsiteY91" fmla="*/ 232377 h 361971"/>
                <a:gd name="connsiteX92" fmla="*/ 126521 w 362313"/>
                <a:gd name="connsiteY92" fmla="*/ 222801 h 361971"/>
                <a:gd name="connsiteX93" fmla="*/ 134189 w 362313"/>
                <a:gd name="connsiteY93" fmla="*/ 217055 h 361971"/>
                <a:gd name="connsiteX94" fmla="*/ 139301 w 362313"/>
                <a:gd name="connsiteY94" fmla="*/ 217055 h 361971"/>
                <a:gd name="connsiteX95" fmla="*/ 141218 w 362313"/>
                <a:gd name="connsiteY95" fmla="*/ 214502 h 361971"/>
                <a:gd name="connsiteX96" fmla="*/ 139940 w 362313"/>
                <a:gd name="connsiteY96" fmla="*/ 209395 h 361971"/>
                <a:gd name="connsiteX97" fmla="*/ 143774 w 362313"/>
                <a:gd name="connsiteY97" fmla="*/ 200457 h 361971"/>
                <a:gd name="connsiteX98" fmla="*/ 152080 w 362313"/>
                <a:gd name="connsiteY98" fmla="*/ 195350 h 361971"/>
                <a:gd name="connsiteX99" fmla="*/ 161665 w 362313"/>
                <a:gd name="connsiteY99" fmla="*/ 195988 h 361971"/>
                <a:gd name="connsiteX100" fmla="*/ 165499 w 362313"/>
                <a:gd name="connsiteY100" fmla="*/ 199180 h 361971"/>
                <a:gd name="connsiteX101" fmla="*/ 168694 w 362313"/>
                <a:gd name="connsiteY101" fmla="*/ 198542 h 361971"/>
                <a:gd name="connsiteX102" fmla="*/ 171250 w 362313"/>
                <a:gd name="connsiteY102" fmla="*/ 194073 h 361971"/>
                <a:gd name="connsiteX103" fmla="*/ 179557 w 362313"/>
                <a:gd name="connsiteY103" fmla="*/ 189604 h 361971"/>
                <a:gd name="connsiteX104" fmla="*/ 189142 w 362313"/>
                <a:gd name="connsiteY104" fmla="*/ 190881 h 361971"/>
                <a:gd name="connsiteX105" fmla="*/ 196171 w 362313"/>
                <a:gd name="connsiteY105" fmla="*/ 197265 h 361971"/>
                <a:gd name="connsiteX106" fmla="*/ 196810 w 362313"/>
                <a:gd name="connsiteY106" fmla="*/ 202372 h 361971"/>
                <a:gd name="connsiteX107" fmla="*/ 199366 w 362313"/>
                <a:gd name="connsiteY107" fmla="*/ 203649 h 361971"/>
                <a:gd name="connsiteX108" fmla="*/ 203839 w 362313"/>
                <a:gd name="connsiteY108" fmla="*/ 201734 h 361971"/>
                <a:gd name="connsiteX109" fmla="*/ 213424 w 362313"/>
                <a:gd name="connsiteY109" fmla="*/ 203649 h 361971"/>
                <a:gd name="connsiteX110" fmla="*/ 219814 w 362313"/>
                <a:gd name="connsiteY110" fmla="*/ 210671 h 361971"/>
                <a:gd name="connsiteX111" fmla="*/ 221092 w 362313"/>
                <a:gd name="connsiteY111" fmla="*/ 220247 h 361971"/>
                <a:gd name="connsiteX112" fmla="*/ 218536 w 362313"/>
                <a:gd name="connsiteY112" fmla="*/ 224716 h 361971"/>
                <a:gd name="connsiteX113" fmla="*/ 219814 w 362313"/>
                <a:gd name="connsiteY113" fmla="*/ 227908 h 361971"/>
                <a:gd name="connsiteX114" fmla="*/ 224926 w 362313"/>
                <a:gd name="connsiteY114" fmla="*/ 229185 h 361971"/>
                <a:gd name="connsiteX115" fmla="*/ 230677 w 362313"/>
                <a:gd name="connsiteY115" fmla="*/ 236846 h 361971"/>
                <a:gd name="connsiteX116" fmla="*/ 231316 w 362313"/>
                <a:gd name="connsiteY116" fmla="*/ 247060 h 361971"/>
                <a:gd name="connsiteX117" fmla="*/ 226843 w 362313"/>
                <a:gd name="connsiteY117" fmla="*/ 255359 h 361971"/>
                <a:gd name="connsiteX118" fmla="*/ 300327 w 362313"/>
                <a:gd name="connsiteY118" fmla="*/ 174921 h 361971"/>
                <a:gd name="connsiteX119" fmla="*/ 295854 w 362313"/>
                <a:gd name="connsiteY119" fmla="*/ 176836 h 361971"/>
                <a:gd name="connsiteX120" fmla="*/ 295215 w 362313"/>
                <a:gd name="connsiteY120" fmla="*/ 180028 h 361971"/>
                <a:gd name="connsiteX121" fmla="*/ 297771 w 362313"/>
                <a:gd name="connsiteY121" fmla="*/ 184497 h 361971"/>
                <a:gd name="connsiteX122" fmla="*/ 297132 w 362313"/>
                <a:gd name="connsiteY122" fmla="*/ 194073 h 361971"/>
                <a:gd name="connsiteX123" fmla="*/ 290742 w 362313"/>
                <a:gd name="connsiteY123" fmla="*/ 201734 h 361971"/>
                <a:gd name="connsiteX124" fmla="*/ 281796 w 362313"/>
                <a:gd name="connsiteY124" fmla="*/ 204287 h 361971"/>
                <a:gd name="connsiteX125" fmla="*/ 276684 w 362313"/>
                <a:gd name="connsiteY125" fmla="*/ 202372 h 361971"/>
                <a:gd name="connsiteX126" fmla="*/ 274128 w 362313"/>
                <a:gd name="connsiteY126" fmla="*/ 204287 h 361971"/>
                <a:gd name="connsiteX127" fmla="*/ 273489 w 362313"/>
                <a:gd name="connsiteY127" fmla="*/ 209395 h 361971"/>
                <a:gd name="connsiteX128" fmla="*/ 267099 w 362313"/>
                <a:gd name="connsiteY128" fmla="*/ 216417 h 361971"/>
                <a:gd name="connsiteX129" fmla="*/ 257514 w 362313"/>
                <a:gd name="connsiteY129" fmla="*/ 218332 h 361971"/>
                <a:gd name="connsiteX130" fmla="*/ 255597 w 362313"/>
                <a:gd name="connsiteY130" fmla="*/ 218332 h 361971"/>
                <a:gd name="connsiteX131" fmla="*/ 248569 w 362313"/>
                <a:gd name="connsiteY131" fmla="*/ 214502 h 361971"/>
                <a:gd name="connsiteX132" fmla="*/ 246013 w 362313"/>
                <a:gd name="connsiteY132" fmla="*/ 210033 h 361971"/>
                <a:gd name="connsiteX133" fmla="*/ 242818 w 362313"/>
                <a:gd name="connsiteY133" fmla="*/ 209395 h 361971"/>
                <a:gd name="connsiteX134" fmla="*/ 238984 w 362313"/>
                <a:gd name="connsiteY134" fmla="*/ 212587 h 361971"/>
                <a:gd name="connsiteX135" fmla="*/ 229399 w 362313"/>
                <a:gd name="connsiteY135" fmla="*/ 213863 h 361971"/>
                <a:gd name="connsiteX136" fmla="*/ 220453 w 362313"/>
                <a:gd name="connsiteY136" fmla="*/ 209395 h 361971"/>
                <a:gd name="connsiteX137" fmla="*/ 215980 w 362313"/>
                <a:gd name="connsiteY137" fmla="*/ 201095 h 361971"/>
                <a:gd name="connsiteX138" fmla="*/ 216619 w 362313"/>
                <a:gd name="connsiteY138" fmla="*/ 195988 h 361971"/>
                <a:gd name="connsiteX139" fmla="*/ 214702 w 362313"/>
                <a:gd name="connsiteY139" fmla="*/ 193435 h 361971"/>
                <a:gd name="connsiteX140" fmla="*/ 209590 w 362313"/>
                <a:gd name="connsiteY140" fmla="*/ 193435 h 361971"/>
                <a:gd name="connsiteX141" fmla="*/ 201283 w 362313"/>
                <a:gd name="connsiteY141" fmla="*/ 188327 h 361971"/>
                <a:gd name="connsiteX142" fmla="*/ 197449 w 362313"/>
                <a:gd name="connsiteY142" fmla="*/ 179390 h 361971"/>
                <a:gd name="connsiteX143" fmla="*/ 199366 w 362313"/>
                <a:gd name="connsiteY143" fmla="*/ 169814 h 361971"/>
                <a:gd name="connsiteX144" fmla="*/ 203200 w 362313"/>
                <a:gd name="connsiteY144" fmla="*/ 166622 h 361971"/>
                <a:gd name="connsiteX145" fmla="*/ 203200 w 362313"/>
                <a:gd name="connsiteY145" fmla="*/ 163430 h 361971"/>
                <a:gd name="connsiteX146" fmla="*/ 199366 w 362313"/>
                <a:gd name="connsiteY146" fmla="*/ 160238 h 361971"/>
                <a:gd name="connsiteX147" fmla="*/ 196171 w 362313"/>
                <a:gd name="connsiteY147" fmla="*/ 151300 h 361971"/>
                <a:gd name="connsiteX148" fmla="*/ 199366 w 362313"/>
                <a:gd name="connsiteY148" fmla="*/ 141724 h 361971"/>
                <a:gd name="connsiteX149" fmla="*/ 207034 w 362313"/>
                <a:gd name="connsiteY149" fmla="*/ 135979 h 361971"/>
                <a:gd name="connsiteX150" fmla="*/ 212146 w 362313"/>
                <a:gd name="connsiteY150" fmla="*/ 135979 h 361971"/>
                <a:gd name="connsiteX151" fmla="*/ 214063 w 362313"/>
                <a:gd name="connsiteY151" fmla="*/ 133425 h 361971"/>
                <a:gd name="connsiteX152" fmla="*/ 212785 w 362313"/>
                <a:gd name="connsiteY152" fmla="*/ 128318 h 361971"/>
                <a:gd name="connsiteX153" fmla="*/ 215980 w 362313"/>
                <a:gd name="connsiteY153" fmla="*/ 119380 h 361971"/>
                <a:gd name="connsiteX154" fmla="*/ 224287 w 362313"/>
                <a:gd name="connsiteY154" fmla="*/ 114273 h 361971"/>
                <a:gd name="connsiteX155" fmla="*/ 233872 w 362313"/>
                <a:gd name="connsiteY155" fmla="*/ 114912 h 361971"/>
                <a:gd name="connsiteX156" fmla="*/ 237706 w 362313"/>
                <a:gd name="connsiteY156" fmla="*/ 118104 h 361971"/>
                <a:gd name="connsiteX157" fmla="*/ 240901 w 362313"/>
                <a:gd name="connsiteY157" fmla="*/ 117465 h 361971"/>
                <a:gd name="connsiteX158" fmla="*/ 243457 w 362313"/>
                <a:gd name="connsiteY158" fmla="*/ 112996 h 361971"/>
                <a:gd name="connsiteX159" fmla="*/ 251763 w 362313"/>
                <a:gd name="connsiteY159" fmla="*/ 108528 h 361971"/>
                <a:gd name="connsiteX160" fmla="*/ 261348 w 362313"/>
                <a:gd name="connsiteY160" fmla="*/ 109804 h 361971"/>
                <a:gd name="connsiteX161" fmla="*/ 268377 w 362313"/>
                <a:gd name="connsiteY161" fmla="*/ 116188 h 361971"/>
                <a:gd name="connsiteX162" fmla="*/ 269655 w 362313"/>
                <a:gd name="connsiteY162" fmla="*/ 121296 h 361971"/>
                <a:gd name="connsiteX163" fmla="*/ 272211 w 362313"/>
                <a:gd name="connsiteY163" fmla="*/ 122572 h 361971"/>
                <a:gd name="connsiteX164" fmla="*/ 276684 w 362313"/>
                <a:gd name="connsiteY164" fmla="*/ 120657 h 361971"/>
                <a:gd name="connsiteX165" fmla="*/ 285630 w 362313"/>
                <a:gd name="connsiteY165" fmla="*/ 122572 h 361971"/>
                <a:gd name="connsiteX166" fmla="*/ 292659 w 362313"/>
                <a:gd name="connsiteY166" fmla="*/ 129595 h 361971"/>
                <a:gd name="connsiteX167" fmla="*/ 293937 w 362313"/>
                <a:gd name="connsiteY167" fmla="*/ 139171 h 361971"/>
                <a:gd name="connsiteX168" fmla="*/ 291381 w 362313"/>
                <a:gd name="connsiteY168" fmla="*/ 143640 h 361971"/>
                <a:gd name="connsiteX169" fmla="*/ 292659 w 362313"/>
                <a:gd name="connsiteY169" fmla="*/ 146832 h 361971"/>
                <a:gd name="connsiteX170" fmla="*/ 297771 w 362313"/>
                <a:gd name="connsiteY170" fmla="*/ 148108 h 361971"/>
                <a:gd name="connsiteX171" fmla="*/ 303522 w 362313"/>
                <a:gd name="connsiteY171" fmla="*/ 155769 h 361971"/>
                <a:gd name="connsiteX172" fmla="*/ 304161 w 362313"/>
                <a:gd name="connsiteY172" fmla="*/ 165984 h 361971"/>
                <a:gd name="connsiteX173" fmla="*/ 300327 w 362313"/>
                <a:gd name="connsiteY173" fmla="*/ 174921 h 361971"/>
                <a:gd name="connsiteX174" fmla="*/ 300327 w 362313"/>
                <a:gd name="connsiteY174" fmla="*/ 1749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62313" h="361971">
                  <a:moveTo>
                    <a:pt x="181474" y="0"/>
                  </a:moveTo>
                  <a:cubicBezTo>
                    <a:pt x="81152" y="0"/>
                    <a:pt x="0" y="81076"/>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6"/>
                    <a:pt x="281796" y="0"/>
                    <a:pt x="181474" y="0"/>
                  </a:cubicBezTo>
                  <a:close/>
                  <a:moveTo>
                    <a:pt x="122048" y="198542"/>
                  </a:moveTo>
                  <a:cubicBezTo>
                    <a:pt x="118214" y="198542"/>
                    <a:pt x="115019" y="196627"/>
                    <a:pt x="113741" y="192796"/>
                  </a:cubicBezTo>
                  <a:lnTo>
                    <a:pt x="111185" y="185774"/>
                  </a:lnTo>
                  <a:lnTo>
                    <a:pt x="105434" y="183859"/>
                  </a:lnTo>
                  <a:lnTo>
                    <a:pt x="99044" y="187689"/>
                  </a:lnTo>
                  <a:cubicBezTo>
                    <a:pt x="95849" y="189604"/>
                    <a:pt x="92015" y="189604"/>
                    <a:pt x="88820" y="187051"/>
                  </a:cubicBezTo>
                  <a:lnTo>
                    <a:pt x="78596" y="179390"/>
                  </a:lnTo>
                  <a:cubicBezTo>
                    <a:pt x="75401" y="176836"/>
                    <a:pt x="74762" y="173006"/>
                    <a:pt x="75401" y="169814"/>
                  </a:cubicBezTo>
                  <a:lnTo>
                    <a:pt x="77957" y="162792"/>
                  </a:lnTo>
                  <a:lnTo>
                    <a:pt x="74762" y="157684"/>
                  </a:lnTo>
                  <a:lnTo>
                    <a:pt x="67094" y="157046"/>
                  </a:lnTo>
                  <a:cubicBezTo>
                    <a:pt x="63260" y="156408"/>
                    <a:pt x="60704" y="153854"/>
                    <a:pt x="59426" y="150024"/>
                  </a:cubicBezTo>
                  <a:lnTo>
                    <a:pt x="56870" y="137256"/>
                  </a:lnTo>
                  <a:cubicBezTo>
                    <a:pt x="56231" y="133425"/>
                    <a:pt x="57509" y="130233"/>
                    <a:pt x="60704" y="128318"/>
                  </a:cubicBezTo>
                  <a:lnTo>
                    <a:pt x="67094" y="124488"/>
                  </a:lnTo>
                  <a:lnTo>
                    <a:pt x="67733" y="118742"/>
                  </a:lnTo>
                  <a:lnTo>
                    <a:pt x="62621" y="112996"/>
                  </a:lnTo>
                  <a:cubicBezTo>
                    <a:pt x="60065" y="110443"/>
                    <a:pt x="59426" y="105974"/>
                    <a:pt x="61343" y="102782"/>
                  </a:cubicBezTo>
                  <a:lnTo>
                    <a:pt x="67733" y="91291"/>
                  </a:lnTo>
                  <a:cubicBezTo>
                    <a:pt x="69650" y="88099"/>
                    <a:pt x="72845" y="86184"/>
                    <a:pt x="76679" y="86822"/>
                  </a:cubicBezTo>
                  <a:lnTo>
                    <a:pt x="84347" y="88099"/>
                  </a:lnTo>
                  <a:lnTo>
                    <a:pt x="88820" y="84268"/>
                  </a:lnTo>
                  <a:lnTo>
                    <a:pt x="88181" y="76608"/>
                  </a:lnTo>
                  <a:cubicBezTo>
                    <a:pt x="88181" y="72777"/>
                    <a:pt x="90098" y="69585"/>
                    <a:pt x="93293" y="68308"/>
                  </a:cubicBezTo>
                  <a:lnTo>
                    <a:pt x="105434" y="63201"/>
                  </a:lnTo>
                  <a:cubicBezTo>
                    <a:pt x="108629" y="61925"/>
                    <a:pt x="113102" y="62563"/>
                    <a:pt x="115019" y="65755"/>
                  </a:cubicBezTo>
                  <a:lnTo>
                    <a:pt x="120131" y="71500"/>
                  </a:lnTo>
                  <a:lnTo>
                    <a:pt x="125882" y="71500"/>
                  </a:lnTo>
                  <a:lnTo>
                    <a:pt x="130355" y="65755"/>
                  </a:lnTo>
                  <a:cubicBezTo>
                    <a:pt x="132272" y="62563"/>
                    <a:pt x="136745" y="61286"/>
                    <a:pt x="139940" y="62563"/>
                  </a:cubicBezTo>
                  <a:lnTo>
                    <a:pt x="152080" y="66393"/>
                  </a:lnTo>
                  <a:cubicBezTo>
                    <a:pt x="155914" y="67670"/>
                    <a:pt x="157832" y="70862"/>
                    <a:pt x="157832" y="74692"/>
                  </a:cubicBezTo>
                  <a:lnTo>
                    <a:pt x="157832" y="82353"/>
                  </a:lnTo>
                  <a:lnTo>
                    <a:pt x="162304" y="86184"/>
                  </a:lnTo>
                  <a:lnTo>
                    <a:pt x="169333" y="84268"/>
                  </a:lnTo>
                  <a:cubicBezTo>
                    <a:pt x="173167" y="83630"/>
                    <a:pt x="176362" y="84907"/>
                    <a:pt x="178918" y="88099"/>
                  </a:cubicBezTo>
                  <a:lnTo>
                    <a:pt x="185947" y="98952"/>
                  </a:lnTo>
                  <a:cubicBezTo>
                    <a:pt x="187864" y="102144"/>
                    <a:pt x="187864" y="105974"/>
                    <a:pt x="185308" y="109166"/>
                  </a:cubicBezTo>
                  <a:lnTo>
                    <a:pt x="180835" y="114912"/>
                  </a:lnTo>
                  <a:lnTo>
                    <a:pt x="182113" y="120657"/>
                  </a:lnTo>
                  <a:lnTo>
                    <a:pt x="188503" y="123849"/>
                  </a:lnTo>
                  <a:cubicBezTo>
                    <a:pt x="191698" y="125764"/>
                    <a:pt x="193615" y="128956"/>
                    <a:pt x="192976" y="132787"/>
                  </a:cubicBezTo>
                  <a:lnTo>
                    <a:pt x="191059" y="145555"/>
                  </a:lnTo>
                  <a:cubicBezTo>
                    <a:pt x="190420" y="149385"/>
                    <a:pt x="187864" y="151939"/>
                    <a:pt x="184030" y="152577"/>
                  </a:cubicBezTo>
                  <a:lnTo>
                    <a:pt x="177001" y="153854"/>
                  </a:lnTo>
                  <a:lnTo>
                    <a:pt x="174445" y="158961"/>
                  </a:lnTo>
                  <a:lnTo>
                    <a:pt x="177640" y="165984"/>
                  </a:lnTo>
                  <a:cubicBezTo>
                    <a:pt x="178918" y="169176"/>
                    <a:pt x="178279" y="173006"/>
                    <a:pt x="175723" y="175560"/>
                  </a:cubicBezTo>
                  <a:lnTo>
                    <a:pt x="166138" y="184497"/>
                  </a:lnTo>
                  <a:cubicBezTo>
                    <a:pt x="163582" y="187051"/>
                    <a:pt x="159109" y="187689"/>
                    <a:pt x="155914" y="185774"/>
                  </a:cubicBezTo>
                  <a:lnTo>
                    <a:pt x="149524" y="181944"/>
                  </a:lnTo>
                  <a:lnTo>
                    <a:pt x="143774" y="184497"/>
                  </a:lnTo>
                  <a:lnTo>
                    <a:pt x="141857" y="191519"/>
                  </a:lnTo>
                  <a:cubicBezTo>
                    <a:pt x="140579" y="195350"/>
                    <a:pt x="137384" y="197265"/>
                    <a:pt x="134189" y="197903"/>
                  </a:cubicBezTo>
                  <a:lnTo>
                    <a:pt x="122048" y="198542"/>
                  </a:lnTo>
                  <a:lnTo>
                    <a:pt x="122048" y="198542"/>
                  </a:lnTo>
                  <a:close/>
                  <a:moveTo>
                    <a:pt x="226843" y="255359"/>
                  </a:moveTo>
                  <a:lnTo>
                    <a:pt x="222370" y="257274"/>
                  </a:lnTo>
                  <a:lnTo>
                    <a:pt x="221731" y="260466"/>
                  </a:lnTo>
                  <a:lnTo>
                    <a:pt x="224287" y="264935"/>
                  </a:lnTo>
                  <a:cubicBezTo>
                    <a:pt x="226204" y="268127"/>
                    <a:pt x="226204" y="271319"/>
                    <a:pt x="224287" y="274511"/>
                  </a:cubicBezTo>
                  <a:lnTo>
                    <a:pt x="217897" y="282172"/>
                  </a:lnTo>
                  <a:cubicBezTo>
                    <a:pt x="215980" y="284725"/>
                    <a:pt x="212146" y="286002"/>
                    <a:pt x="208951" y="284725"/>
                  </a:cubicBezTo>
                  <a:lnTo>
                    <a:pt x="203839" y="283449"/>
                  </a:lnTo>
                  <a:lnTo>
                    <a:pt x="201283" y="285364"/>
                  </a:lnTo>
                  <a:lnTo>
                    <a:pt x="200644" y="290471"/>
                  </a:lnTo>
                  <a:cubicBezTo>
                    <a:pt x="200005" y="293663"/>
                    <a:pt x="197449" y="296855"/>
                    <a:pt x="194254" y="297493"/>
                  </a:cubicBezTo>
                  <a:lnTo>
                    <a:pt x="184669" y="299409"/>
                  </a:lnTo>
                  <a:cubicBezTo>
                    <a:pt x="184030" y="299409"/>
                    <a:pt x="183391" y="299409"/>
                    <a:pt x="182752" y="299409"/>
                  </a:cubicBezTo>
                  <a:cubicBezTo>
                    <a:pt x="180196" y="299409"/>
                    <a:pt x="177001" y="298132"/>
                    <a:pt x="175723" y="295578"/>
                  </a:cubicBezTo>
                  <a:lnTo>
                    <a:pt x="173167" y="291109"/>
                  </a:lnTo>
                  <a:lnTo>
                    <a:pt x="169972" y="290471"/>
                  </a:lnTo>
                  <a:lnTo>
                    <a:pt x="166138" y="293663"/>
                  </a:lnTo>
                  <a:cubicBezTo>
                    <a:pt x="163582" y="296217"/>
                    <a:pt x="159748" y="296855"/>
                    <a:pt x="156553" y="294940"/>
                  </a:cubicBezTo>
                  <a:lnTo>
                    <a:pt x="147608" y="290471"/>
                  </a:lnTo>
                  <a:cubicBezTo>
                    <a:pt x="144413" y="288556"/>
                    <a:pt x="143135" y="285364"/>
                    <a:pt x="143135" y="282172"/>
                  </a:cubicBezTo>
                  <a:lnTo>
                    <a:pt x="143774" y="277065"/>
                  </a:lnTo>
                  <a:lnTo>
                    <a:pt x="141857" y="274511"/>
                  </a:lnTo>
                  <a:lnTo>
                    <a:pt x="136745" y="274511"/>
                  </a:lnTo>
                  <a:cubicBezTo>
                    <a:pt x="133550" y="274511"/>
                    <a:pt x="129716" y="272596"/>
                    <a:pt x="128438" y="269404"/>
                  </a:cubicBezTo>
                  <a:lnTo>
                    <a:pt x="124604" y="260466"/>
                  </a:lnTo>
                  <a:cubicBezTo>
                    <a:pt x="123326" y="257274"/>
                    <a:pt x="123965" y="253444"/>
                    <a:pt x="126521" y="251529"/>
                  </a:cubicBezTo>
                  <a:lnTo>
                    <a:pt x="130355" y="248337"/>
                  </a:lnTo>
                  <a:lnTo>
                    <a:pt x="130355" y="244506"/>
                  </a:lnTo>
                  <a:lnTo>
                    <a:pt x="126521" y="241314"/>
                  </a:lnTo>
                  <a:cubicBezTo>
                    <a:pt x="123965" y="239399"/>
                    <a:pt x="122687" y="235569"/>
                    <a:pt x="123326" y="232377"/>
                  </a:cubicBezTo>
                  <a:lnTo>
                    <a:pt x="126521" y="222801"/>
                  </a:lnTo>
                  <a:cubicBezTo>
                    <a:pt x="127799" y="219609"/>
                    <a:pt x="130355" y="217055"/>
                    <a:pt x="134189" y="217055"/>
                  </a:cubicBezTo>
                  <a:lnTo>
                    <a:pt x="139301" y="217055"/>
                  </a:lnTo>
                  <a:lnTo>
                    <a:pt x="141218" y="214502"/>
                  </a:lnTo>
                  <a:lnTo>
                    <a:pt x="139940" y="209395"/>
                  </a:lnTo>
                  <a:cubicBezTo>
                    <a:pt x="139301" y="206203"/>
                    <a:pt x="140579" y="202372"/>
                    <a:pt x="143774" y="200457"/>
                  </a:cubicBezTo>
                  <a:lnTo>
                    <a:pt x="152080" y="195350"/>
                  </a:lnTo>
                  <a:cubicBezTo>
                    <a:pt x="155275" y="193435"/>
                    <a:pt x="159109" y="193435"/>
                    <a:pt x="161665" y="195988"/>
                  </a:cubicBezTo>
                  <a:lnTo>
                    <a:pt x="165499" y="199180"/>
                  </a:lnTo>
                  <a:lnTo>
                    <a:pt x="168694" y="198542"/>
                  </a:lnTo>
                  <a:lnTo>
                    <a:pt x="171250" y="194073"/>
                  </a:lnTo>
                  <a:cubicBezTo>
                    <a:pt x="172528" y="190881"/>
                    <a:pt x="176362" y="188966"/>
                    <a:pt x="179557" y="189604"/>
                  </a:cubicBezTo>
                  <a:lnTo>
                    <a:pt x="189142" y="190881"/>
                  </a:lnTo>
                  <a:cubicBezTo>
                    <a:pt x="192337" y="191519"/>
                    <a:pt x="195532" y="194073"/>
                    <a:pt x="196171" y="197265"/>
                  </a:cubicBezTo>
                  <a:lnTo>
                    <a:pt x="196810" y="202372"/>
                  </a:lnTo>
                  <a:lnTo>
                    <a:pt x="199366" y="203649"/>
                  </a:lnTo>
                  <a:lnTo>
                    <a:pt x="203839" y="201734"/>
                  </a:lnTo>
                  <a:cubicBezTo>
                    <a:pt x="207034" y="200457"/>
                    <a:pt x="210868" y="201095"/>
                    <a:pt x="213424" y="203649"/>
                  </a:cubicBezTo>
                  <a:lnTo>
                    <a:pt x="219814" y="210671"/>
                  </a:lnTo>
                  <a:cubicBezTo>
                    <a:pt x="222370" y="213225"/>
                    <a:pt x="222370" y="217055"/>
                    <a:pt x="221092" y="220247"/>
                  </a:cubicBezTo>
                  <a:lnTo>
                    <a:pt x="218536" y="224716"/>
                  </a:lnTo>
                  <a:lnTo>
                    <a:pt x="219814" y="227908"/>
                  </a:lnTo>
                  <a:lnTo>
                    <a:pt x="224926" y="229185"/>
                  </a:lnTo>
                  <a:cubicBezTo>
                    <a:pt x="228121" y="230462"/>
                    <a:pt x="230677" y="233015"/>
                    <a:pt x="230677" y="236846"/>
                  </a:cubicBezTo>
                  <a:lnTo>
                    <a:pt x="231316" y="247060"/>
                  </a:lnTo>
                  <a:cubicBezTo>
                    <a:pt x="231955" y="250890"/>
                    <a:pt x="230038" y="254082"/>
                    <a:pt x="226843" y="255359"/>
                  </a:cubicBezTo>
                  <a:close/>
                  <a:moveTo>
                    <a:pt x="300327" y="174921"/>
                  </a:moveTo>
                  <a:lnTo>
                    <a:pt x="295854" y="176836"/>
                  </a:lnTo>
                  <a:lnTo>
                    <a:pt x="295215" y="180028"/>
                  </a:lnTo>
                  <a:lnTo>
                    <a:pt x="297771" y="184497"/>
                  </a:lnTo>
                  <a:cubicBezTo>
                    <a:pt x="299688" y="187689"/>
                    <a:pt x="299049" y="191519"/>
                    <a:pt x="297132" y="194073"/>
                  </a:cubicBezTo>
                  <a:lnTo>
                    <a:pt x="290742" y="201734"/>
                  </a:lnTo>
                  <a:cubicBezTo>
                    <a:pt x="288825" y="204287"/>
                    <a:pt x="284991" y="205564"/>
                    <a:pt x="281796" y="204287"/>
                  </a:cubicBezTo>
                  <a:lnTo>
                    <a:pt x="276684" y="202372"/>
                  </a:lnTo>
                  <a:lnTo>
                    <a:pt x="274128" y="204287"/>
                  </a:lnTo>
                  <a:lnTo>
                    <a:pt x="273489" y="209395"/>
                  </a:lnTo>
                  <a:cubicBezTo>
                    <a:pt x="272850" y="212587"/>
                    <a:pt x="270294" y="215779"/>
                    <a:pt x="267099" y="216417"/>
                  </a:cubicBezTo>
                  <a:lnTo>
                    <a:pt x="257514" y="218332"/>
                  </a:lnTo>
                  <a:cubicBezTo>
                    <a:pt x="256876" y="218332"/>
                    <a:pt x="256237" y="218332"/>
                    <a:pt x="255597" y="218332"/>
                  </a:cubicBezTo>
                  <a:cubicBezTo>
                    <a:pt x="253042" y="218332"/>
                    <a:pt x="249847" y="217055"/>
                    <a:pt x="248569" y="214502"/>
                  </a:cubicBezTo>
                  <a:lnTo>
                    <a:pt x="246013" y="210033"/>
                  </a:lnTo>
                  <a:lnTo>
                    <a:pt x="242818" y="209395"/>
                  </a:lnTo>
                  <a:lnTo>
                    <a:pt x="238984" y="212587"/>
                  </a:lnTo>
                  <a:cubicBezTo>
                    <a:pt x="236428" y="215140"/>
                    <a:pt x="232594" y="215779"/>
                    <a:pt x="229399" y="213863"/>
                  </a:cubicBezTo>
                  <a:lnTo>
                    <a:pt x="220453" y="209395"/>
                  </a:lnTo>
                  <a:cubicBezTo>
                    <a:pt x="217258" y="207479"/>
                    <a:pt x="215980" y="204287"/>
                    <a:pt x="215980" y="201095"/>
                  </a:cubicBezTo>
                  <a:lnTo>
                    <a:pt x="216619" y="195988"/>
                  </a:lnTo>
                  <a:lnTo>
                    <a:pt x="214702" y="193435"/>
                  </a:lnTo>
                  <a:lnTo>
                    <a:pt x="209590" y="193435"/>
                  </a:lnTo>
                  <a:cubicBezTo>
                    <a:pt x="206395" y="193435"/>
                    <a:pt x="203200" y="191519"/>
                    <a:pt x="201283" y="188327"/>
                  </a:cubicBezTo>
                  <a:lnTo>
                    <a:pt x="197449" y="179390"/>
                  </a:lnTo>
                  <a:cubicBezTo>
                    <a:pt x="196171" y="176198"/>
                    <a:pt x="196810" y="172368"/>
                    <a:pt x="199366" y="169814"/>
                  </a:cubicBezTo>
                  <a:lnTo>
                    <a:pt x="203200" y="166622"/>
                  </a:lnTo>
                  <a:lnTo>
                    <a:pt x="203200" y="163430"/>
                  </a:lnTo>
                  <a:lnTo>
                    <a:pt x="199366" y="160238"/>
                  </a:lnTo>
                  <a:cubicBezTo>
                    <a:pt x="196810" y="158323"/>
                    <a:pt x="195532" y="154492"/>
                    <a:pt x="196171" y="151300"/>
                  </a:cubicBezTo>
                  <a:lnTo>
                    <a:pt x="199366" y="141724"/>
                  </a:lnTo>
                  <a:cubicBezTo>
                    <a:pt x="200644" y="138532"/>
                    <a:pt x="203200" y="135979"/>
                    <a:pt x="207034" y="135979"/>
                  </a:cubicBezTo>
                  <a:lnTo>
                    <a:pt x="212146" y="135979"/>
                  </a:lnTo>
                  <a:lnTo>
                    <a:pt x="214063" y="133425"/>
                  </a:lnTo>
                  <a:lnTo>
                    <a:pt x="212785" y="128318"/>
                  </a:lnTo>
                  <a:cubicBezTo>
                    <a:pt x="212146" y="125126"/>
                    <a:pt x="213424" y="121296"/>
                    <a:pt x="215980" y="119380"/>
                  </a:cubicBezTo>
                  <a:lnTo>
                    <a:pt x="224287" y="114273"/>
                  </a:lnTo>
                  <a:cubicBezTo>
                    <a:pt x="227482" y="112358"/>
                    <a:pt x="231316" y="112358"/>
                    <a:pt x="233872" y="114912"/>
                  </a:cubicBezTo>
                  <a:lnTo>
                    <a:pt x="237706" y="118104"/>
                  </a:lnTo>
                  <a:lnTo>
                    <a:pt x="240901" y="117465"/>
                  </a:lnTo>
                  <a:lnTo>
                    <a:pt x="243457" y="112996"/>
                  </a:lnTo>
                  <a:cubicBezTo>
                    <a:pt x="244735" y="109804"/>
                    <a:pt x="248569" y="107889"/>
                    <a:pt x="251763" y="108528"/>
                  </a:cubicBezTo>
                  <a:lnTo>
                    <a:pt x="261348" y="109804"/>
                  </a:lnTo>
                  <a:cubicBezTo>
                    <a:pt x="264543" y="110443"/>
                    <a:pt x="267738" y="112996"/>
                    <a:pt x="268377" y="116188"/>
                  </a:cubicBezTo>
                  <a:lnTo>
                    <a:pt x="269655" y="121296"/>
                  </a:lnTo>
                  <a:lnTo>
                    <a:pt x="272211" y="122572"/>
                  </a:lnTo>
                  <a:lnTo>
                    <a:pt x="276684" y="120657"/>
                  </a:lnTo>
                  <a:cubicBezTo>
                    <a:pt x="279879" y="119380"/>
                    <a:pt x="283713" y="120019"/>
                    <a:pt x="285630" y="122572"/>
                  </a:cubicBezTo>
                  <a:lnTo>
                    <a:pt x="292659" y="129595"/>
                  </a:lnTo>
                  <a:cubicBezTo>
                    <a:pt x="295215" y="132148"/>
                    <a:pt x="295215" y="135979"/>
                    <a:pt x="293937" y="139171"/>
                  </a:cubicBezTo>
                  <a:lnTo>
                    <a:pt x="291381" y="143640"/>
                  </a:lnTo>
                  <a:lnTo>
                    <a:pt x="292659" y="146832"/>
                  </a:lnTo>
                  <a:lnTo>
                    <a:pt x="297771" y="148108"/>
                  </a:lnTo>
                  <a:cubicBezTo>
                    <a:pt x="300966" y="149385"/>
                    <a:pt x="303522" y="151939"/>
                    <a:pt x="303522" y="155769"/>
                  </a:cubicBezTo>
                  <a:lnTo>
                    <a:pt x="304161" y="165984"/>
                  </a:lnTo>
                  <a:cubicBezTo>
                    <a:pt x="306078" y="170452"/>
                    <a:pt x="303522" y="173644"/>
                    <a:pt x="300327" y="174921"/>
                  </a:cubicBezTo>
                  <a:lnTo>
                    <a:pt x="300327" y="174921"/>
                  </a:lnTo>
                  <a:close/>
                </a:path>
              </a:pathLst>
            </a:custGeom>
            <a:grpFill/>
            <a:ln w="6390" cap="flat">
              <a:noFill/>
              <a:prstDash val="solid"/>
              <a:miter/>
            </a:ln>
          </p:spPr>
          <p:txBody>
            <a:bodyPr rtlCol="0" anchor="ctr"/>
            <a:lstStyle/>
            <a:p>
              <a:endParaRPr lang="en-US"/>
            </a:p>
          </p:txBody>
        </p:sp>
        <p:sp>
          <p:nvSpPr>
            <p:cNvPr id="99" name="Graphic 4">
              <a:extLst>
                <a:ext uri="{FF2B5EF4-FFF2-40B4-BE49-F238E27FC236}">
                  <a16:creationId xmlns:a16="http://schemas.microsoft.com/office/drawing/2014/main" id="{7D259277-9815-1098-99D8-1E8D966DBD54}"/>
                </a:ext>
              </a:extLst>
            </p:cNvPr>
            <p:cNvSpPr/>
            <p:nvPr/>
          </p:nvSpPr>
          <p:spPr>
            <a:xfrm>
              <a:off x="2163632" y="2977651"/>
              <a:ext cx="81791" cy="81715"/>
            </a:xfrm>
            <a:custGeom>
              <a:avLst/>
              <a:gdLst>
                <a:gd name="connsiteX0" fmla="*/ 76040 w 81791"/>
                <a:gd name="connsiteY0" fmla="*/ 37666 h 81715"/>
                <a:gd name="connsiteX1" fmla="*/ 72206 w 81791"/>
                <a:gd name="connsiteY1" fmla="*/ 33835 h 81715"/>
                <a:gd name="connsiteX2" fmla="*/ 69011 w 81791"/>
                <a:gd name="connsiteY2" fmla="*/ 24898 h 81715"/>
                <a:gd name="connsiteX3" fmla="*/ 69011 w 81791"/>
                <a:gd name="connsiteY3" fmla="*/ 19152 h 81715"/>
                <a:gd name="connsiteX4" fmla="*/ 71567 w 81791"/>
                <a:gd name="connsiteY4" fmla="*/ 14683 h 81715"/>
                <a:gd name="connsiteX5" fmla="*/ 69011 w 81791"/>
                <a:gd name="connsiteY5" fmla="*/ 12130 h 81715"/>
                <a:gd name="connsiteX6" fmla="*/ 64538 w 81791"/>
                <a:gd name="connsiteY6" fmla="*/ 14045 h 81715"/>
                <a:gd name="connsiteX7" fmla="*/ 58787 w 81791"/>
                <a:gd name="connsiteY7" fmla="*/ 14045 h 81715"/>
                <a:gd name="connsiteX8" fmla="*/ 50480 w 81791"/>
                <a:gd name="connsiteY8" fmla="*/ 9576 h 81715"/>
                <a:gd name="connsiteX9" fmla="*/ 47285 w 81791"/>
                <a:gd name="connsiteY9" fmla="*/ 5107 h 81715"/>
                <a:gd name="connsiteX10" fmla="*/ 46646 w 81791"/>
                <a:gd name="connsiteY10" fmla="*/ 638 h 81715"/>
                <a:gd name="connsiteX11" fmla="*/ 43451 w 81791"/>
                <a:gd name="connsiteY11" fmla="*/ 0 h 81715"/>
                <a:gd name="connsiteX12" fmla="*/ 41535 w 81791"/>
                <a:gd name="connsiteY12" fmla="*/ 4469 h 81715"/>
                <a:gd name="connsiteX13" fmla="*/ 37062 w 81791"/>
                <a:gd name="connsiteY13" fmla="*/ 7661 h 81715"/>
                <a:gd name="connsiteX14" fmla="*/ 28116 w 81791"/>
                <a:gd name="connsiteY14" fmla="*/ 9576 h 81715"/>
                <a:gd name="connsiteX15" fmla="*/ 23004 w 81791"/>
                <a:gd name="connsiteY15" fmla="*/ 8299 h 81715"/>
                <a:gd name="connsiteX16" fmla="*/ 19170 w 81791"/>
                <a:gd name="connsiteY16" fmla="*/ 5107 h 81715"/>
                <a:gd name="connsiteX17" fmla="*/ 16614 w 81791"/>
                <a:gd name="connsiteY17" fmla="*/ 7022 h 81715"/>
                <a:gd name="connsiteX18" fmla="*/ 17892 w 81791"/>
                <a:gd name="connsiteY18" fmla="*/ 11491 h 81715"/>
                <a:gd name="connsiteX19" fmla="*/ 16614 w 81791"/>
                <a:gd name="connsiteY19" fmla="*/ 17237 h 81715"/>
                <a:gd name="connsiteX20" fmla="*/ 10863 w 81791"/>
                <a:gd name="connsiteY20" fmla="*/ 24259 h 81715"/>
                <a:gd name="connsiteX21" fmla="*/ 5751 w 81791"/>
                <a:gd name="connsiteY21" fmla="*/ 26813 h 81715"/>
                <a:gd name="connsiteX22" fmla="*/ 639 w 81791"/>
                <a:gd name="connsiteY22" fmla="*/ 26813 h 81715"/>
                <a:gd name="connsiteX23" fmla="*/ 0 w 81791"/>
                <a:gd name="connsiteY23" fmla="*/ 30005 h 81715"/>
                <a:gd name="connsiteX24" fmla="*/ 3834 w 81791"/>
                <a:gd name="connsiteY24" fmla="*/ 32558 h 81715"/>
                <a:gd name="connsiteX25" fmla="*/ 6390 w 81791"/>
                <a:gd name="connsiteY25" fmla="*/ 37666 h 81715"/>
                <a:gd name="connsiteX26" fmla="*/ 7029 w 81791"/>
                <a:gd name="connsiteY26" fmla="*/ 47242 h 81715"/>
                <a:gd name="connsiteX27" fmla="*/ 5112 w 81791"/>
                <a:gd name="connsiteY27" fmla="*/ 52349 h 81715"/>
                <a:gd name="connsiteX28" fmla="*/ 1278 w 81791"/>
                <a:gd name="connsiteY28" fmla="*/ 55541 h 81715"/>
                <a:gd name="connsiteX29" fmla="*/ 2556 w 81791"/>
                <a:gd name="connsiteY29" fmla="*/ 58733 h 81715"/>
                <a:gd name="connsiteX30" fmla="*/ 7668 w 81791"/>
                <a:gd name="connsiteY30" fmla="*/ 58733 h 81715"/>
                <a:gd name="connsiteX31" fmla="*/ 12780 w 81791"/>
                <a:gd name="connsiteY31" fmla="*/ 60648 h 81715"/>
                <a:gd name="connsiteX32" fmla="*/ 19170 w 81791"/>
                <a:gd name="connsiteY32" fmla="*/ 67670 h 81715"/>
                <a:gd name="connsiteX33" fmla="*/ 20448 w 81791"/>
                <a:gd name="connsiteY33" fmla="*/ 72778 h 81715"/>
                <a:gd name="connsiteX34" fmla="*/ 19809 w 81791"/>
                <a:gd name="connsiteY34" fmla="*/ 77246 h 81715"/>
                <a:gd name="connsiteX35" fmla="*/ 23004 w 81791"/>
                <a:gd name="connsiteY35" fmla="*/ 78523 h 81715"/>
                <a:gd name="connsiteX36" fmla="*/ 26199 w 81791"/>
                <a:gd name="connsiteY36" fmla="*/ 75331 h 81715"/>
                <a:gd name="connsiteX37" fmla="*/ 30672 w 81791"/>
                <a:gd name="connsiteY37" fmla="*/ 73416 h 81715"/>
                <a:gd name="connsiteX38" fmla="*/ 31311 w 81791"/>
                <a:gd name="connsiteY38" fmla="*/ 73416 h 81715"/>
                <a:gd name="connsiteX39" fmla="*/ 40257 w 81791"/>
                <a:gd name="connsiteY39" fmla="*/ 74693 h 81715"/>
                <a:gd name="connsiteX40" fmla="*/ 44730 w 81791"/>
                <a:gd name="connsiteY40" fmla="*/ 77885 h 81715"/>
                <a:gd name="connsiteX41" fmla="*/ 47285 w 81791"/>
                <a:gd name="connsiteY41" fmla="*/ 81715 h 81715"/>
                <a:gd name="connsiteX42" fmla="*/ 50480 w 81791"/>
                <a:gd name="connsiteY42" fmla="*/ 81077 h 81715"/>
                <a:gd name="connsiteX43" fmla="*/ 51119 w 81791"/>
                <a:gd name="connsiteY43" fmla="*/ 76608 h 81715"/>
                <a:gd name="connsiteX44" fmla="*/ 54314 w 81791"/>
                <a:gd name="connsiteY44" fmla="*/ 72139 h 81715"/>
                <a:gd name="connsiteX45" fmla="*/ 61982 w 81791"/>
                <a:gd name="connsiteY45" fmla="*/ 67032 h 81715"/>
                <a:gd name="connsiteX46" fmla="*/ 67733 w 81791"/>
                <a:gd name="connsiteY46" fmla="*/ 66394 h 81715"/>
                <a:gd name="connsiteX47" fmla="*/ 72206 w 81791"/>
                <a:gd name="connsiteY47" fmla="*/ 67670 h 81715"/>
                <a:gd name="connsiteX48" fmla="*/ 74123 w 81791"/>
                <a:gd name="connsiteY48" fmla="*/ 65117 h 81715"/>
                <a:gd name="connsiteX49" fmla="*/ 71567 w 81791"/>
                <a:gd name="connsiteY49" fmla="*/ 61286 h 81715"/>
                <a:gd name="connsiteX50" fmla="*/ 70928 w 81791"/>
                <a:gd name="connsiteY50" fmla="*/ 55541 h 81715"/>
                <a:gd name="connsiteX51" fmla="*/ 73484 w 81791"/>
                <a:gd name="connsiteY51" fmla="*/ 46603 h 81715"/>
                <a:gd name="connsiteX52" fmla="*/ 77318 w 81791"/>
                <a:gd name="connsiteY52" fmla="*/ 42773 h 81715"/>
                <a:gd name="connsiteX53" fmla="*/ 81791 w 81791"/>
                <a:gd name="connsiteY53" fmla="*/ 40858 h 81715"/>
                <a:gd name="connsiteX54" fmla="*/ 81791 w 81791"/>
                <a:gd name="connsiteY54" fmla="*/ 37666 h 81715"/>
                <a:gd name="connsiteX55" fmla="*/ 76040 w 81791"/>
                <a:gd name="connsiteY55" fmla="*/ 37666 h 81715"/>
                <a:gd name="connsiteX56" fmla="*/ 40896 w 81791"/>
                <a:gd name="connsiteY56" fmla="*/ 75331 h 81715"/>
                <a:gd name="connsiteX57" fmla="*/ 39617 w 81791"/>
                <a:gd name="connsiteY57" fmla="*/ 75331 h 81715"/>
                <a:gd name="connsiteX58" fmla="*/ 6390 w 81791"/>
                <a:gd name="connsiteY58" fmla="*/ 43411 h 81715"/>
                <a:gd name="connsiteX59" fmla="*/ 38340 w 81791"/>
                <a:gd name="connsiteY59" fmla="*/ 8938 h 81715"/>
                <a:gd name="connsiteX60" fmla="*/ 38340 w 81791"/>
                <a:gd name="connsiteY60" fmla="*/ 8938 h 81715"/>
                <a:gd name="connsiteX61" fmla="*/ 73484 w 81791"/>
                <a:gd name="connsiteY61" fmla="*/ 40219 h 81715"/>
                <a:gd name="connsiteX62" fmla="*/ 42174 w 81791"/>
                <a:gd name="connsiteY62" fmla="*/ 75331 h 81715"/>
                <a:gd name="connsiteX63" fmla="*/ 40896 w 81791"/>
                <a:gd name="connsiteY63" fmla="*/ 75331 h 81715"/>
                <a:gd name="connsiteX64" fmla="*/ 40896 w 81791"/>
                <a:gd name="connsiteY64" fmla="*/ 75331 h 8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791" h="81715">
                  <a:moveTo>
                    <a:pt x="76040" y="37666"/>
                  </a:moveTo>
                  <a:cubicBezTo>
                    <a:pt x="74123" y="37027"/>
                    <a:pt x="72845" y="35750"/>
                    <a:pt x="72206" y="33835"/>
                  </a:cubicBezTo>
                  <a:lnTo>
                    <a:pt x="69011" y="24898"/>
                  </a:lnTo>
                  <a:cubicBezTo>
                    <a:pt x="68372" y="22982"/>
                    <a:pt x="68372" y="21067"/>
                    <a:pt x="69011" y="19152"/>
                  </a:cubicBezTo>
                  <a:lnTo>
                    <a:pt x="71567" y="14683"/>
                  </a:lnTo>
                  <a:lnTo>
                    <a:pt x="69011" y="12130"/>
                  </a:lnTo>
                  <a:lnTo>
                    <a:pt x="64538" y="14045"/>
                  </a:lnTo>
                  <a:cubicBezTo>
                    <a:pt x="62621" y="14683"/>
                    <a:pt x="60704" y="14683"/>
                    <a:pt x="58787" y="14045"/>
                  </a:cubicBezTo>
                  <a:lnTo>
                    <a:pt x="50480" y="9576"/>
                  </a:lnTo>
                  <a:cubicBezTo>
                    <a:pt x="48564" y="8938"/>
                    <a:pt x="47285" y="7022"/>
                    <a:pt x="47285" y="5107"/>
                  </a:cubicBezTo>
                  <a:lnTo>
                    <a:pt x="46646" y="638"/>
                  </a:lnTo>
                  <a:lnTo>
                    <a:pt x="43451" y="0"/>
                  </a:lnTo>
                  <a:lnTo>
                    <a:pt x="41535" y="4469"/>
                  </a:lnTo>
                  <a:cubicBezTo>
                    <a:pt x="40896" y="6384"/>
                    <a:pt x="38979" y="7661"/>
                    <a:pt x="37062" y="7661"/>
                  </a:cubicBezTo>
                  <a:lnTo>
                    <a:pt x="28116" y="9576"/>
                  </a:lnTo>
                  <a:cubicBezTo>
                    <a:pt x="26199" y="10214"/>
                    <a:pt x="24282" y="9576"/>
                    <a:pt x="23004" y="8299"/>
                  </a:cubicBezTo>
                  <a:lnTo>
                    <a:pt x="19170" y="5107"/>
                  </a:lnTo>
                  <a:lnTo>
                    <a:pt x="16614" y="7022"/>
                  </a:lnTo>
                  <a:lnTo>
                    <a:pt x="17892" y="11491"/>
                  </a:lnTo>
                  <a:cubicBezTo>
                    <a:pt x="18531" y="13406"/>
                    <a:pt x="17892" y="15322"/>
                    <a:pt x="16614" y="17237"/>
                  </a:cubicBezTo>
                  <a:lnTo>
                    <a:pt x="10863" y="24259"/>
                  </a:lnTo>
                  <a:cubicBezTo>
                    <a:pt x="9585" y="25536"/>
                    <a:pt x="7668" y="26813"/>
                    <a:pt x="5751" y="26813"/>
                  </a:cubicBezTo>
                  <a:lnTo>
                    <a:pt x="639" y="26813"/>
                  </a:lnTo>
                  <a:lnTo>
                    <a:pt x="0" y="30005"/>
                  </a:lnTo>
                  <a:lnTo>
                    <a:pt x="3834" y="32558"/>
                  </a:lnTo>
                  <a:cubicBezTo>
                    <a:pt x="5112" y="33835"/>
                    <a:pt x="6390" y="35750"/>
                    <a:pt x="6390" y="37666"/>
                  </a:cubicBezTo>
                  <a:lnTo>
                    <a:pt x="7029" y="47242"/>
                  </a:lnTo>
                  <a:cubicBezTo>
                    <a:pt x="7029" y="49157"/>
                    <a:pt x="6390" y="51072"/>
                    <a:pt x="5112" y="52349"/>
                  </a:cubicBezTo>
                  <a:lnTo>
                    <a:pt x="1278" y="55541"/>
                  </a:lnTo>
                  <a:lnTo>
                    <a:pt x="2556" y="58733"/>
                  </a:lnTo>
                  <a:lnTo>
                    <a:pt x="7668" y="58733"/>
                  </a:lnTo>
                  <a:cubicBezTo>
                    <a:pt x="9585" y="58733"/>
                    <a:pt x="11502" y="59371"/>
                    <a:pt x="12780" y="60648"/>
                  </a:cubicBezTo>
                  <a:lnTo>
                    <a:pt x="19170" y="67670"/>
                  </a:lnTo>
                  <a:cubicBezTo>
                    <a:pt x="20448" y="68947"/>
                    <a:pt x="21087" y="70862"/>
                    <a:pt x="20448" y="72778"/>
                  </a:cubicBezTo>
                  <a:lnTo>
                    <a:pt x="19809" y="77246"/>
                  </a:lnTo>
                  <a:lnTo>
                    <a:pt x="23004" y="78523"/>
                  </a:lnTo>
                  <a:lnTo>
                    <a:pt x="26199" y="75331"/>
                  </a:lnTo>
                  <a:cubicBezTo>
                    <a:pt x="27477" y="74054"/>
                    <a:pt x="28755" y="73416"/>
                    <a:pt x="30672" y="73416"/>
                  </a:cubicBezTo>
                  <a:lnTo>
                    <a:pt x="31311" y="73416"/>
                  </a:lnTo>
                  <a:lnTo>
                    <a:pt x="40257" y="74693"/>
                  </a:lnTo>
                  <a:cubicBezTo>
                    <a:pt x="42174" y="74693"/>
                    <a:pt x="44091" y="75970"/>
                    <a:pt x="44730" y="77885"/>
                  </a:cubicBezTo>
                  <a:lnTo>
                    <a:pt x="47285" y="81715"/>
                  </a:lnTo>
                  <a:lnTo>
                    <a:pt x="50480" y="81077"/>
                  </a:lnTo>
                  <a:lnTo>
                    <a:pt x="51119" y="76608"/>
                  </a:lnTo>
                  <a:cubicBezTo>
                    <a:pt x="51119" y="74693"/>
                    <a:pt x="52397" y="72778"/>
                    <a:pt x="54314" y="72139"/>
                  </a:cubicBezTo>
                  <a:lnTo>
                    <a:pt x="61982" y="67032"/>
                  </a:lnTo>
                  <a:cubicBezTo>
                    <a:pt x="63899" y="65755"/>
                    <a:pt x="65816" y="65755"/>
                    <a:pt x="67733" y="66394"/>
                  </a:cubicBezTo>
                  <a:lnTo>
                    <a:pt x="72206" y="67670"/>
                  </a:lnTo>
                  <a:lnTo>
                    <a:pt x="74123" y="65117"/>
                  </a:lnTo>
                  <a:lnTo>
                    <a:pt x="71567" y="61286"/>
                  </a:lnTo>
                  <a:cubicBezTo>
                    <a:pt x="70289" y="59371"/>
                    <a:pt x="70289" y="57456"/>
                    <a:pt x="70928" y="55541"/>
                  </a:cubicBezTo>
                  <a:lnTo>
                    <a:pt x="73484" y="46603"/>
                  </a:lnTo>
                  <a:cubicBezTo>
                    <a:pt x="74123" y="44688"/>
                    <a:pt x="75401" y="43411"/>
                    <a:pt x="77318" y="42773"/>
                  </a:cubicBezTo>
                  <a:lnTo>
                    <a:pt x="81791" y="40858"/>
                  </a:lnTo>
                  <a:lnTo>
                    <a:pt x="81791" y="37666"/>
                  </a:lnTo>
                  <a:lnTo>
                    <a:pt x="76040" y="37666"/>
                  </a:lnTo>
                  <a:close/>
                  <a:moveTo>
                    <a:pt x="40896" y="75331"/>
                  </a:moveTo>
                  <a:lnTo>
                    <a:pt x="39617" y="75331"/>
                  </a:lnTo>
                  <a:cubicBezTo>
                    <a:pt x="21726" y="75331"/>
                    <a:pt x="7029" y="61286"/>
                    <a:pt x="6390" y="43411"/>
                  </a:cubicBezTo>
                  <a:cubicBezTo>
                    <a:pt x="5751" y="24898"/>
                    <a:pt x="19809" y="9576"/>
                    <a:pt x="38340" y="8938"/>
                  </a:cubicBezTo>
                  <a:lnTo>
                    <a:pt x="38340" y="8938"/>
                  </a:lnTo>
                  <a:cubicBezTo>
                    <a:pt x="56870" y="7661"/>
                    <a:pt x="72206" y="21706"/>
                    <a:pt x="73484" y="40219"/>
                  </a:cubicBezTo>
                  <a:cubicBezTo>
                    <a:pt x="74762" y="58733"/>
                    <a:pt x="60704" y="74054"/>
                    <a:pt x="42174" y="75331"/>
                  </a:cubicBezTo>
                  <a:cubicBezTo>
                    <a:pt x="41535" y="75331"/>
                    <a:pt x="40896" y="75331"/>
                    <a:pt x="40896" y="75331"/>
                  </a:cubicBezTo>
                  <a:lnTo>
                    <a:pt x="40896" y="75331"/>
                  </a:lnTo>
                  <a:close/>
                </a:path>
              </a:pathLst>
            </a:custGeom>
            <a:grpFill/>
            <a:ln w="6390" cap="flat">
              <a:noFill/>
              <a:prstDash val="solid"/>
              <a:miter/>
            </a:ln>
          </p:spPr>
          <p:txBody>
            <a:bodyPr rtlCol="0" anchor="ctr"/>
            <a:lstStyle/>
            <a:p>
              <a:endParaRPr lang="en-US"/>
            </a:p>
          </p:txBody>
        </p:sp>
      </p:grpSp>
      <p:grpSp>
        <p:nvGrpSpPr>
          <p:cNvPr id="100" name="Graphic 4">
            <a:extLst>
              <a:ext uri="{FF2B5EF4-FFF2-40B4-BE49-F238E27FC236}">
                <a16:creationId xmlns:a16="http://schemas.microsoft.com/office/drawing/2014/main" id="{B6F97269-0BEC-2921-0B91-5B526B3D517F}"/>
              </a:ext>
            </a:extLst>
          </p:cNvPr>
          <p:cNvGrpSpPr>
            <a:grpSpLocks noChangeAspect="1"/>
          </p:cNvGrpSpPr>
          <p:nvPr/>
        </p:nvGrpSpPr>
        <p:grpSpPr>
          <a:xfrm>
            <a:off x="472990" y="2297883"/>
            <a:ext cx="432403" cy="432000"/>
            <a:chOff x="5099808" y="2855717"/>
            <a:chExt cx="362309" cy="361971"/>
          </a:xfrm>
          <a:solidFill>
            <a:schemeClr val="accent5"/>
          </a:solidFill>
        </p:grpSpPr>
        <p:sp>
          <p:nvSpPr>
            <p:cNvPr id="101" name="Graphic 4">
              <a:extLst>
                <a:ext uri="{FF2B5EF4-FFF2-40B4-BE49-F238E27FC236}">
                  <a16:creationId xmlns:a16="http://schemas.microsoft.com/office/drawing/2014/main" id="{521FAA9E-D20A-9B1D-8922-5CC80392E089}"/>
                </a:ext>
              </a:extLst>
            </p:cNvPr>
            <p:cNvSpPr/>
            <p:nvPr/>
          </p:nvSpPr>
          <p:spPr>
            <a:xfrm>
              <a:off x="5189267" y="2950839"/>
              <a:ext cx="183391" cy="174921"/>
            </a:xfrm>
            <a:custGeom>
              <a:avLst/>
              <a:gdLst>
                <a:gd name="connsiteX0" fmla="*/ 115658 w 183391"/>
                <a:gd name="connsiteY0" fmla="*/ 54264 h 174921"/>
                <a:gd name="connsiteX1" fmla="*/ 91376 w 183391"/>
                <a:gd name="connsiteY1" fmla="*/ 0 h 174921"/>
                <a:gd name="connsiteX2" fmla="*/ 67094 w 183391"/>
                <a:gd name="connsiteY2" fmla="*/ 54264 h 174921"/>
                <a:gd name="connsiteX3" fmla="*/ 61982 w 183391"/>
                <a:gd name="connsiteY3" fmla="*/ 58094 h 174921"/>
                <a:gd name="connsiteX4" fmla="*/ 0 w 183391"/>
                <a:gd name="connsiteY4" fmla="*/ 64478 h 174921"/>
                <a:gd name="connsiteX5" fmla="*/ 42813 w 183391"/>
                <a:gd name="connsiteY5" fmla="*/ 107889 h 174921"/>
                <a:gd name="connsiteX6" fmla="*/ 44730 w 183391"/>
                <a:gd name="connsiteY6" fmla="*/ 113635 h 174921"/>
                <a:gd name="connsiteX7" fmla="*/ 32589 w 183391"/>
                <a:gd name="connsiteY7" fmla="*/ 174921 h 174921"/>
                <a:gd name="connsiteX8" fmla="*/ 88181 w 183391"/>
                <a:gd name="connsiteY8" fmla="*/ 144278 h 174921"/>
                <a:gd name="connsiteX9" fmla="*/ 91376 w 183391"/>
                <a:gd name="connsiteY9" fmla="*/ 143640 h 174921"/>
                <a:gd name="connsiteX10" fmla="*/ 94571 w 183391"/>
                <a:gd name="connsiteY10" fmla="*/ 144278 h 174921"/>
                <a:gd name="connsiteX11" fmla="*/ 150164 w 183391"/>
                <a:gd name="connsiteY11" fmla="*/ 174921 h 174921"/>
                <a:gd name="connsiteX12" fmla="*/ 138023 w 183391"/>
                <a:gd name="connsiteY12" fmla="*/ 113635 h 174921"/>
                <a:gd name="connsiteX13" fmla="*/ 139940 w 183391"/>
                <a:gd name="connsiteY13" fmla="*/ 107889 h 174921"/>
                <a:gd name="connsiteX14" fmla="*/ 183391 w 183391"/>
                <a:gd name="connsiteY14" fmla="*/ 64478 h 174921"/>
                <a:gd name="connsiteX15" fmla="*/ 121409 w 183391"/>
                <a:gd name="connsiteY15" fmla="*/ 58094 h 174921"/>
                <a:gd name="connsiteX16" fmla="*/ 115658 w 183391"/>
                <a:gd name="connsiteY16" fmla="*/ 54264 h 17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391" h="174921">
                  <a:moveTo>
                    <a:pt x="115658" y="54264"/>
                  </a:moveTo>
                  <a:lnTo>
                    <a:pt x="91376" y="0"/>
                  </a:lnTo>
                  <a:lnTo>
                    <a:pt x="67094" y="54264"/>
                  </a:lnTo>
                  <a:cubicBezTo>
                    <a:pt x="66456" y="56179"/>
                    <a:pt x="63899" y="58094"/>
                    <a:pt x="61982" y="58094"/>
                  </a:cubicBezTo>
                  <a:lnTo>
                    <a:pt x="0" y="64478"/>
                  </a:lnTo>
                  <a:lnTo>
                    <a:pt x="42813" y="107889"/>
                  </a:lnTo>
                  <a:cubicBezTo>
                    <a:pt x="44091" y="109166"/>
                    <a:pt x="44730" y="111720"/>
                    <a:pt x="44730" y="113635"/>
                  </a:cubicBezTo>
                  <a:lnTo>
                    <a:pt x="32589" y="174921"/>
                  </a:lnTo>
                  <a:lnTo>
                    <a:pt x="88181" y="144278"/>
                  </a:lnTo>
                  <a:cubicBezTo>
                    <a:pt x="88820" y="143640"/>
                    <a:pt x="90098" y="143640"/>
                    <a:pt x="91376" y="143640"/>
                  </a:cubicBezTo>
                  <a:cubicBezTo>
                    <a:pt x="92654" y="143640"/>
                    <a:pt x="93293" y="143640"/>
                    <a:pt x="94571" y="144278"/>
                  </a:cubicBezTo>
                  <a:lnTo>
                    <a:pt x="150164" y="174921"/>
                  </a:lnTo>
                  <a:lnTo>
                    <a:pt x="138023" y="113635"/>
                  </a:lnTo>
                  <a:cubicBezTo>
                    <a:pt x="137384" y="111720"/>
                    <a:pt x="138023" y="109166"/>
                    <a:pt x="139940" y="107889"/>
                  </a:cubicBezTo>
                  <a:lnTo>
                    <a:pt x="183391" y="64478"/>
                  </a:lnTo>
                  <a:lnTo>
                    <a:pt x="121409" y="58094"/>
                  </a:lnTo>
                  <a:cubicBezTo>
                    <a:pt x="118214" y="58094"/>
                    <a:pt x="116297" y="56179"/>
                    <a:pt x="115658" y="54264"/>
                  </a:cubicBezTo>
                  <a:close/>
                </a:path>
              </a:pathLst>
            </a:custGeom>
            <a:grpFill/>
            <a:ln w="6390" cap="flat">
              <a:noFill/>
              <a:prstDash val="solid"/>
              <a:miter/>
            </a:ln>
          </p:spPr>
          <p:txBody>
            <a:bodyPr rtlCol="0" anchor="ctr"/>
            <a:lstStyle/>
            <a:p>
              <a:endParaRPr lang="en-US"/>
            </a:p>
          </p:txBody>
        </p:sp>
        <p:sp>
          <p:nvSpPr>
            <p:cNvPr id="102" name="Graphic 4">
              <a:extLst>
                <a:ext uri="{FF2B5EF4-FFF2-40B4-BE49-F238E27FC236}">
                  <a16:creationId xmlns:a16="http://schemas.microsoft.com/office/drawing/2014/main" id="{62080F26-F57B-AC16-8191-C56AA5EFBA32}"/>
                </a:ext>
              </a:extLst>
            </p:cNvPr>
            <p:cNvSpPr/>
            <p:nvPr/>
          </p:nvSpPr>
          <p:spPr>
            <a:xfrm>
              <a:off x="5099808" y="2855717"/>
              <a:ext cx="362309" cy="361971"/>
            </a:xfrm>
            <a:custGeom>
              <a:avLst/>
              <a:gdLst>
                <a:gd name="connsiteX0" fmla="*/ 180836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362310 w 362309"/>
                <a:gd name="connsiteY4" fmla="*/ 180667 h 361971"/>
                <a:gd name="connsiteX5" fmla="*/ 180836 w 362309"/>
                <a:gd name="connsiteY5" fmla="*/ 0 h 361971"/>
                <a:gd name="connsiteX6" fmla="*/ 180836 w 362309"/>
                <a:gd name="connsiteY6" fmla="*/ 0 h 361971"/>
                <a:gd name="connsiteX7" fmla="*/ 290103 w 362309"/>
                <a:gd name="connsiteY7" fmla="*/ 158961 h 361971"/>
                <a:gd name="connsiteX8" fmla="*/ 240262 w 362309"/>
                <a:gd name="connsiteY8" fmla="*/ 209395 h 361971"/>
                <a:gd name="connsiteX9" fmla="*/ 254320 w 362309"/>
                <a:gd name="connsiteY9" fmla="*/ 280895 h 361971"/>
                <a:gd name="connsiteX10" fmla="*/ 251764 w 362309"/>
                <a:gd name="connsiteY10" fmla="*/ 287279 h 361971"/>
                <a:gd name="connsiteX11" fmla="*/ 247930 w 362309"/>
                <a:gd name="connsiteY11" fmla="*/ 288556 h 361971"/>
                <a:gd name="connsiteX12" fmla="*/ 244735 w 362309"/>
                <a:gd name="connsiteY12" fmla="*/ 287917 h 361971"/>
                <a:gd name="connsiteX13" fmla="*/ 180196 w 362309"/>
                <a:gd name="connsiteY13" fmla="*/ 252167 h 361971"/>
                <a:gd name="connsiteX14" fmla="*/ 115658 w 362309"/>
                <a:gd name="connsiteY14" fmla="*/ 287917 h 361971"/>
                <a:gd name="connsiteX15" fmla="*/ 108629 w 362309"/>
                <a:gd name="connsiteY15" fmla="*/ 287279 h 361971"/>
                <a:gd name="connsiteX16" fmla="*/ 106073 w 362309"/>
                <a:gd name="connsiteY16" fmla="*/ 280895 h 361971"/>
                <a:gd name="connsiteX17" fmla="*/ 120131 w 362309"/>
                <a:gd name="connsiteY17" fmla="*/ 209395 h 361971"/>
                <a:gd name="connsiteX18" fmla="*/ 69650 w 362309"/>
                <a:gd name="connsiteY18" fmla="*/ 158961 h 361971"/>
                <a:gd name="connsiteX19" fmla="*/ 68372 w 362309"/>
                <a:gd name="connsiteY19" fmla="*/ 152577 h 361971"/>
                <a:gd name="connsiteX20" fmla="*/ 73484 w 362309"/>
                <a:gd name="connsiteY20" fmla="*/ 148108 h 361971"/>
                <a:gd name="connsiteX21" fmla="*/ 145052 w 362309"/>
                <a:gd name="connsiteY21" fmla="*/ 141086 h 361971"/>
                <a:gd name="connsiteX22" fmla="*/ 173806 w 362309"/>
                <a:gd name="connsiteY22" fmla="*/ 76608 h 361971"/>
                <a:gd name="connsiteX23" fmla="*/ 179557 w 362309"/>
                <a:gd name="connsiteY23" fmla="*/ 72777 h 361971"/>
                <a:gd name="connsiteX24" fmla="*/ 185308 w 362309"/>
                <a:gd name="connsiteY24" fmla="*/ 76608 h 361971"/>
                <a:gd name="connsiteX25" fmla="*/ 214063 w 362309"/>
                <a:gd name="connsiteY25" fmla="*/ 141086 h 361971"/>
                <a:gd name="connsiteX26" fmla="*/ 285630 w 362309"/>
                <a:gd name="connsiteY26" fmla="*/ 148108 h 361971"/>
                <a:gd name="connsiteX27" fmla="*/ 290742 w 362309"/>
                <a:gd name="connsiteY27" fmla="*/ 152577 h 361971"/>
                <a:gd name="connsiteX28" fmla="*/ 290103 w 362309"/>
                <a:gd name="connsiteY28" fmla="*/ 15896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2309" h="361971">
                  <a:moveTo>
                    <a:pt x="180836" y="0"/>
                  </a:moveTo>
                  <a:cubicBezTo>
                    <a:pt x="80513" y="0"/>
                    <a:pt x="0" y="81076"/>
                    <a:pt x="0" y="181305"/>
                  </a:cubicBezTo>
                  <a:cubicBezTo>
                    <a:pt x="0" y="281533"/>
                    <a:pt x="81152" y="361972"/>
                    <a:pt x="181474" y="361972"/>
                  </a:cubicBezTo>
                  <a:cubicBezTo>
                    <a:pt x="281796" y="361972"/>
                    <a:pt x="362310" y="280895"/>
                    <a:pt x="362310" y="180667"/>
                  </a:cubicBezTo>
                  <a:cubicBezTo>
                    <a:pt x="362310" y="180667"/>
                    <a:pt x="362310" y="180667"/>
                    <a:pt x="362310" y="180667"/>
                  </a:cubicBezTo>
                  <a:cubicBezTo>
                    <a:pt x="361671" y="80438"/>
                    <a:pt x="280518" y="0"/>
                    <a:pt x="180836" y="0"/>
                  </a:cubicBezTo>
                  <a:cubicBezTo>
                    <a:pt x="180836" y="0"/>
                    <a:pt x="180836" y="0"/>
                    <a:pt x="180836" y="0"/>
                  </a:cubicBezTo>
                  <a:close/>
                  <a:moveTo>
                    <a:pt x="290103" y="158961"/>
                  </a:moveTo>
                  <a:lnTo>
                    <a:pt x="240262" y="209395"/>
                  </a:lnTo>
                  <a:lnTo>
                    <a:pt x="254320" y="280895"/>
                  </a:lnTo>
                  <a:cubicBezTo>
                    <a:pt x="254959" y="283449"/>
                    <a:pt x="253681" y="286002"/>
                    <a:pt x="251764" y="287279"/>
                  </a:cubicBezTo>
                  <a:cubicBezTo>
                    <a:pt x="250486" y="287917"/>
                    <a:pt x="249208" y="288556"/>
                    <a:pt x="247930" y="288556"/>
                  </a:cubicBezTo>
                  <a:cubicBezTo>
                    <a:pt x="246652" y="288556"/>
                    <a:pt x="246013" y="288556"/>
                    <a:pt x="244735" y="287917"/>
                  </a:cubicBezTo>
                  <a:lnTo>
                    <a:pt x="180196" y="252167"/>
                  </a:lnTo>
                  <a:lnTo>
                    <a:pt x="115658" y="287917"/>
                  </a:lnTo>
                  <a:cubicBezTo>
                    <a:pt x="113741" y="289194"/>
                    <a:pt x="110546" y="289194"/>
                    <a:pt x="108629" y="287279"/>
                  </a:cubicBezTo>
                  <a:cubicBezTo>
                    <a:pt x="106712" y="286002"/>
                    <a:pt x="105434" y="283449"/>
                    <a:pt x="106073" y="280895"/>
                  </a:cubicBezTo>
                  <a:lnTo>
                    <a:pt x="120131" y="209395"/>
                  </a:lnTo>
                  <a:lnTo>
                    <a:pt x="69650" y="158961"/>
                  </a:lnTo>
                  <a:cubicBezTo>
                    <a:pt x="67734" y="157046"/>
                    <a:pt x="67094" y="154492"/>
                    <a:pt x="68372" y="152577"/>
                  </a:cubicBezTo>
                  <a:cubicBezTo>
                    <a:pt x="69012" y="150024"/>
                    <a:pt x="71567" y="148747"/>
                    <a:pt x="73484" y="148108"/>
                  </a:cubicBezTo>
                  <a:lnTo>
                    <a:pt x="145052" y="141086"/>
                  </a:lnTo>
                  <a:lnTo>
                    <a:pt x="173806" y="76608"/>
                  </a:lnTo>
                  <a:cubicBezTo>
                    <a:pt x="175084" y="74054"/>
                    <a:pt x="177001" y="72777"/>
                    <a:pt x="179557" y="72777"/>
                  </a:cubicBezTo>
                  <a:cubicBezTo>
                    <a:pt x="182113" y="72777"/>
                    <a:pt x="184669" y="74054"/>
                    <a:pt x="185308" y="76608"/>
                  </a:cubicBezTo>
                  <a:lnTo>
                    <a:pt x="214063" y="141086"/>
                  </a:lnTo>
                  <a:lnTo>
                    <a:pt x="285630" y="148108"/>
                  </a:lnTo>
                  <a:cubicBezTo>
                    <a:pt x="288186" y="148108"/>
                    <a:pt x="290103" y="150024"/>
                    <a:pt x="290742" y="152577"/>
                  </a:cubicBezTo>
                  <a:cubicBezTo>
                    <a:pt x="292659" y="154492"/>
                    <a:pt x="292020" y="157046"/>
                    <a:pt x="290103" y="158961"/>
                  </a:cubicBezTo>
                  <a:close/>
                </a:path>
              </a:pathLst>
            </a:custGeom>
            <a:grpFill/>
            <a:ln w="6390" cap="flat">
              <a:noFill/>
              <a:prstDash val="solid"/>
              <a:miter/>
            </a:ln>
          </p:spPr>
          <p:txBody>
            <a:bodyPr rtlCol="0" anchor="ctr"/>
            <a:lstStyle/>
            <a:p>
              <a:endParaRPr lang="en-US"/>
            </a:p>
          </p:txBody>
        </p:sp>
      </p:grpSp>
      <p:grpSp>
        <p:nvGrpSpPr>
          <p:cNvPr id="103" name="Graphic 4">
            <a:extLst>
              <a:ext uri="{FF2B5EF4-FFF2-40B4-BE49-F238E27FC236}">
                <a16:creationId xmlns:a16="http://schemas.microsoft.com/office/drawing/2014/main" id="{B377764F-70E4-8539-439E-E5B8DF02768D}"/>
              </a:ext>
            </a:extLst>
          </p:cNvPr>
          <p:cNvGrpSpPr>
            <a:grpSpLocks noChangeAspect="1"/>
          </p:cNvGrpSpPr>
          <p:nvPr/>
        </p:nvGrpSpPr>
        <p:grpSpPr>
          <a:xfrm>
            <a:off x="472985" y="4801816"/>
            <a:ext cx="432408" cy="432000"/>
            <a:chOff x="7192513" y="4792617"/>
            <a:chExt cx="361674" cy="361333"/>
          </a:xfrm>
          <a:solidFill>
            <a:srgbClr val="92D050"/>
          </a:solidFill>
        </p:grpSpPr>
        <p:sp>
          <p:nvSpPr>
            <p:cNvPr id="104" name="Graphic 4">
              <a:extLst>
                <a:ext uri="{FF2B5EF4-FFF2-40B4-BE49-F238E27FC236}">
                  <a16:creationId xmlns:a16="http://schemas.microsoft.com/office/drawing/2014/main" id="{2DF4EBE7-3B4E-9755-65DE-56A15A1661D7}"/>
                </a:ext>
              </a:extLst>
            </p:cNvPr>
            <p:cNvSpPr/>
            <p:nvPr/>
          </p:nvSpPr>
          <p:spPr>
            <a:xfrm>
              <a:off x="7316477" y="4908806"/>
              <a:ext cx="154636" cy="90652"/>
            </a:xfrm>
            <a:custGeom>
              <a:avLst/>
              <a:gdLst>
                <a:gd name="connsiteX0" fmla="*/ 120770 w 154636"/>
                <a:gd name="connsiteY0" fmla="*/ 15322 h 90652"/>
                <a:gd name="connsiteX1" fmla="*/ 118853 w 154636"/>
                <a:gd name="connsiteY1" fmla="*/ 15322 h 90652"/>
                <a:gd name="connsiteX2" fmla="*/ 65817 w 154636"/>
                <a:gd name="connsiteY2" fmla="*/ 0 h 90652"/>
                <a:gd name="connsiteX3" fmla="*/ 4473 w 154636"/>
                <a:gd name="connsiteY3" fmla="*/ 33197 h 90652"/>
                <a:gd name="connsiteX4" fmla="*/ 0 w 154636"/>
                <a:gd name="connsiteY4" fmla="*/ 40858 h 90652"/>
                <a:gd name="connsiteX5" fmla="*/ 3195 w 154636"/>
                <a:gd name="connsiteY5" fmla="*/ 49157 h 90652"/>
                <a:gd name="connsiteX6" fmla="*/ 8946 w 154636"/>
                <a:gd name="connsiteY6" fmla="*/ 50434 h 90652"/>
                <a:gd name="connsiteX7" fmla="*/ 99683 w 154636"/>
                <a:gd name="connsiteY7" fmla="*/ 35112 h 90652"/>
                <a:gd name="connsiteX8" fmla="*/ 106073 w 154636"/>
                <a:gd name="connsiteY8" fmla="*/ 38304 h 90652"/>
                <a:gd name="connsiteX9" fmla="*/ 135466 w 154636"/>
                <a:gd name="connsiteY9" fmla="*/ 90653 h 90652"/>
                <a:gd name="connsiteX10" fmla="*/ 137384 w 154636"/>
                <a:gd name="connsiteY10" fmla="*/ 90014 h 90652"/>
                <a:gd name="connsiteX11" fmla="*/ 153358 w 154636"/>
                <a:gd name="connsiteY11" fmla="*/ 90014 h 90652"/>
                <a:gd name="connsiteX12" fmla="*/ 154636 w 154636"/>
                <a:gd name="connsiteY12" fmla="*/ 90014 h 90652"/>
                <a:gd name="connsiteX13" fmla="*/ 154636 w 154636"/>
                <a:gd name="connsiteY13" fmla="*/ 14683 h 90652"/>
                <a:gd name="connsiteX14" fmla="*/ 120770 w 154636"/>
                <a:gd name="connsiteY14" fmla="*/ 14683 h 90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4636" h="90652">
                  <a:moveTo>
                    <a:pt x="120770" y="15322"/>
                  </a:moveTo>
                  <a:cubicBezTo>
                    <a:pt x="120131" y="15322"/>
                    <a:pt x="119492" y="15322"/>
                    <a:pt x="118853" y="15322"/>
                  </a:cubicBezTo>
                  <a:lnTo>
                    <a:pt x="65817" y="0"/>
                  </a:lnTo>
                  <a:lnTo>
                    <a:pt x="4473" y="33197"/>
                  </a:lnTo>
                  <a:cubicBezTo>
                    <a:pt x="1917" y="35112"/>
                    <a:pt x="0" y="37666"/>
                    <a:pt x="0" y="40858"/>
                  </a:cubicBezTo>
                  <a:cubicBezTo>
                    <a:pt x="0" y="44050"/>
                    <a:pt x="1278" y="47242"/>
                    <a:pt x="3195" y="49157"/>
                  </a:cubicBezTo>
                  <a:cubicBezTo>
                    <a:pt x="4473" y="50434"/>
                    <a:pt x="6390" y="51072"/>
                    <a:pt x="8946" y="50434"/>
                  </a:cubicBezTo>
                  <a:lnTo>
                    <a:pt x="99683" y="35112"/>
                  </a:lnTo>
                  <a:cubicBezTo>
                    <a:pt x="102239" y="34474"/>
                    <a:pt x="104795" y="35751"/>
                    <a:pt x="106073" y="38304"/>
                  </a:cubicBezTo>
                  <a:lnTo>
                    <a:pt x="135466" y="90653"/>
                  </a:lnTo>
                  <a:cubicBezTo>
                    <a:pt x="136106" y="90653"/>
                    <a:pt x="136745" y="90014"/>
                    <a:pt x="137384" y="90014"/>
                  </a:cubicBezTo>
                  <a:lnTo>
                    <a:pt x="153358" y="90014"/>
                  </a:lnTo>
                  <a:cubicBezTo>
                    <a:pt x="153997" y="90014"/>
                    <a:pt x="154636" y="90014"/>
                    <a:pt x="154636" y="90014"/>
                  </a:cubicBezTo>
                  <a:lnTo>
                    <a:pt x="154636" y="14683"/>
                  </a:lnTo>
                  <a:lnTo>
                    <a:pt x="120770" y="14683"/>
                  </a:lnTo>
                  <a:close/>
                </a:path>
              </a:pathLst>
            </a:custGeom>
            <a:grpFill/>
            <a:ln w="6390" cap="flat">
              <a:noFill/>
              <a:prstDash val="solid"/>
              <a:miter/>
            </a:ln>
          </p:spPr>
          <p:txBody>
            <a:bodyPr rtlCol="0" anchor="ctr"/>
            <a:lstStyle/>
            <a:p>
              <a:endParaRPr lang="en-US"/>
            </a:p>
          </p:txBody>
        </p:sp>
        <p:sp>
          <p:nvSpPr>
            <p:cNvPr id="105" name="Graphic 4">
              <a:extLst>
                <a:ext uri="{FF2B5EF4-FFF2-40B4-BE49-F238E27FC236}">
                  <a16:creationId xmlns:a16="http://schemas.microsoft.com/office/drawing/2014/main" id="{7F428BAD-F18D-9024-ACB8-FF1C24E009ED}"/>
                </a:ext>
              </a:extLst>
            </p:cNvPr>
            <p:cNvSpPr/>
            <p:nvPr/>
          </p:nvSpPr>
          <p:spPr>
            <a:xfrm>
              <a:off x="7275582" y="4924128"/>
              <a:ext cx="169333" cy="123630"/>
            </a:xfrm>
            <a:custGeom>
              <a:avLst/>
              <a:gdLst>
                <a:gd name="connsiteX0" fmla="*/ 137384 w 169333"/>
                <a:gd name="connsiteY0" fmla="*/ 33197 h 123630"/>
                <a:gd name="connsiteX1" fmla="*/ 51119 w 169333"/>
                <a:gd name="connsiteY1" fmla="*/ 47880 h 123630"/>
                <a:gd name="connsiteX2" fmla="*/ 35145 w 169333"/>
                <a:gd name="connsiteY2" fmla="*/ 43411 h 123630"/>
                <a:gd name="connsiteX3" fmla="*/ 27477 w 169333"/>
                <a:gd name="connsiteY3" fmla="*/ 25536 h 123630"/>
                <a:gd name="connsiteX4" fmla="*/ 38340 w 169333"/>
                <a:gd name="connsiteY4" fmla="*/ 6384 h 123630"/>
                <a:gd name="connsiteX5" fmla="*/ 50481 w 169333"/>
                <a:gd name="connsiteY5" fmla="*/ 0 h 123630"/>
                <a:gd name="connsiteX6" fmla="*/ 0 w 169333"/>
                <a:gd name="connsiteY6" fmla="*/ 0 h 123630"/>
                <a:gd name="connsiteX7" fmla="*/ 0 w 169333"/>
                <a:gd name="connsiteY7" fmla="*/ 74693 h 123630"/>
                <a:gd name="connsiteX8" fmla="*/ 17253 w 169333"/>
                <a:gd name="connsiteY8" fmla="*/ 74693 h 123630"/>
                <a:gd name="connsiteX9" fmla="*/ 23004 w 169333"/>
                <a:gd name="connsiteY9" fmla="*/ 77885 h 123630"/>
                <a:gd name="connsiteX10" fmla="*/ 46647 w 169333"/>
                <a:gd name="connsiteY10" fmla="*/ 117465 h 123630"/>
                <a:gd name="connsiteX11" fmla="*/ 53676 w 169333"/>
                <a:gd name="connsiteY11" fmla="*/ 123211 h 123630"/>
                <a:gd name="connsiteX12" fmla="*/ 61343 w 169333"/>
                <a:gd name="connsiteY12" fmla="*/ 122573 h 123630"/>
                <a:gd name="connsiteX13" fmla="*/ 63899 w 169333"/>
                <a:gd name="connsiteY13" fmla="*/ 109805 h 123630"/>
                <a:gd name="connsiteX14" fmla="*/ 58148 w 169333"/>
                <a:gd name="connsiteY14" fmla="*/ 101505 h 123630"/>
                <a:gd name="connsiteX15" fmla="*/ 60066 w 169333"/>
                <a:gd name="connsiteY15" fmla="*/ 92568 h 123630"/>
                <a:gd name="connsiteX16" fmla="*/ 69012 w 169333"/>
                <a:gd name="connsiteY16" fmla="*/ 94483 h 123630"/>
                <a:gd name="connsiteX17" fmla="*/ 74763 w 169333"/>
                <a:gd name="connsiteY17" fmla="*/ 102782 h 123630"/>
                <a:gd name="connsiteX18" fmla="*/ 74763 w 169333"/>
                <a:gd name="connsiteY18" fmla="*/ 102782 h 123630"/>
                <a:gd name="connsiteX19" fmla="*/ 74763 w 169333"/>
                <a:gd name="connsiteY19" fmla="*/ 102782 h 123630"/>
                <a:gd name="connsiteX20" fmla="*/ 74763 w 169333"/>
                <a:gd name="connsiteY20" fmla="*/ 102782 h 123630"/>
                <a:gd name="connsiteX21" fmla="*/ 83708 w 169333"/>
                <a:gd name="connsiteY21" fmla="*/ 117465 h 123630"/>
                <a:gd name="connsiteX22" fmla="*/ 98405 w 169333"/>
                <a:gd name="connsiteY22" fmla="*/ 121296 h 123630"/>
                <a:gd name="connsiteX23" fmla="*/ 102239 w 169333"/>
                <a:gd name="connsiteY23" fmla="*/ 107251 h 123630"/>
                <a:gd name="connsiteX24" fmla="*/ 86903 w 169333"/>
                <a:gd name="connsiteY24" fmla="*/ 81715 h 123630"/>
                <a:gd name="connsiteX25" fmla="*/ 88820 w 169333"/>
                <a:gd name="connsiteY25" fmla="*/ 72777 h 123630"/>
                <a:gd name="connsiteX26" fmla="*/ 97766 w 169333"/>
                <a:gd name="connsiteY26" fmla="*/ 74693 h 123630"/>
                <a:gd name="connsiteX27" fmla="*/ 99683 w 169333"/>
                <a:gd name="connsiteY27" fmla="*/ 78523 h 123630"/>
                <a:gd name="connsiteX28" fmla="*/ 100322 w 169333"/>
                <a:gd name="connsiteY28" fmla="*/ 79161 h 123630"/>
                <a:gd name="connsiteX29" fmla="*/ 112463 w 169333"/>
                <a:gd name="connsiteY29" fmla="*/ 100229 h 123630"/>
                <a:gd name="connsiteX30" fmla="*/ 112463 w 169333"/>
                <a:gd name="connsiteY30" fmla="*/ 100867 h 123630"/>
                <a:gd name="connsiteX31" fmla="*/ 121409 w 169333"/>
                <a:gd name="connsiteY31" fmla="*/ 115550 h 123630"/>
                <a:gd name="connsiteX32" fmla="*/ 136106 w 169333"/>
                <a:gd name="connsiteY32" fmla="*/ 119381 h 123630"/>
                <a:gd name="connsiteX33" fmla="*/ 138662 w 169333"/>
                <a:gd name="connsiteY33" fmla="*/ 105336 h 123630"/>
                <a:gd name="connsiteX34" fmla="*/ 113102 w 169333"/>
                <a:gd name="connsiteY34" fmla="*/ 61925 h 123630"/>
                <a:gd name="connsiteX35" fmla="*/ 115658 w 169333"/>
                <a:gd name="connsiteY35" fmla="*/ 52987 h 123630"/>
                <a:gd name="connsiteX36" fmla="*/ 124604 w 169333"/>
                <a:gd name="connsiteY36" fmla="*/ 55541 h 123630"/>
                <a:gd name="connsiteX37" fmla="*/ 150164 w 169333"/>
                <a:gd name="connsiteY37" fmla="*/ 98952 h 123630"/>
                <a:gd name="connsiteX38" fmla="*/ 156553 w 169333"/>
                <a:gd name="connsiteY38" fmla="*/ 104059 h 123630"/>
                <a:gd name="connsiteX39" fmla="*/ 164222 w 169333"/>
                <a:gd name="connsiteY39" fmla="*/ 102782 h 123630"/>
                <a:gd name="connsiteX40" fmla="*/ 168056 w 169333"/>
                <a:gd name="connsiteY40" fmla="*/ 88099 h 123630"/>
                <a:gd name="connsiteX41" fmla="*/ 137384 w 169333"/>
                <a:gd name="connsiteY41" fmla="*/ 33197 h 12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9333" h="123630">
                  <a:moveTo>
                    <a:pt x="137384" y="33197"/>
                  </a:moveTo>
                  <a:lnTo>
                    <a:pt x="51119" y="47880"/>
                  </a:lnTo>
                  <a:cubicBezTo>
                    <a:pt x="44730" y="48518"/>
                    <a:pt x="39618" y="47241"/>
                    <a:pt x="35145" y="43411"/>
                  </a:cubicBezTo>
                  <a:cubicBezTo>
                    <a:pt x="30033" y="38942"/>
                    <a:pt x="27477" y="32558"/>
                    <a:pt x="27477" y="25536"/>
                  </a:cubicBezTo>
                  <a:cubicBezTo>
                    <a:pt x="27477" y="17875"/>
                    <a:pt x="31950" y="10853"/>
                    <a:pt x="38340" y="6384"/>
                  </a:cubicBezTo>
                  <a:lnTo>
                    <a:pt x="50481" y="0"/>
                  </a:lnTo>
                  <a:lnTo>
                    <a:pt x="0" y="0"/>
                  </a:lnTo>
                  <a:lnTo>
                    <a:pt x="0" y="74693"/>
                  </a:lnTo>
                  <a:lnTo>
                    <a:pt x="17253" y="74693"/>
                  </a:lnTo>
                  <a:cubicBezTo>
                    <a:pt x="19809" y="74693"/>
                    <a:pt x="21726" y="75969"/>
                    <a:pt x="23004" y="77885"/>
                  </a:cubicBezTo>
                  <a:lnTo>
                    <a:pt x="46647" y="117465"/>
                  </a:lnTo>
                  <a:cubicBezTo>
                    <a:pt x="47925" y="120019"/>
                    <a:pt x="50481" y="121934"/>
                    <a:pt x="53676" y="123211"/>
                  </a:cubicBezTo>
                  <a:cubicBezTo>
                    <a:pt x="56232" y="123849"/>
                    <a:pt x="58788" y="123849"/>
                    <a:pt x="61343" y="122573"/>
                  </a:cubicBezTo>
                  <a:cubicBezTo>
                    <a:pt x="67094" y="119381"/>
                    <a:pt x="66456" y="113635"/>
                    <a:pt x="63899" y="109805"/>
                  </a:cubicBezTo>
                  <a:lnTo>
                    <a:pt x="58148" y="101505"/>
                  </a:lnTo>
                  <a:cubicBezTo>
                    <a:pt x="56232" y="98313"/>
                    <a:pt x="56871" y="94483"/>
                    <a:pt x="60066" y="92568"/>
                  </a:cubicBezTo>
                  <a:cubicBezTo>
                    <a:pt x="63261" y="90653"/>
                    <a:pt x="67094" y="91291"/>
                    <a:pt x="69012" y="94483"/>
                  </a:cubicBezTo>
                  <a:lnTo>
                    <a:pt x="74763" y="102782"/>
                  </a:lnTo>
                  <a:cubicBezTo>
                    <a:pt x="74763" y="102782"/>
                    <a:pt x="74763" y="102782"/>
                    <a:pt x="74763" y="102782"/>
                  </a:cubicBezTo>
                  <a:cubicBezTo>
                    <a:pt x="74763" y="102782"/>
                    <a:pt x="74763" y="102782"/>
                    <a:pt x="74763" y="102782"/>
                  </a:cubicBezTo>
                  <a:cubicBezTo>
                    <a:pt x="74763" y="102782"/>
                    <a:pt x="74763" y="102782"/>
                    <a:pt x="74763" y="102782"/>
                  </a:cubicBezTo>
                  <a:lnTo>
                    <a:pt x="83708" y="117465"/>
                  </a:lnTo>
                  <a:cubicBezTo>
                    <a:pt x="86903" y="122573"/>
                    <a:pt x="93293" y="123849"/>
                    <a:pt x="98405" y="121296"/>
                  </a:cubicBezTo>
                  <a:cubicBezTo>
                    <a:pt x="103517" y="118104"/>
                    <a:pt x="104795" y="112358"/>
                    <a:pt x="102239" y="107251"/>
                  </a:cubicBezTo>
                  <a:lnTo>
                    <a:pt x="86903" y="81715"/>
                  </a:lnTo>
                  <a:cubicBezTo>
                    <a:pt x="84986" y="78523"/>
                    <a:pt x="86264" y="74693"/>
                    <a:pt x="88820" y="72777"/>
                  </a:cubicBezTo>
                  <a:cubicBezTo>
                    <a:pt x="92015" y="70862"/>
                    <a:pt x="95849" y="72139"/>
                    <a:pt x="97766" y="74693"/>
                  </a:cubicBezTo>
                  <a:lnTo>
                    <a:pt x="99683" y="78523"/>
                  </a:lnTo>
                  <a:cubicBezTo>
                    <a:pt x="99683" y="78523"/>
                    <a:pt x="100322" y="79161"/>
                    <a:pt x="100322" y="79161"/>
                  </a:cubicBezTo>
                  <a:lnTo>
                    <a:pt x="112463" y="100229"/>
                  </a:lnTo>
                  <a:cubicBezTo>
                    <a:pt x="112463" y="100229"/>
                    <a:pt x="112463" y="100229"/>
                    <a:pt x="112463" y="100867"/>
                  </a:cubicBezTo>
                  <a:lnTo>
                    <a:pt x="121409" y="115550"/>
                  </a:lnTo>
                  <a:cubicBezTo>
                    <a:pt x="124604" y="120657"/>
                    <a:pt x="130994" y="122573"/>
                    <a:pt x="136106" y="119381"/>
                  </a:cubicBezTo>
                  <a:cubicBezTo>
                    <a:pt x="141857" y="116189"/>
                    <a:pt x="141217" y="109805"/>
                    <a:pt x="138662" y="105336"/>
                  </a:cubicBezTo>
                  <a:lnTo>
                    <a:pt x="113102" y="61925"/>
                  </a:lnTo>
                  <a:cubicBezTo>
                    <a:pt x="111185" y="58733"/>
                    <a:pt x="112463" y="54902"/>
                    <a:pt x="115658" y="52987"/>
                  </a:cubicBezTo>
                  <a:cubicBezTo>
                    <a:pt x="118853" y="51072"/>
                    <a:pt x="122687" y="52349"/>
                    <a:pt x="124604" y="55541"/>
                  </a:cubicBezTo>
                  <a:lnTo>
                    <a:pt x="150164" y="98952"/>
                  </a:lnTo>
                  <a:cubicBezTo>
                    <a:pt x="151442" y="101505"/>
                    <a:pt x="153997" y="102782"/>
                    <a:pt x="156553" y="104059"/>
                  </a:cubicBezTo>
                  <a:cubicBezTo>
                    <a:pt x="159110" y="104697"/>
                    <a:pt x="162305" y="104059"/>
                    <a:pt x="164222" y="102782"/>
                  </a:cubicBezTo>
                  <a:cubicBezTo>
                    <a:pt x="169333" y="99590"/>
                    <a:pt x="170612" y="93206"/>
                    <a:pt x="168056" y="88099"/>
                  </a:cubicBezTo>
                  <a:lnTo>
                    <a:pt x="137384" y="33197"/>
                  </a:lnTo>
                  <a:close/>
                </a:path>
              </a:pathLst>
            </a:custGeom>
            <a:grpFill/>
            <a:ln w="6390" cap="flat">
              <a:noFill/>
              <a:prstDash val="solid"/>
              <a:miter/>
            </a:ln>
          </p:spPr>
          <p:txBody>
            <a:bodyPr rtlCol="0" anchor="ctr"/>
            <a:lstStyle/>
            <a:p>
              <a:endParaRPr lang="en-US"/>
            </a:p>
          </p:txBody>
        </p:sp>
        <p:sp>
          <p:nvSpPr>
            <p:cNvPr id="106" name="Graphic 4">
              <a:extLst>
                <a:ext uri="{FF2B5EF4-FFF2-40B4-BE49-F238E27FC236}">
                  <a16:creationId xmlns:a16="http://schemas.microsoft.com/office/drawing/2014/main" id="{90A37AEC-260D-2971-617B-6A02CF24E9BF}"/>
                </a:ext>
              </a:extLst>
            </p:cNvPr>
            <p:cNvSpPr/>
            <p:nvPr/>
          </p:nvSpPr>
          <p:spPr>
            <a:xfrm>
              <a:off x="7192513" y="4792617"/>
              <a:ext cx="361674" cy="361333"/>
            </a:xfrm>
            <a:custGeom>
              <a:avLst/>
              <a:gdLst>
                <a:gd name="connsiteX0" fmla="*/ 180836 w 361674"/>
                <a:gd name="connsiteY0" fmla="*/ 0 h 361333"/>
                <a:gd name="connsiteX1" fmla="*/ 0 w 361674"/>
                <a:gd name="connsiteY1" fmla="*/ 180667 h 361333"/>
                <a:gd name="connsiteX2" fmla="*/ 180836 w 361674"/>
                <a:gd name="connsiteY2" fmla="*/ 361334 h 361333"/>
                <a:gd name="connsiteX3" fmla="*/ 361670 w 361674"/>
                <a:gd name="connsiteY3" fmla="*/ 180667 h 361333"/>
                <a:gd name="connsiteX4" fmla="*/ 180836 w 361674"/>
                <a:gd name="connsiteY4" fmla="*/ 0 h 361333"/>
                <a:gd name="connsiteX5" fmla="*/ 292659 w 361674"/>
                <a:gd name="connsiteY5" fmla="*/ 222163 h 361333"/>
                <a:gd name="connsiteX6" fmla="*/ 299049 w 361674"/>
                <a:gd name="connsiteY6" fmla="*/ 228547 h 361333"/>
                <a:gd name="connsiteX7" fmla="*/ 292659 w 361674"/>
                <a:gd name="connsiteY7" fmla="*/ 234931 h 361333"/>
                <a:gd name="connsiteX8" fmla="*/ 284991 w 361674"/>
                <a:gd name="connsiteY8" fmla="*/ 234931 h 361333"/>
                <a:gd name="connsiteX9" fmla="*/ 278601 w 361674"/>
                <a:gd name="connsiteY9" fmla="*/ 228547 h 361333"/>
                <a:gd name="connsiteX10" fmla="*/ 278601 w 361674"/>
                <a:gd name="connsiteY10" fmla="*/ 218971 h 361333"/>
                <a:gd name="connsiteX11" fmla="*/ 277323 w 361674"/>
                <a:gd name="connsiteY11" fmla="*/ 218971 h 361333"/>
                <a:gd name="connsiteX12" fmla="*/ 265821 w 361674"/>
                <a:gd name="connsiteY12" fmla="*/ 218971 h 361333"/>
                <a:gd name="connsiteX13" fmla="*/ 255597 w 361674"/>
                <a:gd name="connsiteY13" fmla="*/ 245145 h 361333"/>
                <a:gd name="connsiteX14" fmla="*/ 243456 w 361674"/>
                <a:gd name="connsiteY14" fmla="*/ 248337 h 361333"/>
                <a:gd name="connsiteX15" fmla="*/ 237706 w 361674"/>
                <a:gd name="connsiteY15" fmla="*/ 247699 h 361333"/>
                <a:gd name="connsiteX16" fmla="*/ 237706 w 361674"/>
                <a:gd name="connsiteY16" fmla="*/ 247699 h 361333"/>
                <a:gd name="connsiteX17" fmla="*/ 227482 w 361674"/>
                <a:gd name="connsiteY17" fmla="*/ 261743 h 361333"/>
                <a:gd name="connsiteX18" fmla="*/ 215980 w 361674"/>
                <a:gd name="connsiteY18" fmla="*/ 264935 h 361333"/>
                <a:gd name="connsiteX19" fmla="*/ 197449 w 361674"/>
                <a:gd name="connsiteY19" fmla="*/ 255998 h 361333"/>
                <a:gd name="connsiteX20" fmla="*/ 189782 w 361674"/>
                <a:gd name="connsiteY20" fmla="*/ 263659 h 361333"/>
                <a:gd name="connsiteX21" fmla="*/ 177641 w 361674"/>
                <a:gd name="connsiteY21" fmla="*/ 266851 h 361333"/>
                <a:gd name="connsiteX22" fmla="*/ 159748 w 361674"/>
                <a:gd name="connsiteY22" fmla="*/ 258551 h 361333"/>
                <a:gd name="connsiteX23" fmla="*/ 152720 w 361674"/>
                <a:gd name="connsiteY23" fmla="*/ 264935 h 361333"/>
                <a:gd name="connsiteX24" fmla="*/ 141857 w 361674"/>
                <a:gd name="connsiteY24" fmla="*/ 268127 h 361333"/>
                <a:gd name="connsiteX25" fmla="*/ 134828 w 361674"/>
                <a:gd name="connsiteY25" fmla="*/ 266851 h 361333"/>
                <a:gd name="connsiteX26" fmla="*/ 120770 w 361674"/>
                <a:gd name="connsiteY26" fmla="*/ 255998 h 361333"/>
                <a:gd name="connsiteX27" fmla="*/ 98405 w 361674"/>
                <a:gd name="connsiteY27" fmla="*/ 218971 h 361333"/>
                <a:gd name="connsiteX28" fmla="*/ 84348 w 361674"/>
                <a:gd name="connsiteY28" fmla="*/ 218971 h 361333"/>
                <a:gd name="connsiteX29" fmla="*/ 84348 w 361674"/>
                <a:gd name="connsiteY29" fmla="*/ 228547 h 361333"/>
                <a:gd name="connsiteX30" fmla="*/ 77958 w 361674"/>
                <a:gd name="connsiteY30" fmla="*/ 234931 h 361333"/>
                <a:gd name="connsiteX31" fmla="*/ 70289 w 361674"/>
                <a:gd name="connsiteY31" fmla="*/ 234931 h 361333"/>
                <a:gd name="connsiteX32" fmla="*/ 63899 w 361674"/>
                <a:gd name="connsiteY32" fmla="*/ 228547 h 361333"/>
                <a:gd name="connsiteX33" fmla="*/ 70289 w 361674"/>
                <a:gd name="connsiteY33" fmla="*/ 222163 h 361333"/>
                <a:gd name="connsiteX34" fmla="*/ 71568 w 361674"/>
                <a:gd name="connsiteY34" fmla="*/ 222163 h 361333"/>
                <a:gd name="connsiteX35" fmla="*/ 71568 w 361674"/>
                <a:gd name="connsiteY35" fmla="*/ 107251 h 361333"/>
                <a:gd name="connsiteX36" fmla="*/ 70289 w 361674"/>
                <a:gd name="connsiteY36" fmla="*/ 107251 h 361333"/>
                <a:gd name="connsiteX37" fmla="*/ 63899 w 361674"/>
                <a:gd name="connsiteY37" fmla="*/ 100867 h 361333"/>
                <a:gd name="connsiteX38" fmla="*/ 70289 w 361674"/>
                <a:gd name="connsiteY38" fmla="*/ 94483 h 361333"/>
                <a:gd name="connsiteX39" fmla="*/ 77958 w 361674"/>
                <a:gd name="connsiteY39" fmla="*/ 94483 h 361333"/>
                <a:gd name="connsiteX40" fmla="*/ 84348 w 361674"/>
                <a:gd name="connsiteY40" fmla="*/ 100867 h 361333"/>
                <a:gd name="connsiteX41" fmla="*/ 84348 w 361674"/>
                <a:gd name="connsiteY41" fmla="*/ 118104 h 361333"/>
                <a:gd name="connsiteX42" fmla="*/ 157832 w 361674"/>
                <a:gd name="connsiteY42" fmla="*/ 118104 h 361333"/>
                <a:gd name="connsiteX43" fmla="*/ 158471 w 361674"/>
                <a:gd name="connsiteY43" fmla="*/ 118104 h 361333"/>
                <a:gd name="connsiteX44" fmla="*/ 186587 w 361674"/>
                <a:gd name="connsiteY44" fmla="*/ 102782 h 361333"/>
                <a:gd name="connsiteX45" fmla="*/ 191059 w 361674"/>
                <a:gd name="connsiteY45" fmla="*/ 102144 h 361333"/>
                <a:gd name="connsiteX46" fmla="*/ 246013 w 361674"/>
                <a:gd name="connsiteY46" fmla="*/ 118104 h 361333"/>
                <a:gd name="connsiteX47" fmla="*/ 278601 w 361674"/>
                <a:gd name="connsiteY47" fmla="*/ 118104 h 361333"/>
                <a:gd name="connsiteX48" fmla="*/ 278601 w 361674"/>
                <a:gd name="connsiteY48" fmla="*/ 100867 h 361333"/>
                <a:gd name="connsiteX49" fmla="*/ 284991 w 361674"/>
                <a:gd name="connsiteY49" fmla="*/ 94483 h 361333"/>
                <a:gd name="connsiteX50" fmla="*/ 292659 w 361674"/>
                <a:gd name="connsiteY50" fmla="*/ 94483 h 361333"/>
                <a:gd name="connsiteX51" fmla="*/ 299049 w 361674"/>
                <a:gd name="connsiteY51" fmla="*/ 100867 h 361333"/>
                <a:gd name="connsiteX52" fmla="*/ 292659 w 361674"/>
                <a:gd name="connsiteY52" fmla="*/ 107251 h 361333"/>
                <a:gd name="connsiteX53" fmla="*/ 291381 w 361674"/>
                <a:gd name="connsiteY53" fmla="*/ 107251 h 361333"/>
                <a:gd name="connsiteX54" fmla="*/ 291381 w 361674"/>
                <a:gd name="connsiteY54" fmla="*/ 222163 h 361333"/>
                <a:gd name="connsiteX55" fmla="*/ 292659 w 361674"/>
                <a:gd name="connsiteY55" fmla="*/ 22216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61674" h="361333">
                  <a:moveTo>
                    <a:pt x="180836" y="0"/>
                  </a:moveTo>
                  <a:cubicBezTo>
                    <a:pt x="80513" y="0"/>
                    <a:pt x="0" y="81077"/>
                    <a:pt x="0" y="180667"/>
                  </a:cubicBezTo>
                  <a:cubicBezTo>
                    <a:pt x="0" y="280895"/>
                    <a:pt x="81153" y="361334"/>
                    <a:pt x="180836" y="361334"/>
                  </a:cubicBezTo>
                  <a:cubicBezTo>
                    <a:pt x="280518" y="361334"/>
                    <a:pt x="361670" y="280257"/>
                    <a:pt x="361670" y="180667"/>
                  </a:cubicBezTo>
                  <a:cubicBezTo>
                    <a:pt x="362310" y="81077"/>
                    <a:pt x="281157" y="0"/>
                    <a:pt x="180836" y="0"/>
                  </a:cubicBezTo>
                  <a:close/>
                  <a:moveTo>
                    <a:pt x="292659" y="222163"/>
                  </a:moveTo>
                  <a:cubicBezTo>
                    <a:pt x="296493" y="222163"/>
                    <a:pt x="299049" y="224716"/>
                    <a:pt x="299049" y="228547"/>
                  </a:cubicBezTo>
                  <a:cubicBezTo>
                    <a:pt x="299049" y="232377"/>
                    <a:pt x="296493" y="234931"/>
                    <a:pt x="292659" y="234931"/>
                  </a:cubicBezTo>
                  <a:lnTo>
                    <a:pt x="284991" y="234931"/>
                  </a:lnTo>
                  <a:cubicBezTo>
                    <a:pt x="281157" y="234931"/>
                    <a:pt x="278601" y="232377"/>
                    <a:pt x="278601" y="228547"/>
                  </a:cubicBezTo>
                  <a:lnTo>
                    <a:pt x="278601" y="218971"/>
                  </a:lnTo>
                  <a:cubicBezTo>
                    <a:pt x="277962" y="218971"/>
                    <a:pt x="277323" y="218971"/>
                    <a:pt x="277323" y="218971"/>
                  </a:cubicBezTo>
                  <a:lnTo>
                    <a:pt x="265821" y="218971"/>
                  </a:lnTo>
                  <a:cubicBezTo>
                    <a:pt x="268377" y="228547"/>
                    <a:pt x="264544" y="239399"/>
                    <a:pt x="255597" y="245145"/>
                  </a:cubicBezTo>
                  <a:cubicBezTo>
                    <a:pt x="251764" y="247060"/>
                    <a:pt x="247930" y="248337"/>
                    <a:pt x="243456" y="248337"/>
                  </a:cubicBezTo>
                  <a:cubicBezTo>
                    <a:pt x="241540" y="248337"/>
                    <a:pt x="239623" y="248337"/>
                    <a:pt x="237706" y="247699"/>
                  </a:cubicBezTo>
                  <a:cubicBezTo>
                    <a:pt x="237706" y="247699"/>
                    <a:pt x="237706" y="247699"/>
                    <a:pt x="237706" y="247699"/>
                  </a:cubicBezTo>
                  <a:cubicBezTo>
                    <a:pt x="236428" y="253444"/>
                    <a:pt x="233233" y="258551"/>
                    <a:pt x="227482" y="261743"/>
                  </a:cubicBezTo>
                  <a:cubicBezTo>
                    <a:pt x="223648" y="263659"/>
                    <a:pt x="219814" y="264935"/>
                    <a:pt x="215980" y="264935"/>
                  </a:cubicBezTo>
                  <a:cubicBezTo>
                    <a:pt x="208951" y="264935"/>
                    <a:pt x="201922" y="261743"/>
                    <a:pt x="197449" y="255998"/>
                  </a:cubicBezTo>
                  <a:cubicBezTo>
                    <a:pt x="195532" y="259190"/>
                    <a:pt x="192977" y="261743"/>
                    <a:pt x="189782" y="263659"/>
                  </a:cubicBezTo>
                  <a:cubicBezTo>
                    <a:pt x="185947" y="265574"/>
                    <a:pt x="182113" y="266851"/>
                    <a:pt x="177641" y="266851"/>
                  </a:cubicBezTo>
                  <a:cubicBezTo>
                    <a:pt x="170612" y="266851"/>
                    <a:pt x="164222" y="263659"/>
                    <a:pt x="159748" y="258551"/>
                  </a:cubicBezTo>
                  <a:cubicBezTo>
                    <a:pt x="157832" y="261105"/>
                    <a:pt x="155915" y="263020"/>
                    <a:pt x="152720" y="264935"/>
                  </a:cubicBezTo>
                  <a:cubicBezTo>
                    <a:pt x="149525" y="266851"/>
                    <a:pt x="145691" y="268127"/>
                    <a:pt x="141857" y="268127"/>
                  </a:cubicBezTo>
                  <a:cubicBezTo>
                    <a:pt x="139301" y="268127"/>
                    <a:pt x="137384" y="267489"/>
                    <a:pt x="134828" y="266851"/>
                  </a:cubicBezTo>
                  <a:cubicBezTo>
                    <a:pt x="129077" y="264935"/>
                    <a:pt x="123965" y="261105"/>
                    <a:pt x="120770" y="255998"/>
                  </a:cubicBezTo>
                  <a:lnTo>
                    <a:pt x="98405" y="218971"/>
                  </a:lnTo>
                  <a:lnTo>
                    <a:pt x="84348" y="218971"/>
                  </a:lnTo>
                  <a:lnTo>
                    <a:pt x="84348" y="228547"/>
                  </a:lnTo>
                  <a:cubicBezTo>
                    <a:pt x="84348" y="232377"/>
                    <a:pt x="81792" y="234931"/>
                    <a:pt x="77958" y="234931"/>
                  </a:cubicBezTo>
                  <a:lnTo>
                    <a:pt x="70289" y="234931"/>
                  </a:lnTo>
                  <a:cubicBezTo>
                    <a:pt x="66456" y="234931"/>
                    <a:pt x="63899" y="232377"/>
                    <a:pt x="63899" y="228547"/>
                  </a:cubicBezTo>
                  <a:cubicBezTo>
                    <a:pt x="63899" y="224716"/>
                    <a:pt x="66456" y="222163"/>
                    <a:pt x="70289" y="222163"/>
                  </a:cubicBezTo>
                  <a:lnTo>
                    <a:pt x="71568" y="222163"/>
                  </a:lnTo>
                  <a:lnTo>
                    <a:pt x="71568" y="107251"/>
                  </a:lnTo>
                  <a:lnTo>
                    <a:pt x="70289" y="107251"/>
                  </a:lnTo>
                  <a:cubicBezTo>
                    <a:pt x="66456" y="107251"/>
                    <a:pt x="63899" y="104697"/>
                    <a:pt x="63899" y="100867"/>
                  </a:cubicBezTo>
                  <a:cubicBezTo>
                    <a:pt x="63899" y="97037"/>
                    <a:pt x="66456" y="94483"/>
                    <a:pt x="70289" y="94483"/>
                  </a:cubicBezTo>
                  <a:lnTo>
                    <a:pt x="77958" y="94483"/>
                  </a:lnTo>
                  <a:cubicBezTo>
                    <a:pt x="81792" y="94483"/>
                    <a:pt x="84348" y="97037"/>
                    <a:pt x="84348" y="100867"/>
                  </a:cubicBezTo>
                  <a:lnTo>
                    <a:pt x="84348" y="118104"/>
                  </a:lnTo>
                  <a:lnTo>
                    <a:pt x="157832" y="118104"/>
                  </a:lnTo>
                  <a:cubicBezTo>
                    <a:pt x="157832" y="118104"/>
                    <a:pt x="158471" y="118104"/>
                    <a:pt x="158471" y="118104"/>
                  </a:cubicBezTo>
                  <a:lnTo>
                    <a:pt x="186587" y="102782"/>
                  </a:lnTo>
                  <a:cubicBezTo>
                    <a:pt x="187864" y="102144"/>
                    <a:pt x="189782" y="101505"/>
                    <a:pt x="191059" y="102144"/>
                  </a:cubicBezTo>
                  <a:lnTo>
                    <a:pt x="246013" y="118104"/>
                  </a:lnTo>
                  <a:lnTo>
                    <a:pt x="278601" y="118104"/>
                  </a:lnTo>
                  <a:lnTo>
                    <a:pt x="278601" y="100867"/>
                  </a:lnTo>
                  <a:cubicBezTo>
                    <a:pt x="278601" y="97037"/>
                    <a:pt x="281157" y="94483"/>
                    <a:pt x="284991" y="94483"/>
                  </a:cubicBezTo>
                  <a:lnTo>
                    <a:pt x="292659" y="94483"/>
                  </a:lnTo>
                  <a:cubicBezTo>
                    <a:pt x="296493" y="94483"/>
                    <a:pt x="299049" y="97037"/>
                    <a:pt x="299049" y="100867"/>
                  </a:cubicBezTo>
                  <a:cubicBezTo>
                    <a:pt x="299049" y="104697"/>
                    <a:pt x="296493" y="107251"/>
                    <a:pt x="292659" y="107251"/>
                  </a:cubicBezTo>
                  <a:lnTo>
                    <a:pt x="291381" y="107251"/>
                  </a:lnTo>
                  <a:lnTo>
                    <a:pt x="291381" y="222163"/>
                  </a:lnTo>
                  <a:lnTo>
                    <a:pt x="292659" y="222163"/>
                  </a:lnTo>
                  <a:close/>
                </a:path>
              </a:pathLst>
            </a:custGeom>
            <a:grpFill/>
            <a:ln w="6390" cap="flat">
              <a:noFill/>
              <a:prstDash val="solid"/>
              <a:miter/>
            </a:ln>
          </p:spPr>
          <p:txBody>
            <a:bodyPr rtlCol="0" anchor="ctr"/>
            <a:lstStyle/>
            <a:p>
              <a:endParaRPr lang="en-US"/>
            </a:p>
          </p:txBody>
        </p:sp>
      </p:grpSp>
      <p:grpSp>
        <p:nvGrpSpPr>
          <p:cNvPr id="107" name="Graphic 4">
            <a:extLst>
              <a:ext uri="{FF2B5EF4-FFF2-40B4-BE49-F238E27FC236}">
                <a16:creationId xmlns:a16="http://schemas.microsoft.com/office/drawing/2014/main" id="{21CD31BA-0E66-E7FE-C099-64E3C66C23E3}"/>
              </a:ext>
            </a:extLst>
          </p:cNvPr>
          <p:cNvGrpSpPr>
            <a:grpSpLocks noChangeAspect="1"/>
          </p:cNvGrpSpPr>
          <p:nvPr/>
        </p:nvGrpSpPr>
        <p:grpSpPr>
          <a:xfrm>
            <a:off x="472990" y="5658319"/>
            <a:ext cx="432403" cy="432000"/>
            <a:chOff x="2998797" y="2855717"/>
            <a:chExt cx="361670" cy="361333"/>
          </a:xfrm>
          <a:solidFill>
            <a:schemeClr val="accent5"/>
          </a:solidFill>
        </p:grpSpPr>
        <p:sp>
          <p:nvSpPr>
            <p:cNvPr id="108" name="Graphic 4">
              <a:extLst>
                <a:ext uri="{FF2B5EF4-FFF2-40B4-BE49-F238E27FC236}">
                  <a16:creationId xmlns:a16="http://schemas.microsoft.com/office/drawing/2014/main" id="{863C8820-DEE0-6882-33DE-D7EB689AEDFA}"/>
                </a:ext>
              </a:extLst>
            </p:cNvPr>
            <p:cNvSpPr/>
            <p:nvPr/>
          </p:nvSpPr>
          <p:spPr>
            <a:xfrm>
              <a:off x="3096563" y="3092563"/>
              <a:ext cx="164860" cy="39580"/>
            </a:xfrm>
            <a:custGeom>
              <a:avLst/>
              <a:gdLst>
                <a:gd name="connsiteX0" fmla="*/ 113741 w 164860"/>
                <a:gd name="connsiteY0" fmla="*/ 8299 h 39580"/>
                <a:gd name="connsiteX1" fmla="*/ 47925 w 164860"/>
                <a:gd name="connsiteY1" fmla="*/ 8938 h 39580"/>
                <a:gd name="connsiteX2" fmla="*/ 15975 w 164860"/>
                <a:gd name="connsiteY2" fmla="*/ 0 h 39580"/>
                <a:gd name="connsiteX3" fmla="*/ 14697 w 164860"/>
                <a:gd name="connsiteY3" fmla="*/ 0 h 39580"/>
                <a:gd name="connsiteX4" fmla="*/ 0 w 164860"/>
                <a:gd name="connsiteY4" fmla="*/ 39581 h 39580"/>
                <a:gd name="connsiteX5" fmla="*/ 0 w 164860"/>
                <a:gd name="connsiteY5" fmla="*/ 39581 h 39580"/>
                <a:gd name="connsiteX6" fmla="*/ 39617 w 164860"/>
                <a:gd name="connsiteY6" fmla="*/ 20429 h 39580"/>
                <a:gd name="connsiteX7" fmla="*/ 77957 w 164860"/>
                <a:gd name="connsiteY7" fmla="*/ 39581 h 39580"/>
                <a:gd name="connsiteX8" fmla="*/ 88820 w 164860"/>
                <a:gd name="connsiteY8" fmla="*/ 39581 h 39580"/>
                <a:gd name="connsiteX9" fmla="*/ 127799 w 164860"/>
                <a:gd name="connsiteY9" fmla="*/ 21067 h 39580"/>
                <a:gd name="connsiteX10" fmla="*/ 164860 w 164860"/>
                <a:gd name="connsiteY10" fmla="*/ 39581 h 39580"/>
                <a:gd name="connsiteX11" fmla="*/ 164860 w 164860"/>
                <a:gd name="connsiteY11" fmla="*/ 39581 h 39580"/>
                <a:gd name="connsiteX12" fmla="*/ 150803 w 164860"/>
                <a:gd name="connsiteY12" fmla="*/ 638 h 39580"/>
                <a:gd name="connsiteX13" fmla="*/ 113741 w 164860"/>
                <a:gd name="connsiteY13" fmla="*/ 8299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860" h="39580">
                  <a:moveTo>
                    <a:pt x="113741" y="8299"/>
                  </a:moveTo>
                  <a:cubicBezTo>
                    <a:pt x="92654" y="10214"/>
                    <a:pt x="63260" y="10853"/>
                    <a:pt x="47925" y="8938"/>
                  </a:cubicBezTo>
                  <a:cubicBezTo>
                    <a:pt x="36423" y="7022"/>
                    <a:pt x="25560" y="5107"/>
                    <a:pt x="15975" y="0"/>
                  </a:cubicBezTo>
                  <a:cubicBezTo>
                    <a:pt x="15336" y="0"/>
                    <a:pt x="15336" y="0"/>
                    <a:pt x="14697" y="0"/>
                  </a:cubicBezTo>
                  <a:lnTo>
                    <a:pt x="0" y="39581"/>
                  </a:lnTo>
                  <a:lnTo>
                    <a:pt x="0" y="39581"/>
                  </a:lnTo>
                  <a:cubicBezTo>
                    <a:pt x="5112" y="33835"/>
                    <a:pt x="19809" y="20429"/>
                    <a:pt x="39617" y="20429"/>
                  </a:cubicBezTo>
                  <a:cubicBezTo>
                    <a:pt x="59426" y="20429"/>
                    <a:pt x="72845" y="33835"/>
                    <a:pt x="77957" y="39581"/>
                  </a:cubicBezTo>
                  <a:lnTo>
                    <a:pt x="88820" y="39581"/>
                  </a:lnTo>
                  <a:cubicBezTo>
                    <a:pt x="93932" y="33835"/>
                    <a:pt x="108629" y="21067"/>
                    <a:pt x="127799" y="21067"/>
                  </a:cubicBezTo>
                  <a:cubicBezTo>
                    <a:pt x="146330" y="21067"/>
                    <a:pt x="159748" y="33835"/>
                    <a:pt x="164860" y="39581"/>
                  </a:cubicBezTo>
                  <a:lnTo>
                    <a:pt x="164860" y="39581"/>
                  </a:lnTo>
                  <a:lnTo>
                    <a:pt x="150803" y="638"/>
                  </a:lnTo>
                  <a:cubicBezTo>
                    <a:pt x="143774" y="3192"/>
                    <a:pt x="127799" y="7022"/>
                    <a:pt x="113741" y="8299"/>
                  </a:cubicBezTo>
                  <a:close/>
                </a:path>
              </a:pathLst>
            </a:custGeom>
            <a:grpFill/>
            <a:ln w="6390" cap="flat">
              <a:noFill/>
              <a:prstDash val="solid"/>
              <a:miter/>
            </a:ln>
          </p:spPr>
          <p:txBody>
            <a:bodyPr rtlCol="0" anchor="ctr"/>
            <a:lstStyle/>
            <a:p>
              <a:endParaRPr lang="en-US"/>
            </a:p>
          </p:txBody>
        </p:sp>
        <p:sp>
          <p:nvSpPr>
            <p:cNvPr id="109" name="Graphic 4">
              <a:extLst>
                <a:ext uri="{FF2B5EF4-FFF2-40B4-BE49-F238E27FC236}">
                  <a16:creationId xmlns:a16="http://schemas.microsoft.com/office/drawing/2014/main" id="{1E0532A7-DA1B-88C5-0FE1-0D3134477DED}"/>
                </a:ext>
              </a:extLst>
            </p:cNvPr>
            <p:cNvSpPr/>
            <p:nvPr/>
          </p:nvSpPr>
          <p:spPr>
            <a:xfrm>
              <a:off x="3096529" y="2941263"/>
              <a:ext cx="167450" cy="148899"/>
            </a:xfrm>
            <a:custGeom>
              <a:avLst/>
              <a:gdLst>
                <a:gd name="connsiteX0" fmla="*/ 49876 w 167450"/>
                <a:gd name="connsiteY0" fmla="*/ 147470 h 148899"/>
                <a:gd name="connsiteX1" fmla="*/ 112497 w 167450"/>
                <a:gd name="connsiteY1" fmla="*/ 146832 h 148899"/>
                <a:gd name="connsiteX2" fmla="*/ 144447 w 167450"/>
                <a:gd name="connsiteY2" fmla="*/ 140448 h 148899"/>
                <a:gd name="connsiteX3" fmla="*/ 167451 w 167450"/>
                <a:gd name="connsiteY3" fmla="*/ 83630 h 148899"/>
                <a:gd name="connsiteX4" fmla="*/ 83743 w 167450"/>
                <a:gd name="connsiteY4" fmla="*/ 0 h 148899"/>
                <a:gd name="connsiteX5" fmla="*/ 23038 w 167450"/>
                <a:gd name="connsiteY5" fmla="*/ 25536 h 148899"/>
                <a:gd name="connsiteX6" fmla="*/ 34 w 167450"/>
                <a:gd name="connsiteY6" fmla="*/ 84268 h 148899"/>
                <a:gd name="connsiteX7" fmla="*/ 21121 w 167450"/>
                <a:gd name="connsiteY7" fmla="*/ 139171 h 148899"/>
                <a:gd name="connsiteX8" fmla="*/ 49876 w 167450"/>
                <a:gd name="connsiteY8" fmla="*/ 147470 h 148899"/>
                <a:gd name="connsiteX9" fmla="*/ 84381 w 167450"/>
                <a:gd name="connsiteY9" fmla="*/ 16598 h 148899"/>
                <a:gd name="connsiteX10" fmla="*/ 131028 w 167450"/>
                <a:gd name="connsiteY10" fmla="*/ 38942 h 148899"/>
                <a:gd name="connsiteX11" fmla="*/ 150198 w 167450"/>
                <a:gd name="connsiteY11" fmla="*/ 81076 h 148899"/>
                <a:gd name="connsiteX12" fmla="*/ 144447 w 167450"/>
                <a:gd name="connsiteY12" fmla="*/ 88099 h 148899"/>
                <a:gd name="connsiteX13" fmla="*/ 143808 w 167450"/>
                <a:gd name="connsiteY13" fmla="*/ 88099 h 148899"/>
                <a:gd name="connsiteX14" fmla="*/ 137418 w 167450"/>
                <a:gd name="connsiteY14" fmla="*/ 82353 h 148899"/>
                <a:gd name="connsiteX15" fmla="*/ 122082 w 167450"/>
                <a:gd name="connsiteY15" fmla="*/ 48518 h 148899"/>
                <a:gd name="connsiteX16" fmla="*/ 83104 w 167450"/>
                <a:gd name="connsiteY16" fmla="*/ 30005 h 148899"/>
                <a:gd name="connsiteX17" fmla="*/ 77353 w 167450"/>
                <a:gd name="connsiteY17" fmla="*/ 22982 h 148899"/>
                <a:gd name="connsiteX18" fmla="*/ 84381 w 167450"/>
                <a:gd name="connsiteY18" fmla="*/ 16598 h 14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450" h="148899">
                  <a:moveTo>
                    <a:pt x="49876" y="147470"/>
                  </a:moveTo>
                  <a:cubicBezTo>
                    <a:pt x="63934" y="150024"/>
                    <a:pt x="92688" y="148747"/>
                    <a:pt x="112497" y="146832"/>
                  </a:cubicBezTo>
                  <a:cubicBezTo>
                    <a:pt x="123360" y="145555"/>
                    <a:pt x="136140" y="142363"/>
                    <a:pt x="144447" y="140448"/>
                  </a:cubicBezTo>
                  <a:cubicBezTo>
                    <a:pt x="158505" y="126403"/>
                    <a:pt x="167451" y="104059"/>
                    <a:pt x="167451" y="83630"/>
                  </a:cubicBezTo>
                  <a:cubicBezTo>
                    <a:pt x="167451" y="37665"/>
                    <a:pt x="129750" y="0"/>
                    <a:pt x="83743" y="0"/>
                  </a:cubicBezTo>
                  <a:cubicBezTo>
                    <a:pt x="61378" y="0"/>
                    <a:pt x="39013" y="9576"/>
                    <a:pt x="23038" y="25536"/>
                  </a:cubicBezTo>
                  <a:cubicBezTo>
                    <a:pt x="7702" y="41496"/>
                    <a:pt x="-605" y="62563"/>
                    <a:pt x="34" y="84268"/>
                  </a:cubicBezTo>
                  <a:cubicBezTo>
                    <a:pt x="673" y="109166"/>
                    <a:pt x="8341" y="123849"/>
                    <a:pt x="21121" y="139171"/>
                  </a:cubicBezTo>
                  <a:cubicBezTo>
                    <a:pt x="28789" y="144278"/>
                    <a:pt x="37735" y="145555"/>
                    <a:pt x="49876" y="147470"/>
                  </a:cubicBezTo>
                  <a:close/>
                  <a:moveTo>
                    <a:pt x="84381" y="16598"/>
                  </a:moveTo>
                  <a:cubicBezTo>
                    <a:pt x="85659" y="16598"/>
                    <a:pt x="111858" y="19152"/>
                    <a:pt x="131028" y="38942"/>
                  </a:cubicBezTo>
                  <a:cubicBezTo>
                    <a:pt x="148920" y="56817"/>
                    <a:pt x="150198" y="80438"/>
                    <a:pt x="150198" y="81076"/>
                  </a:cubicBezTo>
                  <a:cubicBezTo>
                    <a:pt x="150198" y="84907"/>
                    <a:pt x="147642" y="87460"/>
                    <a:pt x="144447" y="88099"/>
                  </a:cubicBezTo>
                  <a:cubicBezTo>
                    <a:pt x="144447" y="88099"/>
                    <a:pt x="144447" y="88099"/>
                    <a:pt x="143808" y="88099"/>
                  </a:cubicBezTo>
                  <a:cubicBezTo>
                    <a:pt x="140613" y="88099"/>
                    <a:pt x="137418" y="85545"/>
                    <a:pt x="137418" y="82353"/>
                  </a:cubicBezTo>
                  <a:cubicBezTo>
                    <a:pt x="137418" y="82353"/>
                    <a:pt x="136140" y="62563"/>
                    <a:pt x="122082" y="48518"/>
                  </a:cubicBezTo>
                  <a:cubicBezTo>
                    <a:pt x="106107" y="32558"/>
                    <a:pt x="83104" y="30005"/>
                    <a:pt x="83104" y="30005"/>
                  </a:cubicBezTo>
                  <a:cubicBezTo>
                    <a:pt x="79909" y="29366"/>
                    <a:pt x="76714" y="26813"/>
                    <a:pt x="77353" y="22982"/>
                  </a:cubicBezTo>
                  <a:cubicBezTo>
                    <a:pt x="77991" y="19152"/>
                    <a:pt x="81186" y="16598"/>
                    <a:pt x="84381" y="16598"/>
                  </a:cubicBezTo>
                  <a:close/>
                </a:path>
              </a:pathLst>
            </a:custGeom>
            <a:grpFill/>
            <a:ln w="6390" cap="flat">
              <a:noFill/>
              <a:prstDash val="solid"/>
              <a:miter/>
            </a:ln>
          </p:spPr>
          <p:txBody>
            <a:bodyPr rtlCol="0" anchor="ctr"/>
            <a:lstStyle/>
            <a:p>
              <a:endParaRPr lang="en-US"/>
            </a:p>
          </p:txBody>
        </p:sp>
        <p:sp>
          <p:nvSpPr>
            <p:cNvPr id="110" name="Graphic 4">
              <a:extLst>
                <a:ext uri="{FF2B5EF4-FFF2-40B4-BE49-F238E27FC236}">
                  <a16:creationId xmlns:a16="http://schemas.microsoft.com/office/drawing/2014/main" id="{432D7547-487F-76D1-5A31-09FB144BF1A1}"/>
                </a:ext>
              </a:extLst>
            </p:cNvPr>
            <p:cNvSpPr/>
            <p:nvPr/>
          </p:nvSpPr>
          <p:spPr>
            <a:xfrm>
              <a:off x="2998797" y="2855717"/>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1 w 361670"/>
                <a:gd name="connsiteY3" fmla="*/ 180667 h 361333"/>
                <a:gd name="connsiteX4" fmla="*/ 180835 w 361670"/>
                <a:gd name="connsiteY4" fmla="*/ 0 h 361333"/>
                <a:gd name="connsiteX5" fmla="*/ 277962 w 361670"/>
                <a:gd name="connsiteY5" fmla="*/ 286002 h 361333"/>
                <a:gd name="connsiteX6" fmla="*/ 272850 w 361670"/>
                <a:gd name="connsiteY6" fmla="*/ 288556 h 361333"/>
                <a:gd name="connsiteX7" fmla="*/ 260710 w 361670"/>
                <a:gd name="connsiteY7" fmla="*/ 288556 h 361333"/>
                <a:gd name="connsiteX8" fmla="*/ 255597 w 361670"/>
                <a:gd name="connsiteY8" fmla="*/ 286002 h 361333"/>
                <a:gd name="connsiteX9" fmla="*/ 226843 w 361670"/>
                <a:gd name="connsiteY9" fmla="*/ 270042 h 361333"/>
                <a:gd name="connsiteX10" fmla="*/ 195532 w 361670"/>
                <a:gd name="connsiteY10" fmla="*/ 286002 h 361333"/>
                <a:gd name="connsiteX11" fmla="*/ 190420 w 361670"/>
                <a:gd name="connsiteY11" fmla="*/ 288556 h 361333"/>
                <a:gd name="connsiteX12" fmla="*/ 190420 w 361670"/>
                <a:gd name="connsiteY12" fmla="*/ 288556 h 361333"/>
                <a:gd name="connsiteX13" fmla="*/ 173806 w 361670"/>
                <a:gd name="connsiteY13" fmla="*/ 288556 h 361333"/>
                <a:gd name="connsiteX14" fmla="*/ 168695 w 361670"/>
                <a:gd name="connsiteY14" fmla="*/ 286002 h 361333"/>
                <a:gd name="connsiteX15" fmla="*/ 138662 w 361670"/>
                <a:gd name="connsiteY15" fmla="*/ 269404 h 361333"/>
                <a:gd name="connsiteX16" fmla="*/ 106712 w 361670"/>
                <a:gd name="connsiteY16" fmla="*/ 286002 h 361333"/>
                <a:gd name="connsiteX17" fmla="*/ 101600 w 361670"/>
                <a:gd name="connsiteY17" fmla="*/ 288556 h 361333"/>
                <a:gd name="connsiteX18" fmla="*/ 89459 w 361670"/>
                <a:gd name="connsiteY18" fmla="*/ 288556 h 361333"/>
                <a:gd name="connsiteX19" fmla="*/ 84347 w 361670"/>
                <a:gd name="connsiteY19" fmla="*/ 286002 h 361333"/>
                <a:gd name="connsiteX20" fmla="*/ 83708 w 361670"/>
                <a:gd name="connsiteY20" fmla="*/ 280257 h 361333"/>
                <a:gd name="connsiteX21" fmla="*/ 103517 w 361670"/>
                <a:gd name="connsiteY21" fmla="*/ 225993 h 361333"/>
                <a:gd name="connsiteX22" fmla="*/ 84986 w 361670"/>
                <a:gd name="connsiteY22" fmla="*/ 170452 h 361333"/>
                <a:gd name="connsiteX23" fmla="*/ 111824 w 361670"/>
                <a:gd name="connsiteY23" fmla="*/ 102782 h 361333"/>
                <a:gd name="connsiteX24" fmla="*/ 181474 w 361670"/>
                <a:gd name="connsiteY24" fmla="*/ 73416 h 361333"/>
                <a:gd name="connsiteX25" fmla="*/ 277962 w 361670"/>
                <a:gd name="connsiteY25" fmla="*/ 169814 h 361333"/>
                <a:gd name="connsiteX26" fmla="*/ 259431 w 361670"/>
                <a:gd name="connsiteY26" fmla="*/ 226631 h 361333"/>
                <a:gd name="connsiteX27" fmla="*/ 260071 w 361670"/>
                <a:gd name="connsiteY27" fmla="*/ 227908 h 361333"/>
                <a:gd name="connsiteX28" fmla="*/ 279240 w 361670"/>
                <a:gd name="connsiteY28" fmla="*/ 280895 h 361333"/>
                <a:gd name="connsiteX29" fmla="*/ 277962 w 361670"/>
                <a:gd name="connsiteY29" fmla="*/ 28600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1670" h="361333">
                  <a:moveTo>
                    <a:pt x="180835" y="0"/>
                  </a:moveTo>
                  <a:cubicBezTo>
                    <a:pt x="80513" y="0"/>
                    <a:pt x="0" y="81076"/>
                    <a:pt x="0" y="180667"/>
                  </a:cubicBezTo>
                  <a:cubicBezTo>
                    <a:pt x="0" y="280257"/>
                    <a:pt x="81152" y="361333"/>
                    <a:pt x="180835" y="361333"/>
                  </a:cubicBezTo>
                  <a:cubicBezTo>
                    <a:pt x="281157" y="361333"/>
                    <a:pt x="361671" y="280257"/>
                    <a:pt x="361671" y="180667"/>
                  </a:cubicBezTo>
                  <a:cubicBezTo>
                    <a:pt x="361671" y="81076"/>
                    <a:pt x="281157" y="0"/>
                    <a:pt x="180835" y="0"/>
                  </a:cubicBezTo>
                  <a:close/>
                  <a:moveTo>
                    <a:pt x="277962" y="286002"/>
                  </a:moveTo>
                  <a:cubicBezTo>
                    <a:pt x="276684" y="287917"/>
                    <a:pt x="274767" y="288556"/>
                    <a:pt x="272850" y="288556"/>
                  </a:cubicBezTo>
                  <a:lnTo>
                    <a:pt x="260710" y="288556"/>
                  </a:lnTo>
                  <a:cubicBezTo>
                    <a:pt x="258792" y="288556"/>
                    <a:pt x="256876" y="287279"/>
                    <a:pt x="255597" y="286002"/>
                  </a:cubicBezTo>
                  <a:cubicBezTo>
                    <a:pt x="255597" y="286002"/>
                    <a:pt x="244096" y="270042"/>
                    <a:pt x="226843" y="270042"/>
                  </a:cubicBezTo>
                  <a:cubicBezTo>
                    <a:pt x="209590" y="270042"/>
                    <a:pt x="195532" y="286002"/>
                    <a:pt x="195532" y="286002"/>
                  </a:cubicBezTo>
                  <a:cubicBezTo>
                    <a:pt x="194254" y="287279"/>
                    <a:pt x="192337" y="288556"/>
                    <a:pt x="190420" y="288556"/>
                  </a:cubicBezTo>
                  <a:cubicBezTo>
                    <a:pt x="190420" y="288556"/>
                    <a:pt x="190420" y="288556"/>
                    <a:pt x="190420" y="288556"/>
                  </a:cubicBezTo>
                  <a:lnTo>
                    <a:pt x="173806" y="288556"/>
                  </a:lnTo>
                  <a:cubicBezTo>
                    <a:pt x="171889" y="288556"/>
                    <a:pt x="169972" y="287279"/>
                    <a:pt x="168695" y="286002"/>
                  </a:cubicBezTo>
                  <a:cubicBezTo>
                    <a:pt x="168695" y="286002"/>
                    <a:pt x="156553" y="269404"/>
                    <a:pt x="138662" y="269404"/>
                  </a:cubicBezTo>
                  <a:cubicBezTo>
                    <a:pt x="120131" y="269404"/>
                    <a:pt x="106712" y="286002"/>
                    <a:pt x="106712" y="286002"/>
                  </a:cubicBezTo>
                  <a:cubicBezTo>
                    <a:pt x="105434" y="287279"/>
                    <a:pt x="103517" y="288556"/>
                    <a:pt x="101600" y="288556"/>
                  </a:cubicBezTo>
                  <a:lnTo>
                    <a:pt x="89459" y="288556"/>
                  </a:lnTo>
                  <a:cubicBezTo>
                    <a:pt x="87542" y="288556"/>
                    <a:pt x="85625" y="287279"/>
                    <a:pt x="84347" y="286002"/>
                  </a:cubicBezTo>
                  <a:cubicBezTo>
                    <a:pt x="83069" y="284087"/>
                    <a:pt x="83069" y="282172"/>
                    <a:pt x="83708" y="280257"/>
                  </a:cubicBezTo>
                  <a:lnTo>
                    <a:pt x="103517" y="225993"/>
                  </a:lnTo>
                  <a:cubicBezTo>
                    <a:pt x="92654" y="211310"/>
                    <a:pt x="85625" y="194711"/>
                    <a:pt x="84986" y="170452"/>
                  </a:cubicBezTo>
                  <a:cubicBezTo>
                    <a:pt x="84347" y="144916"/>
                    <a:pt x="93932" y="121296"/>
                    <a:pt x="111824" y="102782"/>
                  </a:cubicBezTo>
                  <a:cubicBezTo>
                    <a:pt x="130355" y="84268"/>
                    <a:pt x="155276" y="73416"/>
                    <a:pt x="181474" y="73416"/>
                  </a:cubicBezTo>
                  <a:cubicBezTo>
                    <a:pt x="234511" y="73416"/>
                    <a:pt x="277962" y="116827"/>
                    <a:pt x="277962" y="169814"/>
                  </a:cubicBezTo>
                  <a:cubicBezTo>
                    <a:pt x="277962" y="190243"/>
                    <a:pt x="270934" y="210671"/>
                    <a:pt x="259431" y="226631"/>
                  </a:cubicBezTo>
                  <a:cubicBezTo>
                    <a:pt x="259431" y="227270"/>
                    <a:pt x="260071" y="227270"/>
                    <a:pt x="260071" y="227908"/>
                  </a:cubicBezTo>
                  <a:lnTo>
                    <a:pt x="279240" y="280895"/>
                  </a:lnTo>
                  <a:cubicBezTo>
                    <a:pt x="279240" y="282172"/>
                    <a:pt x="279240" y="284087"/>
                    <a:pt x="277962" y="286002"/>
                  </a:cubicBezTo>
                  <a:close/>
                </a:path>
              </a:pathLst>
            </a:custGeom>
            <a:grpFill/>
            <a:ln w="6390" cap="flat">
              <a:noFill/>
              <a:prstDash val="solid"/>
              <a:miter/>
            </a:ln>
          </p:spPr>
          <p:txBody>
            <a:bodyPr rtlCol="0" anchor="ctr"/>
            <a:lstStyle/>
            <a:p>
              <a:endParaRPr lang="en-US"/>
            </a:p>
          </p:txBody>
        </p:sp>
      </p:grpSp>
      <p:sp>
        <p:nvSpPr>
          <p:cNvPr id="111" name="Rectangle 110">
            <a:extLst>
              <a:ext uri="{FF2B5EF4-FFF2-40B4-BE49-F238E27FC236}">
                <a16:creationId xmlns:a16="http://schemas.microsoft.com/office/drawing/2014/main" id="{E34EB574-47DF-75BB-F913-D41EB9D53639}"/>
              </a:ext>
            </a:extLst>
          </p:cNvPr>
          <p:cNvSpPr/>
          <p:nvPr/>
        </p:nvSpPr>
        <p:spPr>
          <a:xfrm>
            <a:off x="1057728" y="1625813"/>
            <a:ext cx="5082251" cy="4510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DC26E712-8418-5643-8106-07725367F1E5}"/>
              </a:ext>
            </a:extLst>
          </p:cNvPr>
          <p:cNvSpPr/>
          <p:nvPr/>
        </p:nvSpPr>
        <p:spPr>
          <a:xfrm>
            <a:off x="1057727" y="2459936"/>
            <a:ext cx="5082251" cy="4510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1A2FAA4F-A168-F225-111B-AE1B3E151D07}"/>
              </a:ext>
            </a:extLst>
          </p:cNvPr>
          <p:cNvSpPr/>
          <p:nvPr/>
        </p:nvSpPr>
        <p:spPr>
          <a:xfrm>
            <a:off x="1057726" y="3291451"/>
            <a:ext cx="5082251" cy="4510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5535E578-B514-5C6A-76ED-CB7C113CEFFF}"/>
              </a:ext>
            </a:extLst>
          </p:cNvPr>
          <p:cNvSpPr/>
          <p:nvPr/>
        </p:nvSpPr>
        <p:spPr>
          <a:xfrm>
            <a:off x="1059873" y="4106950"/>
            <a:ext cx="5082251" cy="4510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98EFB816-4ACD-FFBB-00B9-F69F4184980A}"/>
              </a:ext>
            </a:extLst>
          </p:cNvPr>
          <p:cNvSpPr/>
          <p:nvPr/>
        </p:nvSpPr>
        <p:spPr>
          <a:xfrm>
            <a:off x="1053601" y="4940728"/>
            <a:ext cx="5082251" cy="4510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E6F6BDBB-02D4-8708-5460-90E9156450FF}"/>
              </a:ext>
            </a:extLst>
          </p:cNvPr>
          <p:cNvSpPr/>
          <p:nvPr/>
        </p:nvSpPr>
        <p:spPr>
          <a:xfrm>
            <a:off x="1053600" y="5766532"/>
            <a:ext cx="5082251" cy="4510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TextBox 116">
            <a:extLst>
              <a:ext uri="{FF2B5EF4-FFF2-40B4-BE49-F238E27FC236}">
                <a16:creationId xmlns:a16="http://schemas.microsoft.com/office/drawing/2014/main" id="{2C6BAE9C-DF88-6802-BB40-BE38BC427C52}"/>
              </a:ext>
            </a:extLst>
          </p:cNvPr>
          <p:cNvSpPr txBox="1"/>
          <p:nvPr/>
        </p:nvSpPr>
        <p:spPr>
          <a:xfrm>
            <a:off x="1059873" y="1635718"/>
            <a:ext cx="5247409" cy="461665"/>
          </a:xfrm>
          <a:prstGeom prst="rect">
            <a:avLst/>
          </a:prstGeom>
          <a:noFill/>
        </p:spPr>
        <p:txBody>
          <a:bodyPr wrap="square" rtlCol="0">
            <a:spAutoFit/>
          </a:bodyPr>
          <a:lstStyle/>
          <a:p>
            <a:r>
              <a:rPr lang="sl-SI" sz="1200" dirty="0"/>
              <a:t>Gotovina je najpogosteje uporabljen način plačila predvsem pri nakupih nižje vrednosti. Kartice se uporabljajo za večje nakupe.</a:t>
            </a:r>
            <a:endParaRPr lang="en-US" sz="1200" dirty="0"/>
          </a:p>
        </p:txBody>
      </p:sp>
      <p:sp>
        <p:nvSpPr>
          <p:cNvPr id="118" name="TextBox 117">
            <a:extLst>
              <a:ext uri="{FF2B5EF4-FFF2-40B4-BE49-F238E27FC236}">
                <a16:creationId xmlns:a16="http://schemas.microsoft.com/office/drawing/2014/main" id="{DD9A3B29-5318-D685-7EE2-CF47178013A5}"/>
              </a:ext>
            </a:extLst>
          </p:cNvPr>
          <p:cNvSpPr txBox="1"/>
          <p:nvPr/>
        </p:nvSpPr>
        <p:spPr>
          <a:xfrm>
            <a:off x="1059873" y="2453686"/>
            <a:ext cx="5082251" cy="461665"/>
          </a:xfrm>
          <a:prstGeom prst="rect">
            <a:avLst/>
          </a:prstGeom>
          <a:noFill/>
        </p:spPr>
        <p:txBody>
          <a:bodyPr wrap="square" rtlCol="0">
            <a:spAutoFit/>
          </a:bodyPr>
          <a:lstStyle/>
          <a:p>
            <a:r>
              <a:rPr lang="sl-SI" sz="1200" dirty="0"/>
              <a:t>Glavni dejavnik za uporabo je pozitivna uporabniška izkušnja. Glavna zavora pri uporabi je percepcija, da rešitev nima dodane vrednosti.</a:t>
            </a:r>
            <a:endParaRPr lang="en-US" sz="1200" dirty="0"/>
          </a:p>
        </p:txBody>
      </p:sp>
      <p:sp>
        <p:nvSpPr>
          <p:cNvPr id="119" name="TextBox 118">
            <a:extLst>
              <a:ext uri="{FF2B5EF4-FFF2-40B4-BE49-F238E27FC236}">
                <a16:creationId xmlns:a16="http://schemas.microsoft.com/office/drawing/2014/main" id="{6AA2750B-AF84-FE31-5BA8-54CCBF94574D}"/>
              </a:ext>
            </a:extLst>
          </p:cNvPr>
          <p:cNvSpPr txBox="1"/>
          <p:nvPr/>
        </p:nvSpPr>
        <p:spPr>
          <a:xfrm>
            <a:off x="1025171" y="3291750"/>
            <a:ext cx="5082251" cy="461665"/>
          </a:xfrm>
          <a:prstGeom prst="rect">
            <a:avLst/>
          </a:prstGeom>
          <a:noFill/>
        </p:spPr>
        <p:txBody>
          <a:bodyPr wrap="square" rtlCol="0">
            <a:spAutoFit/>
          </a:bodyPr>
          <a:lstStyle/>
          <a:p>
            <a:r>
              <a:rPr lang="sl-SI" sz="1200" dirty="0"/>
              <a:t>Potrošniki in trgovci so mnenja, da je gotovina najbolj učinkovit način plačila, medtem ko banke ne delijo njihovega mnenja.</a:t>
            </a:r>
            <a:endParaRPr lang="en-US" sz="1200" dirty="0"/>
          </a:p>
        </p:txBody>
      </p:sp>
      <p:sp>
        <p:nvSpPr>
          <p:cNvPr id="120" name="TextBox 119">
            <a:extLst>
              <a:ext uri="{FF2B5EF4-FFF2-40B4-BE49-F238E27FC236}">
                <a16:creationId xmlns:a16="http://schemas.microsoft.com/office/drawing/2014/main" id="{2551A1B0-B56B-8BCC-F5CB-C5BAC0C5F25B}"/>
              </a:ext>
            </a:extLst>
          </p:cNvPr>
          <p:cNvSpPr txBox="1"/>
          <p:nvPr/>
        </p:nvSpPr>
        <p:spPr>
          <a:xfrm>
            <a:off x="1059873" y="4106950"/>
            <a:ext cx="5082251" cy="461665"/>
          </a:xfrm>
          <a:prstGeom prst="rect">
            <a:avLst/>
          </a:prstGeom>
          <a:noFill/>
        </p:spPr>
        <p:txBody>
          <a:bodyPr wrap="square" rtlCol="0">
            <a:spAutoFit/>
          </a:bodyPr>
          <a:lstStyle/>
          <a:p>
            <a:r>
              <a:rPr lang="sl-SI" sz="1200" dirty="0"/>
              <a:t>Pri </a:t>
            </a:r>
            <a:r>
              <a:rPr lang="sl-SI" sz="1200" dirty="0" err="1"/>
              <a:t>mikro</a:t>
            </a:r>
            <a:r>
              <a:rPr lang="sl-SI" sz="1200" dirty="0"/>
              <a:t> in manjših trgovcih obstaja večja verjetnost, da plačilo s kartico ne bo mogoče. Enako velja za trgovce, ki ponujajo storitve.</a:t>
            </a:r>
            <a:endParaRPr lang="en-US" sz="1200" dirty="0"/>
          </a:p>
        </p:txBody>
      </p:sp>
      <p:sp>
        <p:nvSpPr>
          <p:cNvPr id="121" name="TextBox 120">
            <a:extLst>
              <a:ext uri="{FF2B5EF4-FFF2-40B4-BE49-F238E27FC236}">
                <a16:creationId xmlns:a16="http://schemas.microsoft.com/office/drawing/2014/main" id="{F94F0132-06E6-4F34-D93A-B371C64F33C9}"/>
              </a:ext>
            </a:extLst>
          </p:cNvPr>
          <p:cNvSpPr txBox="1"/>
          <p:nvPr/>
        </p:nvSpPr>
        <p:spPr>
          <a:xfrm>
            <a:off x="1035562" y="4935296"/>
            <a:ext cx="5082251" cy="461665"/>
          </a:xfrm>
          <a:prstGeom prst="rect">
            <a:avLst/>
          </a:prstGeom>
          <a:noFill/>
        </p:spPr>
        <p:txBody>
          <a:bodyPr wrap="square" rtlCol="0">
            <a:spAutoFit/>
          </a:bodyPr>
          <a:lstStyle/>
          <a:p>
            <a:r>
              <a:rPr lang="sl-SI" sz="1200" dirty="0"/>
              <a:t>Banke menijo, da bi bilo mogoče izboljšati sodelovanje z drugimi deležniki ekosistema na področju analitike in razvoja produktov.</a:t>
            </a:r>
            <a:endParaRPr lang="en-US" sz="1200" dirty="0"/>
          </a:p>
        </p:txBody>
      </p:sp>
      <p:sp>
        <p:nvSpPr>
          <p:cNvPr id="122" name="TextBox 121">
            <a:extLst>
              <a:ext uri="{FF2B5EF4-FFF2-40B4-BE49-F238E27FC236}">
                <a16:creationId xmlns:a16="http://schemas.microsoft.com/office/drawing/2014/main" id="{3506F73E-D633-51C5-4F55-A23D1074389D}"/>
              </a:ext>
            </a:extLst>
          </p:cNvPr>
          <p:cNvSpPr txBox="1"/>
          <p:nvPr/>
        </p:nvSpPr>
        <p:spPr>
          <a:xfrm>
            <a:off x="1035563" y="5740496"/>
            <a:ext cx="5106562" cy="461665"/>
          </a:xfrm>
          <a:prstGeom prst="rect">
            <a:avLst/>
          </a:prstGeom>
          <a:noFill/>
        </p:spPr>
        <p:txBody>
          <a:bodyPr wrap="square" rtlCol="0">
            <a:spAutoFit/>
          </a:bodyPr>
          <a:lstStyle/>
          <a:p>
            <a:r>
              <a:rPr lang="sl-SI" sz="1200" dirty="0"/>
              <a:t>Na podlagi ocen bank in trgovcev je mogoče zaključiti, da se bo uporaba elektronskih plačil v prihodnje še povečala.</a:t>
            </a:r>
            <a:endParaRPr lang="en-US" sz="1200" dirty="0"/>
          </a:p>
        </p:txBody>
      </p:sp>
      <p:sp>
        <p:nvSpPr>
          <p:cNvPr id="123" name="Isosceles Triangle 122">
            <a:extLst>
              <a:ext uri="{FF2B5EF4-FFF2-40B4-BE49-F238E27FC236}">
                <a16:creationId xmlns:a16="http://schemas.microsoft.com/office/drawing/2014/main" id="{86F4A13F-0A9B-7E46-5392-CCF08D42E25E}"/>
              </a:ext>
            </a:extLst>
          </p:cNvPr>
          <p:cNvSpPr/>
          <p:nvPr/>
        </p:nvSpPr>
        <p:spPr>
          <a:xfrm rot="5400000">
            <a:off x="6676847" y="1620504"/>
            <a:ext cx="519545" cy="46166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Isosceles Triangle 123">
            <a:extLst>
              <a:ext uri="{FF2B5EF4-FFF2-40B4-BE49-F238E27FC236}">
                <a16:creationId xmlns:a16="http://schemas.microsoft.com/office/drawing/2014/main" id="{52B79A95-BE00-3F1C-3B3B-944B5EC8B438}"/>
              </a:ext>
            </a:extLst>
          </p:cNvPr>
          <p:cNvSpPr/>
          <p:nvPr/>
        </p:nvSpPr>
        <p:spPr>
          <a:xfrm rot="5400000">
            <a:off x="6676847" y="2458764"/>
            <a:ext cx="519545" cy="46166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Isosceles Triangle 124">
            <a:extLst>
              <a:ext uri="{FF2B5EF4-FFF2-40B4-BE49-F238E27FC236}">
                <a16:creationId xmlns:a16="http://schemas.microsoft.com/office/drawing/2014/main" id="{5D959B9F-F29E-A234-7860-9EBA0CFDF156}"/>
              </a:ext>
            </a:extLst>
          </p:cNvPr>
          <p:cNvSpPr/>
          <p:nvPr/>
        </p:nvSpPr>
        <p:spPr>
          <a:xfrm rot="5400000">
            <a:off x="6676847" y="3286142"/>
            <a:ext cx="519545" cy="46166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Isosceles Triangle 125">
            <a:extLst>
              <a:ext uri="{FF2B5EF4-FFF2-40B4-BE49-F238E27FC236}">
                <a16:creationId xmlns:a16="http://schemas.microsoft.com/office/drawing/2014/main" id="{B9687B50-793F-A31D-A569-35AAB28FC107}"/>
              </a:ext>
            </a:extLst>
          </p:cNvPr>
          <p:cNvSpPr/>
          <p:nvPr/>
        </p:nvSpPr>
        <p:spPr>
          <a:xfrm rot="5400000">
            <a:off x="6676847" y="4101641"/>
            <a:ext cx="519545" cy="46166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Isosceles Triangle 126">
            <a:extLst>
              <a:ext uri="{FF2B5EF4-FFF2-40B4-BE49-F238E27FC236}">
                <a16:creationId xmlns:a16="http://schemas.microsoft.com/office/drawing/2014/main" id="{416B56A3-DE54-CC3B-3B1D-E154E6526E09}"/>
              </a:ext>
            </a:extLst>
          </p:cNvPr>
          <p:cNvSpPr/>
          <p:nvPr/>
        </p:nvSpPr>
        <p:spPr>
          <a:xfrm rot="5400000">
            <a:off x="6676847" y="4939901"/>
            <a:ext cx="519545" cy="46166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Isosceles Triangle 127">
            <a:extLst>
              <a:ext uri="{FF2B5EF4-FFF2-40B4-BE49-F238E27FC236}">
                <a16:creationId xmlns:a16="http://schemas.microsoft.com/office/drawing/2014/main" id="{0F2935F8-9A5F-6C34-ACD9-E0510CC5701E}"/>
              </a:ext>
            </a:extLst>
          </p:cNvPr>
          <p:cNvSpPr/>
          <p:nvPr/>
        </p:nvSpPr>
        <p:spPr>
          <a:xfrm rot="5400000">
            <a:off x="6676847" y="5734842"/>
            <a:ext cx="519545" cy="46166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Rectangle 128">
            <a:extLst>
              <a:ext uri="{FF2B5EF4-FFF2-40B4-BE49-F238E27FC236}">
                <a16:creationId xmlns:a16="http://schemas.microsoft.com/office/drawing/2014/main" id="{DE527EAF-0B7D-E2CD-3FE5-05BBBAAEAF7B}"/>
              </a:ext>
            </a:extLst>
          </p:cNvPr>
          <p:cNvSpPr/>
          <p:nvPr/>
        </p:nvSpPr>
        <p:spPr>
          <a:xfrm>
            <a:off x="7577694" y="1538013"/>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Inovacije</a:t>
            </a:r>
            <a:endParaRPr lang="en-US" sz="1200" b="1" i="1" dirty="0">
              <a:solidFill>
                <a:schemeClr val="tx1"/>
              </a:solidFill>
            </a:endParaRPr>
          </a:p>
        </p:txBody>
      </p:sp>
      <p:sp>
        <p:nvSpPr>
          <p:cNvPr id="130" name="Rectangle 129">
            <a:extLst>
              <a:ext uri="{FF2B5EF4-FFF2-40B4-BE49-F238E27FC236}">
                <a16:creationId xmlns:a16="http://schemas.microsoft.com/office/drawing/2014/main" id="{8C7E1D8C-53AC-64B9-4711-F68EC348747E}"/>
              </a:ext>
            </a:extLst>
          </p:cNvPr>
          <p:cNvSpPr/>
          <p:nvPr/>
        </p:nvSpPr>
        <p:spPr>
          <a:xfrm>
            <a:off x="9488685" y="1538012"/>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Izobraževanje </a:t>
            </a:r>
            <a:endParaRPr lang="en-US" sz="1200" b="1" i="1" dirty="0">
              <a:solidFill>
                <a:schemeClr val="tx1"/>
              </a:solidFill>
            </a:endParaRPr>
          </a:p>
        </p:txBody>
      </p:sp>
      <p:sp>
        <p:nvSpPr>
          <p:cNvPr id="131" name="TextBox 130">
            <a:extLst>
              <a:ext uri="{FF2B5EF4-FFF2-40B4-BE49-F238E27FC236}">
                <a16:creationId xmlns:a16="http://schemas.microsoft.com/office/drawing/2014/main" id="{FDE13E59-A6B4-ED78-990E-ECF1CB91C528}"/>
              </a:ext>
            </a:extLst>
          </p:cNvPr>
          <p:cNvSpPr txBox="1"/>
          <p:nvPr/>
        </p:nvSpPr>
        <p:spPr>
          <a:xfrm>
            <a:off x="7288295" y="1238423"/>
            <a:ext cx="4131090" cy="282012"/>
          </a:xfrm>
          <a:prstGeom prst="rect">
            <a:avLst/>
          </a:prstGeom>
          <a:noFill/>
        </p:spPr>
        <p:txBody>
          <a:bodyPr wrap="square" rtlCol="0">
            <a:spAutoFit/>
          </a:bodyPr>
          <a:lstStyle/>
          <a:p>
            <a:pPr algn="ctr"/>
            <a:r>
              <a:rPr lang="sl-SI" sz="1200" b="1" dirty="0"/>
              <a:t>Ključne teme strateških iniciativ:</a:t>
            </a:r>
            <a:endParaRPr lang="en-US" sz="1200" b="1" dirty="0"/>
          </a:p>
        </p:txBody>
      </p:sp>
      <p:sp>
        <p:nvSpPr>
          <p:cNvPr id="132" name="Rectangle 131">
            <a:extLst>
              <a:ext uri="{FF2B5EF4-FFF2-40B4-BE49-F238E27FC236}">
                <a16:creationId xmlns:a16="http://schemas.microsoft.com/office/drawing/2014/main" id="{4E07E5E5-AD12-90D8-E3E3-392C37E3E4E0}"/>
              </a:ext>
            </a:extLst>
          </p:cNvPr>
          <p:cNvSpPr/>
          <p:nvPr/>
        </p:nvSpPr>
        <p:spPr>
          <a:xfrm>
            <a:off x="7577694" y="1852436"/>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Komunikacija</a:t>
            </a:r>
            <a:endParaRPr lang="en-US" sz="1200" b="1" i="1" dirty="0">
              <a:solidFill>
                <a:schemeClr val="tx1"/>
              </a:solidFill>
            </a:endParaRPr>
          </a:p>
        </p:txBody>
      </p:sp>
      <p:sp>
        <p:nvSpPr>
          <p:cNvPr id="133" name="Rectangle 132">
            <a:extLst>
              <a:ext uri="{FF2B5EF4-FFF2-40B4-BE49-F238E27FC236}">
                <a16:creationId xmlns:a16="http://schemas.microsoft.com/office/drawing/2014/main" id="{8FBCF06B-70BB-5C74-436A-0FDFAF78B006}"/>
              </a:ext>
            </a:extLst>
          </p:cNvPr>
          <p:cNvSpPr/>
          <p:nvPr/>
        </p:nvSpPr>
        <p:spPr>
          <a:xfrm>
            <a:off x="9488685" y="1871908"/>
            <a:ext cx="1749614" cy="27052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100" b="1" i="1" dirty="0">
                <a:solidFill>
                  <a:schemeClr val="tx1"/>
                </a:solidFill>
              </a:rPr>
              <a:t>Vključenost ranljivih skupin</a:t>
            </a:r>
            <a:endParaRPr lang="en-US" sz="1100" b="1" i="1" dirty="0">
              <a:solidFill>
                <a:schemeClr val="tx1"/>
              </a:solidFill>
            </a:endParaRPr>
          </a:p>
        </p:txBody>
      </p:sp>
      <p:sp>
        <p:nvSpPr>
          <p:cNvPr id="134" name="Rectangle 133">
            <a:extLst>
              <a:ext uri="{FF2B5EF4-FFF2-40B4-BE49-F238E27FC236}">
                <a16:creationId xmlns:a16="http://schemas.microsoft.com/office/drawing/2014/main" id="{4182ED25-36FD-F6BC-AB40-21543E0B9A29}"/>
              </a:ext>
            </a:extLst>
          </p:cNvPr>
          <p:cNvSpPr/>
          <p:nvPr/>
        </p:nvSpPr>
        <p:spPr>
          <a:xfrm>
            <a:off x="7577694" y="2435224"/>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Inovacije</a:t>
            </a:r>
            <a:endParaRPr lang="en-US" sz="1200" b="1" i="1" dirty="0">
              <a:solidFill>
                <a:schemeClr val="tx1"/>
              </a:solidFill>
            </a:endParaRPr>
          </a:p>
        </p:txBody>
      </p:sp>
      <p:sp>
        <p:nvSpPr>
          <p:cNvPr id="135" name="Rectangle 134">
            <a:extLst>
              <a:ext uri="{FF2B5EF4-FFF2-40B4-BE49-F238E27FC236}">
                <a16:creationId xmlns:a16="http://schemas.microsoft.com/office/drawing/2014/main" id="{2CA0EF86-E6C9-5A7F-251A-7056A17A5828}"/>
              </a:ext>
            </a:extLst>
          </p:cNvPr>
          <p:cNvSpPr/>
          <p:nvPr/>
        </p:nvSpPr>
        <p:spPr>
          <a:xfrm>
            <a:off x="9488685" y="2435224"/>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Komunikacija</a:t>
            </a:r>
            <a:endParaRPr lang="en-US" sz="1200" b="1" i="1" dirty="0">
              <a:solidFill>
                <a:schemeClr val="tx1"/>
              </a:solidFill>
            </a:endParaRPr>
          </a:p>
        </p:txBody>
      </p:sp>
      <p:sp>
        <p:nvSpPr>
          <p:cNvPr id="136" name="Rectangle 135">
            <a:extLst>
              <a:ext uri="{FF2B5EF4-FFF2-40B4-BE49-F238E27FC236}">
                <a16:creationId xmlns:a16="http://schemas.microsoft.com/office/drawing/2014/main" id="{3651ABAC-FA27-0783-E897-DCB681B7E548}"/>
              </a:ext>
            </a:extLst>
          </p:cNvPr>
          <p:cNvSpPr/>
          <p:nvPr/>
        </p:nvSpPr>
        <p:spPr>
          <a:xfrm>
            <a:off x="7577694" y="3394673"/>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Učinkovitost</a:t>
            </a:r>
            <a:endParaRPr lang="en-US" sz="1200" b="1" i="1" dirty="0">
              <a:solidFill>
                <a:schemeClr val="tx1"/>
              </a:solidFill>
            </a:endParaRPr>
          </a:p>
        </p:txBody>
      </p:sp>
      <p:sp>
        <p:nvSpPr>
          <p:cNvPr id="137" name="Rectangle 136">
            <a:extLst>
              <a:ext uri="{FF2B5EF4-FFF2-40B4-BE49-F238E27FC236}">
                <a16:creationId xmlns:a16="http://schemas.microsoft.com/office/drawing/2014/main" id="{621E3977-8794-EC32-1CF6-CFCB8728C3C4}"/>
              </a:ext>
            </a:extLst>
          </p:cNvPr>
          <p:cNvSpPr/>
          <p:nvPr/>
        </p:nvSpPr>
        <p:spPr>
          <a:xfrm>
            <a:off x="9488685" y="3391103"/>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Varnost</a:t>
            </a:r>
            <a:endParaRPr lang="en-US" sz="1200" b="1" i="1" dirty="0">
              <a:solidFill>
                <a:schemeClr val="tx1"/>
              </a:solidFill>
            </a:endParaRPr>
          </a:p>
        </p:txBody>
      </p:sp>
      <p:sp>
        <p:nvSpPr>
          <p:cNvPr id="138" name="Rectangle 137">
            <a:extLst>
              <a:ext uri="{FF2B5EF4-FFF2-40B4-BE49-F238E27FC236}">
                <a16:creationId xmlns:a16="http://schemas.microsoft.com/office/drawing/2014/main" id="{87484229-92E1-2617-5BD1-36AB73D3AE66}"/>
              </a:ext>
            </a:extLst>
          </p:cNvPr>
          <p:cNvSpPr/>
          <p:nvPr/>
        </p:nvSpPr>
        <p:spPr>
          <a:xfrm>
            <a:off x="7577694" y="2752367"/>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Varnost</a:t>
            </a:r>
            <a:endParaRPr lang="en-US" sz="1200" b="1" i="1" dirty="0">
              <a:solidFill>
                <a:schemeClr val="tx1"/>
              </a:solidFill>
            </a:endParaRPr>
          </a:p>
        </p:txBody>
      </p:sp>
      <p:sp>
        <p:nvSpPr>
          <p:cNvPr id="139" name="Rectangle 138">
            <a:extLst>
              <a:ext uri="{FF2B5EF4-FFF2-40B4-BE49-F238E27FC236}">
                <a16:creationId xmlns:a16="http://schemas.microsoft.com/office/drawing/2014/main" id="{556B20E0-7A63-4C6F-3FE5-94D544638EB8}"/>
              </a:ext>
            </a:extLst>
          </p:cNvPr>
          <p:cNvSpPr/>
          <p:nvPr/>
        </p:nvSpPr>
        <p:spPr>
          <a:xfrm>
            <a:off x="7577694" y="4055407"/>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Učinkovitost</a:t>
            </a:r>
            <a:endParaRPr lang="en-US" sz="1200" b="1" i="1" dirty="0">
              <a:solidFill>
                <a:schemeClr val="tx1"/>
              </a:solidFill>
            </a:endParaRPr>
          </a:p>
        </p:txBody>
      </p:sp>
      <p:sp>
        <p:nvSpPr>
          <p:cNvPr id="140" name="Rectangle 139">
            <a:extLst>
              <a:ext uri="{FF2B5EF4-FFF2-40B4-BE49-F238E27FC236}">
                <a16:creationId xmlns:a16="http://schemas.microsoft.com/office/drawing/2014/main" id="{919FD84F-0629-7E20-BE2A-E056EAD96E08}"/>
              </a:ext>
            </a:extLst>
          </p:cNvPr>
          <p:cNvSpPr/>
          <p:nvPr/>
        </p:nvSpPr>
        <p:spPr>
          <a:xfrm>
            <a:off x="9488685" y="4063178"/>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Izobraževanje </a:t>
            </a:r>
            <a:endParaRPr lang="en-US" sz="1200" b="1" i="1" dirty="0">
              <a:solidFill>
                <a:schemeClr val="tx1"/>
              </a:solidFill>
            </a:endParaRPr>
          </a:p>
        </p:txBody>
      </p:sp>
      <p:sp>
        <p:nvSpPr>
          <p:cNvPr id="141" name="Rectangle 140">
            <a:extLst>
              <a:ext uri="{FF2B5EF4-FFF2-40B4-BE49-F238E27FC236}">
                <a16:creationId xmlns:a16="http://schemas.microsoft.com/office/drawing/2014/main" id="{C435F169-D29D-2425-8584-236D69349557}"/>
              </a:ext>
            </a:extLst>
          </p:cNvPr>
          <p:cNvSpPr/>
          <p:nvPr/>
        </p:nvSpPr>
        <p:spPr>
          <a:xfrm>
            <a:off x="7577694" y="4377602"/>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Komunikacija</a:t>
            </a:r>
            <a:endParaRPr lang="en-US" sz="1200" b="1" i="1" dirty="0">
              <a:solidFill>
                <a:schemeClr val="tx1"/>
              </a:solidFill>
            </a:endParaRPr>
          </a:p>
        </p:txBody>
      </p:sp>
      <p:sp>
        <p:nvSpPr>
          <p:cNvPr id="142" name="Rectangle 141">
            <a:extLst>
              <a:ext uri="{FF2B5EF4-FFF2-40B4-BE49-F238E27FC236}">
                <a16:creationId xmlns:a16="http://schemas.microsoft.com/office/drawing/2014/main" id="{51405F47-FCEC-C129-70AB-27E667FADB83}"/>
              </a:ext>
            </a:extLst>
          </p:cNvPr>
          <p:cNvSpPr/>
          <p:nvPr/>
        </p:nvSpPr>
        <p:spPr>
          <a:xfrm>
            <a:off x="7577694" y="5046430"/>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Inovacije</a:t>
            </a:r>
            <a:endParaRPr lang="en-US" sz="1200" b="1" i="1" dirty="0">
              <a:solidFill>
                <a:schemeClr val="tx1"/>
              </a:solidFill>
            </a:endParaRPr>
          </a:p>
        </p:txBody>
      </p:sp>
      <p:sp>
        <p:nvSpPr>
          <p:cNvPr id="143" name="Rectangle 142">
            <a:extLst>
              <a:ext uri="{FF2B5EF4-FFF2-40B4-BE49-F238E27FC236}">
                <a16:creationId xmlns:a16="http://schemas.microsoft.com/office/drawing/2014/main" id="{FC6B0038-8E7E-04FA-AE2E-6F37704A7180}"/>
              </a:ext>
            </a:extLst>
          </p:cNvPr>
          <p:cNvSpPr/>
          <p:nvPr/>
        </p:nvSpPr>
        <p:spPr>
          <a:xfrm>
            <a:off x="7577694" y="5813594"/>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Inovacije</a:t>
            </a:r>
            <a:endParaRPr lang="en-US" sz="1200" b="1" i="1" dirty="0">
              <a:solidFill>
                <a:schemeClr val="tx1"/>
              </a:solidFill>
            </a:endParaRPr>
          </a:p>
        </p:txBody>
      </p:sp>
      <p:sp>
        <p:nvSpPr>
          <p:cNvPr id="144" name="Rectangle 143">
            <a:extLst>
              <a:ext uri="{FF2B5EF4-FFF2-40B4-BE49-F238E27FC236}">
                <a16:creationId xmlns:a16="http://schemas.microsoft.com/office/drawing/2014/main" id="{EA4B680D-4966-F42E-12CA-BA0C35844E4C}"/>
              </a:ext>
            </a:extLst>
          </p:cNvPr>
          <p:cNvSpPr/>
          <p:nvPr/>
        </p:nvSpPr>
        <p:spPr>
          <a:xfrm>
            <a:off x="9496166" y="5041507"/>
            <a:ext cx="1749614" cy="27699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l-SI" sz="1200" b="1" i="1" dirty="0">
                <a:solidFill>
                  <a:schemeClr val="tx1"/>
                </a:solidFill>
              </a:rPr>
              <a:t>Komunikacija</a:t>
            </a:r>
            <a:endParaRPr lang="en-US" sz="1200" b="1" i="1" dirty="0">
              <a:solidFill>
                <a:schemeClr val="tx1"/>
              </a:solidFill>
            </a:endParaRPr>
          </a:p>
        </p:txBody>
      </p:sp>
    </p:spTree>
    <p:extLst>
      <p:ext uri="{BB962C8B-B14F-4D97-AF65-F5344CB8AC3E}">
        <p14:creationId xmlns:p14="http://schemas.microsoft.com/office/powerpoint/2010/main" val="38088291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41739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3"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l-SI" sz="2000" dirty="0">
              <a:latin typeface="Chronicle Display Black"/>
              <a:sym typeface="Chronicle Display Black"/>
            </a:endParaRPr>
          </a:p>
        </p:txBody>
      </p:sp>
      <p:sp>
        <p:nvSpPr>
          <p:cNvPr id="3" name="Text Placeholder 1"/>
          <p:cNvSpPr>
            <a:spLocks noGrp="1"/>
          </p:cNvSpPr>
          <p:nvPr>
            <p:ph type="body" sz="quarter" idx="13"/>
          </p:nvPr>
        </p:nvSpPr>
        <p:spPr>
          <a:xfrm>
            <a:off x="469900" y="410771"/>
            <a:ext cx="11252200" cy="259185"/>
          </a:xfrm>
        </p:spPr>
        <p:txBody>
          <a:bodyPr/>
          <a:lstStyle/>
          <a:p>
            <a:r>
              <a:rPr lang="sl-SI" sz="1600" dirty="0"/>
              <a:t>Strateške iniciative</a:t>
            </a:r>
          </a:p>
        </p:txBody>
      </p:sp>
      <p:sp>
        <p:nvSpPr>
          <p:cNvPr id="5" name="Title 2"/>
          <p:cNvSpPr>
            <a:spLocks noGrp="1"/>
          </p:cNvSpPr>
          <p:nvPr>
            <p:ph type="title"/>
          </p:nvPr>
        </p:nvSpPr>
        <p:spPr>
          <a:xfrm>
            <a:off x="469900" y="683241"/>
            <a:ext cx="11252200" cy="698501"/>
          </a:xfrm>
        </p:spPr>
        <p:txBody>
          <a:bodyPr vert="horz"/>
          <a:lstStyle/>
          <a:p>
            <a:r>
              <a:rPr lang="sl-SI" altLang="ja-JP" dirty="0" err="1"/>
              <a:t>Deloitte</a:t>
            </a:r>
            <a:r>
              <a:rPr lang="sl-SI" altLang="ja-JP" dirty="0"/>
              <a:t> je identificiral sedem strateških iniciativ, ki  podpirajo ključne cilje Nacionalne strategije za plačila 2023-2027 in naslavljajo ključne ugotovitve iz Diagnostičnega poročila</a:t>
            </a:r>
          </a:p>
        </p:txBody>
      </p:sp>
      <p:cxnSp>
        <p:nvCxnSpPr>
          <p:cNvPr id="12" name="Straight Connector 11">
            <a:extLst>
              <a:ext uri="{FF2B5EF4-FFF2-40B4-BE49-F238E27FC236}">
                <a16:creationId xmlns:a16="http://schemas.microsoft.com/office/drawing/2014/main" id="{F72D4300-EED4-425E-515D-2F71939450CE}"/>
              </a:ext>
            </a:extLst>
          </p:cNvPr>
          <p:cNvCxnSpPr/>
          <p:nvPr/>
        </p:nvCxnSpPr>
        <p:spPr>
          <a:xfrm>
            <a:off x="9117015" y="1520002"/>
            <a:ext cx="9524" cy="4788000"/>
          </a:xfrm>
          <a:prstGeom prst="line">
            <a:avLst/>
          </a:prstGeom>
          <a:noFill/>
          <a:ln w="9525" cap="flat" cmpd="sng" algn="ctr">
            <a:solidFill>
              <a:srgbClr val="53565A"/>
            </a:solidFill>
            <a:prstDash val="dash"/>
          </a:ln>
          <a:effectLst/>
        </p:spPr>
      </p:cxnSp>
      <p:cxnSp>
        <p:nvCxnSpPr>
          <p:cNvPr id="13" name="Straight Connector 12">
            <a:extLst>
              <a:ext uri="{FF2B5EF4-FFF2-40B4-BE49-F238E27FC236}">
                <a16:creationId xmlns:a16="http://schemas.microsoft.com/office/drawing/2014/main" id="{9157DABD-8818-D711-F078-32306EF2637F}"/>
              </a:ext>
            </a:extLst>
          </p:cNvPr>
          <p:cNvCxnSpPr/>
          <p:nvPr/>
        </p:nvCxnSpPr>
        <p:spPr>
          <a:xfrm>
            <a:off x="6936185" y="1520002"/>
            <a:ext cx="9524" cy="4788000"/>
          </a:xfrm>
          <a:prstGeom prst="line">
            <a:avLst/>
          </a:prstGeom>
          <a:noFill/>
          <a:ln w="9525" cap="flat" cmpd="sng" algn="ctr">
            <a:solidFill>
              <a:srgbClr val="53565A"/>
            </a:solidFill>
            <a:prstDash val="dash"/>
          </a:ln>
          <a:effectLst/>
        </p:spPr>
      </p:cxnSp>
      <p:cxnSp>
        <p:nvCxnSpPr>
          <p:cNvPr id="14" name="Straight Connector 13">
            <a:extLst>
              <a:ext uri="{FF2B5EF4-FFF2-40B4-BE49-F238E27FC236}">
                <a16:creationId xmlns:a16="http://schemas.microsoft.com/office/drawing/2014/main" id="{886A9D7C-1594-D5C6-6361-9BCE5CB6FE33}"/>
              </a:ext>
            </a:extLst>
          </p:cNvPr>
          <p:cNvCxnSpPr/>
          <p:nvPr/>
        </p:nvCxnSpPr>
        <p:spPr>
          <a:xfrm>
            <a:off x="4766469" y="1520002"/>
            <a:ext cx="9524" cy="4788000"/>
          </a:xfrm>
          <a:prstGeom prst="line">
            <a:avLst/>
          </a:prstGeom>
          <a:noFill/>
          <a:ln w="9525" cap="flat" cmpd="sng" algn="ctr">
            <a:solidFill>
              <a:srgbClr val="53565A"/>
            </a:solidFill>
            <a:prstDash val="dash"/>
          </a:ln>
          <a:effectLst/>
        </p:spPr>
      </p:cxnSp>
      <p:cxnSp>
        <p:nvCxnSpPr>
          <p:cNvPr id="15" name="Straight Connector 14">
            <a:extLst>
              <a:ext uri="{FF2B5EF4-FFF2-40B4-BE49-F238E27FC236}">
                <a16:creationId xmlns:a16="http://schemas.microsoft.com/office/drawing/2014/main" id="{B6510699-F5DC-F02C-DFFA-F59C17ED0D5C}"/>
              </a:ext>
            </a:extLst>
          </p:cNvPr>
          <p:cNvCxnSpPr/>
          <p:nvPr/>
        </p:nvCxnSpPr>
        <p:spPr>
          <a:xfrm>
            <a:off x="2595564" y="1520002"/>
            <a:ext cx="9524" cy="4788000"/>
          </a:xfrm>
          <a:prstGeom prst="line">
            <a:avLst/>
          </a:prstGeom>
          <a:noFill/>
          <a:ln w="9525" cap="flat" cmpd="sng" algn="ctr">
            <a:solidFill>
              <a:srgbClr val="53565A"/>
            </a:solidFill>
            <a:prstDash val="dash"/>
          </a:ln>
          <a:effectLst/>
        </p:spPr>
      </p:cxnSp>
      <p:sp>
        <p:nvSpPr>
          <p:cNvPr id="16" name="Rectangle 15">
            <a:extLst>
              <a:ext uri="{FF2B5EF4-FFF2-40B4-BE49-F238E27FC236}">
                <a16:creationId xmlns:a16="http://schemas.microsoft.com/office/drawing/2014/main" id="{F8B5613A-7E40-33D1-88FF-D9D5D04B76B3}"/>
              </a:ext>
            </a:extLst>
          </p:cNvPr>
          <p:cNvSpPr/>
          <p:nvPr/>
        </p:nvSpPr>
        <p:spPr bwMode="gray">
          <a:xfrm>
            <a:off x="469900" y="1489940"/>
            <a:ext cx="2089150" cy="923420"/>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sl-SI" sz="1200" b="1" i="0" u="none" strike="noStrike" kern="0" cap="none" spc="0" normalizeH="0" baseline="0" noProof="0" dirty="0">
                <a:ln>
                  <a:noFill/>
                </a:ln>
                <a:solidFill>
                  <a:prstClr val="white"/>
                </a:solidFill>
                <a:effectLst/>
                <a:uLnTx/>
                <a:uFillTx/>
                <a:latin typeface="Calibri"/>
              </a:rPr>
              <a:t>1. Razvoj trga plačil skladno s pričakovanji ključnih deležnikov</a:t>
            </a:r>
          </a:p>
        </p:txBody>
      </p:sp>
      <p:sp>
        <p:nvSpPr>
          <p:cNvPr id="17" name="Rectangle 16">
            <a:extLst>
              <a:ext uri="{FF2B5EF4-FFF2-40B4-BE49-F238E27FC236}">
                <a16:creationId xmlns:a16="http://schemas.microsoft.com/office/drawing/2014/main" id="{808FBD64-67B8-DC88-8C4B-2BF6CA79C203}"/>
              </a:ext>
            </a:extLst>
          </p:cNvPr>
          <p:cNvSpPr/>
          <p:nvPr/>
        </p:nvSpPr>
        <p:spPr bwMode="gray">
          <a:xfrm>
            <a:off x="2641600" y="1489940"/>
            <a:ext cx="2089150" cy="923420"/>
          </a:xfrm>
          <a:prstGeom prst="rect">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sl-SI" sz="1200" b="1" kern="0" dirty="0">
                <a:solidFill>
                  <a:prstClr val="white"/>
                </a:solidFill>
                <a:latin typeface="Calibri"/>
              </a:rPr>
              <a:t>2. Spodbujanje inovativnosti, tehnološkega razvoja in uporabe učinkovitih načinov plačila</a:t>
            </a:r>
            <a:endParaRPr kumimoji="0" lang="sl-SI" sz="1200" b="1" i="0" u="none" strike="noStrike" kern="0" cap="none" spc="0" normalizeH="0" baseline="0" noProof="0" dirty="0">
              <a:ln>
                <a:noFill/>
              </a:ln>
              <a:solidFill>
                <a:prstClr val="white"/>
              </a:solidFill>
              <a:effectLst/>
              <a:uLnTx/>
              <a:uFillTx/>
              <a:latin typeface="Calibri"/>
            </a:endParaRPr>
          </a:p>
        </p:txBody>
      </p:sp>
      <p:sp>
        <p:nvSpPr>
          <p:cNvPr id="18" name="Rectangle 17">
            <a:extLst>
              <a:ext uri="{FF2B5EF4-FFF2-40B4-BE49-F238E27FC236}">
                <a16:creationId xmlns:a16="http://schemas.microsoft.com/office/drawing/2014/main" id="{890E53A9-42F3-C052-A742-4B1E45C1D0F4}"/>
              </a:ext>
            </a:extLst>
          </p:cNvPr>
          <p:cNvSpPr/>
          <p:nvPr/>
        </p:nvSpPr>
        <p:spPr bwMode="gray">
          <a:xfrm>
            <a:off x="4813300" y="1489940"/>
            <a:ext cx="2089150" cy="923420"/>
          </a:xfrm>
          <a:prstGeom prst="rect">
            <a:avLst/>
          </a:pr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sl-SI" sz="1200" b="1" i="0" u="none" strike="noStrike" kern="0" cap="none" spc="0" normalizeH="0" baseline="0" noProof="0" dirty="0">
                <a:ln>
                  <a:noFill/>
                </a:ln>
                <a:solidFill>
                  <a:prstClr val="white"/>
                </a:solidFill>
                <a:effectLst/>
                <a:uLnTx/>
                <a:uFillTx/>
                <a:latin typeface="Calibri"/>
              </a:rPr>
              <a:t>3. Zniževanje stroškov zagotavljanja in uporabe posameznih načinov plačila</a:t>
            </a:r>
          </a:p>
        </p:txBody>
      </p:sp>
      <p:sp>
        <p:nvSpPr>
          <p:cNvPr id="24" name="Rectangle 23">
            <a:extLst>
              <a:ext uri="{FF2B5EF4-FFF2-40B4-BE49-F238E27FC236}">
                <a16:creationId xmlns:a16="http://schemas.microsoft.com/office/drawing/2014/main" id="{9C5240AC-C259-2EDF-2B2C-1D15848F2F73}"/>
              </a:ext>
            </a:extLst>
          </p:cNvPr>
          <p:cNvSpPr/>
          <p:nvPr/>
        </p:nvSpPr>
        <p:spPr bwMode="gray">
          <a:xfrm>
            <a:off x="6985000" y="1489940"/>
            <a:ext cx="2089150" cy="923420"/>
          </a:xfrm>
          <a:prstGeom prst="rect">
            <a:avLst/>
          </a:prstGeom>
          <a:solidFill>
            <a:srgbClr val="046A38"/>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sl-SI" sz="1200" b="1" i="0" u="none" strike="noStrike" kern="0" cap="none" spc="0" normalizeH="0" baseline="0" noProof="0" dirty="0">
                <a:ln>
                  <a:noFill/>
                </a:ln>
                <a:solidFill>
                  <a:prstClr val="white"/>
                </a:solidFill>
                <a:effectLst/>
                <a:uLnTx/>
                <a:uFillTx/>
                <a:latin typeface="Calibri"/>
              </a:rPr>
              <a:t>4. Zagotavljanja finančne vključenosti v okviru nadaljnje digitalizacije plačil</a:t>
            </a:r>
          </a:p>
        </p:txBody>
      </p:sp>
      <p:sp>
        <p:nvSpPr>
          <p:cNvPr id="26" name="Rectangle 25">
            <a:extLst>
              <a:ext uri="{FF2B5EF4-FFF2-40B4-BE49-F238E27FC236}">
                <a16:creationId xmlns:a16="http://schemas.microsoft.com/office/drawing/2014/main" id="{E62A49F2-5748-340D-F6F3-CFC372CC1CCF}"/>
              </a:ext>
            </a:extLst>
          </p:cNvPr>
          <p:cNvSpPr/>
          <p:nvPr/>
        </p:nvSpPr>
        <p:spPr bwMode="gray">
          <a:xfrm>
            <a:off x="9156700" y="1489940"/>
            <a:ext cx="2089150" cy="923420"/>
          </a:xfrm>
          <a:prstGeom prst="rect">
            <a:avLst/>
          </a:prstGeom>
          <a:solidFill>
            <a:srgbClr val="0D839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sl-SI" sz="1200" b="1" i="0" u="none" strike="noStrike" kern="0" cap="none" spc="0" normalizeH="0" baseline="0" noProof="0" dirty="0">
                <a:ln>
                  <a:noFill/>
                </a:ln>
                <a:solidFill>
                  <a:prstClr val="white"/>
                </a:solidFill>
                <a:effectLst/>
                <a:uLnTx/>
                <a:uFillTx/>
                <a:latin typeface="Calibri"/>
              </a:rPr>
              <a:t>5. Omejevanje sive ekonomije v Sloveniji</a:t>
            </a:r>
          </a:p>
        </p:txBody>
      </p:sp>
      <p:sp>
        <p:nvSpPr>
          <p:cNvPr id="28" name="Rectangle 27">
            <a:extLst>
              <a:ext uri="{FF2B5EF4-FFF2-40B4-BE49-F238E27FC236}">
                <a16:creationId xmlns:a16="http://schemas.microsoft.com/office/drawing/2014/main" id="{5AF5F6A4-05C7-2A90-139C-D226B1C07D33}"/>
              </a:ext>
            </a:extLst>
          </p:cNvPr>
          <p:cNvSpPr/>
          <p:nvPr/>
        </p:nvSpPr>
        <p:spPr bwMode="gray">
          <a:xfrm>
            <a:off x="469900" y="2527660"/>
            <a:ext cx="4260850" cy="428767"/>
          </a:xfrm>
          <a:prstGeom prst="rect">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sl-SI" sz="1400" b="0" i="0" u="none" strike="noStrike" kern="0" cap="none" spc="0" normalizeH="0" baseline="0" noProof="0" dirty="0">
                <a:ln>
                  <a:noFill/>
                </a:ln>
                <a:solidFill>
                  <a:prstClr val="black"/>
                </a:solidFill>
                <a:effectLst/>
                <a:uLnTx/>
                <a:uFillTx/>
                <a:latin typeface="Calibri"/>
              </a:rPr>
              <a:t>Razvoj rešitev za plačevanje z višjo dodano vrednostjo in dobro uporabniško izkušnjo</a:t>
            </a:r>
          </a:p>
        </p:txBody>
      </p:sp>
      <p:sp>
        <p:nvSpPr>
          <p:cNvPr id="30" name="Rectangle 29">
            <a:extLst>
              <a:ext uri="{FF2B5EF4-FFF2-40B4-BE49-F238E27FC236}">
                <a16:creationId xmlns:a16="http://schemas.microsoft.com/office/drawing/2014/main" id="{F220E16F-E81F-EDCE-5789-68B64BC68519}"/>
              </a:ext>
            </a:extLst>
          </p:cNvPr>
          <p:cNvSpPr/>
          <p:nvPr/>
        </p:nvSpPr>
        <p:spPr bwMode="gray">
          <a:xfrm>
            <a:off x="4813300" y="3021018"/>
            <a:ext cx="6432550" cy="428767"/>
          </a:xfrm>
          <a:prstGeom prst="rect">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sl-SI" sz="1400" kern="0" dirty="0">
                <a:solidFill>
                  <a:prstClr val="black"/>
                </a:solidFill>
                <a:latin typeface="Calibri"/>
              </a:rPr>
              <a:t>Fazni</a:t>
            </a:r>
            <a:r>
              <a:rPr kumimoji="0" lang="sl-SI" sz="1400" b="0" i="0" u="none" strike="noStrike" kern="0" cap="none" spc="0" normalizeH="0" baseline="0" noProof="0" dirty="0">
                <a:ln>
                  <a:noFill/>
                </a:ln>
                <a:solidFill>
                  <a:prstClr val="black"/>
                </a:solidFill>
                <a:effectLst/>
                <a:uLnTx/>
                <a:uFillTx/>
                <a:latin typeface="Calibri"/>
              </a:rPr>
              <a:t> pristop, ki vodi do sprejemanja vsaj enega elektronskega načina plačevanja na prodajnem mestu.</a:t>
            </a:r>
          </a:p>
        </p:txBody>
      </p:sp>
      <p:sp>
        <p:nvSpPr>
          <p:cNvPr id="37" name="Rectangle 36">
            <a:extLst>
              <a:ext uri="{FF2B5EF4-FFF2-40B4-BE49-F238E27FC236}">
                <a16:creationId xmlns:a16="http://schemas.microsoft.com/office/drawing/2014/main" id="{FBFB14F0-744E-3377-A082-3F5F84146BE6}"/>
              </a:ext>
            </a:extLst>
          </p:cNvPr>
          <p:cNvSpPr/>
          <p:nvPr/>
        </p:nvSpPr>
        <p:spPr bwMode="gray">
          <a:xfrm>
            <a:off x="6985000" y="3514376"/>
            <a:ext cx="2089150" cy="618276"/>
          </a:xfrm>
          <a:prstGeom prst="rect">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sl-SI" sz="1400" b="0" i="0" u="none" strike="noStrike" kern="0" cap="none" spc="0" normalizeH="0" baseline="0" noProof="0" dirty="0">
                <a:ln>
                  <a:noFill/>
                </a:ln>
                <a:solidFill>
                  <a:prstClr val="black"/>
                </a:solidFill>
                <a:effectLst/>
                <a:uLnTx/>
                <a:uFillTx/>
                <a:latin typeface="Calibri"/>
              </a:rPr>
              <a:t>Zagotavljanje zadostnega dostopa do gotovine</a:t>
            </a:r>
          </a:p>
        </p:txBody>
      </p:sp>
      <p:sp>
        <p:nvSpPr>
          <p:cNvPr id="38" name="Rectangle 37">
            <a:extLst>
              <a:ext uri="{FF2B5EF4-FFF2-40B4-BE49-F238E27FC236}">
                <a16:creationId xmlns:a16="http://schemas.microsoft.com/office/drawing/2014/main" id="{4DF10F99-BE71-366C-BBC6-0FCBCB0DA808}"/>
              </a:ext>
            </a:extLst>
          </p:cNvPr>
          <p:cNvSpPr/>
          <p:nvPr/>
        </p:nvSpPr>
        <p:spPr bwMode="gray">
          <a:xfrm>
            <a:off x="469900" y="4197243"/>
            <a:ext cx="10775950" cy="428767"/>
          </a:xfrm>
          <a:prstGeom prst="rect">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sl-SI" sz="1400" b="0" i="0" u="none" strike="noStrike" kern="0" cap="none" spc="0" normalizeH="0" baseline="0" noProof="0" dirty="0">
                <a:ln>
                  <a:noFill/>
                </a:ln>
                <a:solidFill>
                  <a:prstClr val="black"/>
                </a:solidFill>
                <a:effectLst/>
                <a:uLnTx/>
                <a:uFillTx/>
                <a:latin typeface="Calibri"/>
              </a:rPr>
              <a:t>Izvajanje promocijskih in izobraževalnih aktivnosti z namenom povečanja uporabe in ozaveščenosti glede elektronskih načinov plačevanja</a:t>
            </a:r>
          </a:p>
        </p:txBody>
      </p:sp>
      <p:sp>
        <p:nvSpPr>
          <p:cNvPr id="39" name="Rectangle 38">
            <a:extLst>
              <a:ext uri="{FF2B5EF4-FFF2-40B4-BE49-F238E27FC236}">
                <a16:creationId xmlns:a16="http://schemas.microsoft.com/office/drawing/2014/main" id="{D0A84964-DBC4-C36E-7089-81DB75D308AE}"/>
              </a:ext>
            </a:extLst>
          </p:cNvPr>
          <p:cNvSpPr/>
          <p:nvPr/>
        </p:nvSpPr>
        <p:spPr bwMode="gray">
          <a:xfrm>
            <a:off x="6985000" y="4690601"/>
            <a:ext cx="2089150" cy="618276"/>
          </a:xfrm>
          <a:prstGeom prst="rect">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sl-SI" sz="1400" b="0" i="0" u="none" strike="noStrike" kern="0" cap="none" spc="0" normalizeH="0" baseline="0" noProof="0" dirty="0">
                <a:ln>
                  <a:noFill/>
                </a:ln>
                <a:solidFill>
                  <a:prstClr val="black"/>
                </a:solidFill>
                <a:effectLst/>
                <a:uLnTx/>
                <a:uFillTx/>
                <a:latin typeface="Calibri"/>
              </a:rPr>
              <a:t>Povečanje vključenosti </a:t>
            </a:r>
            <a:r>
              <a:rPr lang="sl-SI" sz="1400" kern="0" dirty="0">
                <a:solidFill>
                  <a:prstClr val="black"/>
                </a:solidFill>
                <a:latin typeface="Calibri"/>
              </a:rPr>
              <a:t>ranljivih skupin v digitalni ekosistem</a:t>
            </a:r>
            <a:endParaRPr kumimoji="0" lang="sl-SI" sz="1400" b="0" i="0" u="none" strike="noStrike" kern="0" cap="none" spc="0" normalizeH="0" baseline="0" noProof="0" dirty="0">
              <a:ln>
                <a:noFill/>
              </a:ln>
              <a:solidFill>
                <a:prstClr val="black"/>
              </a:solidFill>
              <a:effectLst/>
              <a:uLnTx/>
              <a:uFillTx/>
              <a:latin typeface="Calibri"/>
            </a:endParaRPr>
          </a:p>
        </p:txBody>
      </p:sp>
      <p:sp>
        <p:nvSpPr>
          <p:cNvPr id="40" name="Rectangle 39">
            <a:extLst>
              <a:ext uri="{FF2B5EF4-FFF2-40B4-BE49-F238E27FC236}">
                <a16:creationId xmlns:a16="http://schemas.microsoft.com/office/drawing/2014/main" id="{E203F105-E043-DCC6-2F2A-DCC28CB2B131}"/>
              </a:ext>
            </a:extLst>
          </p:cNvPr>
          <p:cNvSpPr/>
          <p:nvPr/>
        </p:nvSpPr>
        <p:spPr bwMode="gray">
          <a:xfrm>
            <a:off x="469900" y="5373468"/>
            <a:ext cx="4260850" cy="428767"/>
          </a:xfrm>
          <a:prstGeom prst="rect">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sl-SI" sz="1400" kern="0" dirty="0">
                <a:latin typeface="Calibri"/>
              </a:rPr>
              <a:t>Varnostni vidik elektronskih plačil</a:t>
            </a:r>
            <a:endParaRPr kumimoji="0" lang="sl-SI" sz="1400" b="0" i="0" u="none" strike="noStrike" kern="0" cap="none" spc="0" normalizeH="0" baseline="0" noProof="0" dirty="0">
              <a:ln>
                <a:noFill/>
              </a:ln>
              <a:effectLst/>
              <a:uLnTx/>
              <a:uFillTx/>
              <a:latin typeface="Calibri"/>
            </a:endParaRPr>
          </a:p>
        </p:txBody>
      </p:sp>
      <p:sp>
        <p:nvSpPr>
          <p:cNvPr id="41" name="Rectangle 40">
            <a:extLst>
              <a:ext uri="{FF2B5EF4-FFF2-40B4-BE49-F238E27FC236}">
                <a16:creationId xmlns:a16="http://schemas.microsoft.com/office/drawing/2014/main" id="{6307CA46-1C01-E57A-99D2-E8DB9135936B}"/>
              </a:ext>
            </a:extLst>
          </p:cNvPr>
          <p:cNvSpPr/>
          <p:nvPr/>
        </p:nvSpPr>
        <p:spPr bwMode="gray">
          <a:xfrm>
            <a:off x="469900" y="5866824"/>
            <a:ext cx="6432550" cy="428767"/>
          </a:xfrm>
          <a:prstGeom prst="rect">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sl-SI" sz="1400" b="0" i="0" u="none" strike="noStrike" kern="0" cap="none" spc="0" normalizeH="0" baseline="0" noProof="0" dirty="0">
                <a:ln>
                  <a:noFill/>
                </a:ln>
                <a:solidFill>
                  <a:prstClr val="black"/>
                </a:solidFill>
                <a:effectLst/>
                <a:uLnTx/>
                <a:uFillTx/>
                <a:latin typeface="Calibri"/>
              </a:rPr>
              <a:t>Spodbujanje inovativnosti, sodelovanja in razvoja plačilnih sistemov skladno z aktivnostmi na EU nivoju </a:t>
            </a:r>
          </a:p>
        </p:txBody>
      </p:sp>
    </p:spTree>
    <p:extLst>
      <p:ext uri="{BB962C8B-B14F-4D97-AF65-F5344CB8AC3E}">
        <p14:creationId xmlns:p14="http://schemas.microsoft.com/office/powerpoint/2010/main" val="25706020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61784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7"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l-SI" sz="2000" dirty="0">
              <a:latin typeface="Chronicle Display Black"/>
              <a:sym typeface="Chronicle Display Black"/>
            </a:endParaRPr>
          </a:p>
        </p:txBody>
      </p:sp>
      <p:sp>
        <p:nvSpPr>
          <p:cNvPr id="5" name="Text Placeholder 6"/>
          <p:cNvSpPr>
            <a:spLocks noGrp="1"/>
          </p:cNvSpPr>
          <p:nvPr>
            <p:ph type="body" sz="quarter" idx="13"/>
          </p:nvPr>
        </p:nvSpPr>
        <p:spPr>
          <a:xfrm>
            <a:off x="469900" y="410771"/>
            <a:ext cx="11252200" cy="259185"/>
          </a:xfrm>
        </p:spPr>
        <p:txBody>
          <a:bodyPr/>
          <a:lstStyle/>
          <a:p>
            <a:r>
              <a:rPr lang="sl-SI" sz="1600" dirty="0"/>
              <a:t>Naslednji koraki</a:t>
            </a:r>
          </a:p>
        </p:txBody>
      </p:sp>
      <p:sp>
        <p:nvSpPr>
          <p:cNvPr id="6" name="Title 5"/>
          <p:cNvSpPr>
            <a:spLocks noGrp="1"/>
          </p:cNvSpPr>
          <p:nvPr>
            <p:ph type="title"/>
          </p:nvPr>
        </p:nvSpPr>
        <p:spPr>
          <a:xfrm>
            <a:off x="469900" y="683241"/>
            <a:ext cx="11252200" cy="698501"/>
          </a:xfrm>
        </p:spPr>
        <p:txBody>
          <a:bodyPr vert="horz"/>
          <a:lstStyle/>
          <a:p>
            <a:r>
              <a:rPr lang="sl-SI" altLang="ja-JP" dirty="0" err="1"/>
              <a:t>Deloitte</a:t>
            </a:r>
            <a:r>
              <a:rPr lang="sl-SI" altLang="ja-JP" dirty="0"/>
              <a:t> bo v začetku decembra organiziral delavnico za predstavitev strateških iniciativ članom Posvetovalne skupine NSP. V naslednjem koraku sledi usklajevanje s posameznimi skupinami deležnikov NSP</a:t>
            </a:r>
            <a:endParaRPr lang="sl-SI" altLang="ja-JP" strike="sngStrike" dirty="0"/>
          </a:p>
        </p:txBody>
      </p:sp>
      <p:grpSp>
        <p:nvGrpSpPr>
          <p:cNvPr id="63" name="Group 62"/>
          <p:cNvGrpSpPr/>
          <p:nvPr/>
        </p:nvGrpSpPr>
        <p:grpSpPr>
          <a:xfrm>
            <a:off x="8102009" y="2150348"/>
            <a:ext cx="3873087" cy="3521396"/>
            <a:chOff x="8102009" y="3155851"/>
            <a:chExt cx="3873087" cy="3521396"/>
          </a:xfrm>
        </p:grpSpPr>
        <p:pic>
          <p:nvPicPr>
            <p:cNvPr id="65" name="Picture 64"/>
            <p:cNvPicPr>
              <a:picLocks noChangeAspect="1"/>
            </p:cNvPicPr>
            <p:nvPr/>
          </p:nvPicPr>
          <p:blipFill rotWithShape="1">
            <a:blip r:embed="rId8"/>
            <a:srcRect b="5852"/>
            <a:stretch/>
          </p:blipFill>
          <p:spPr>
            <a:xfrm>
              <a:off x="8422741" y="5079989"/>
              <a:ext cx="1017630" cy="1440000"/>
            </a:xfrm>
            <a:prstGeom prst="rect">
              <a:avLst/>
            </a:prstGeom>
          </p:spPr>
        </p:pic>
        <p:pic>
          <p:nvPicPr>
            <p:cNvPr id="66" name="Picture 65"/>
            <p:cNvPicPr>
              <a:picLocks noChangeAspect="1"/>
            </p:cNvPicPr>
            <p:nvPr/>
          </p:nvPicPr>
          <p:blipFill>
            <a:blip r:embed="rId9"/>
            <a:stretch>
              <a:fillRect/>
            </a:stretch>
          </p:blipFill>
          <p:spPr>
            <a:xfrm>
              <a:off x="8393412" y="3340186"/>
              <a:ext cx="1075500" cy="1440000"/>
            </a:xfrm>
            <a:prstGeom prst="rect">
              <a:avLst/>
            </a:prstGeom>
          </p:spPr>
        </p:pic>
        <p:sp>
          <p:nvSpPr>
            <p:cNvPr id="68" name="Rectangle 67"/>
            <p:cNvSpPr/>
            <p:nvPr/>
          </p:nvSpPr>
          <p:spPr>
            <a:xfrm>
              <a:off x="9635096" y="3581410"/>
              <a:ext cx="2340000" cy="101566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Lan Filipič</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0" i="0" u="none" strike="noStrike" kern="1200" cap="none" spc="0" normalizeH="0" baseline="0" noProof="0" dirty="0">
                  <a:ln>
                    <a:noFill/>
                  </a:ln>
                  <a:effectLst/>
                  <a:uLnTx/>
                  <a:uFillTx/>
                  <a:latin typeface="Calibri Light" panose="020F0302020204030204" pitchFamily="34" charset="0"/>
                  <a:ea typeface="Calibri" panose="020F0502020204030204" pitchFamily="34" charset="0"/>
                  <a:cs typeface="Calibri Light" panose="020F0302020204030204" pitchFamily="34" charset="0"/>
                </a:rPr>
                <a:t>Direktor</a:t>
              </a:r>
              <a:br>
                <a:rPr kumimoji="0" lang="sl-SI" sz="1100" b="0" i="0" u="none" strike="noStrike" kern="1200" cap="none" spc="0" normalizeH="0" baseline="0" noProof="0" dirty="0">
                  <a:ln>
                    <a:noFill/>
                  </a:ln>
                  <a:effectLst/>
                  <a:uLnTx/>
                  <a:uFillTx/>
                  <a:latin typeface="Calibri Light" panose="020F0302020204030204" pitchFamily="34" charset="0"/>
                  <a:ea typeface="Calibri" panose="020F0502020204030204" pitchFamily="34" charset="0"/>
                  <a:cs typeface="Calibri Light" panose="020F0302020204030204" pitchFamily="34" charset="0"/>
                </a:rPr>
              </a:br>
              <a:r>
                <a:rPr kumimoji="0" lang="sl-SI" sz="1100" b="0" i="0" u="none" strike="noStrike" kern="1200" cap="none" spc="0" normalizeH="0" baseline="0" noProof="0" dirty="0">
                  <a:ln>
                    <a:noFill/>
                  </a:ln>
                  <a:effectLst/>
                  <a:uLnTx/>
                  <a:uFillTx/>
                  <a:latin typeface="Calibri Light" panose="020F0302020204030204" pitchFamily="34" charset="0"/>
                  <a:ea typeface="Calibri" panose="020F0502020204030204" pitchFamily="34" charset="0"/>
                  <a:cs typeface="Calibri Light" panose="020F0302020204030204" pitchFamily="34" charset="0"/>
                </a:rPr>
                <a:t>Poslovno svetovanj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0" i="0" u="none" strike="noStrike" kern="1200" cap="none" spc="0" normalizeH="0" baseline="0" noProof="0" dirty="0">
                  <a:ln>
                    <a:noFill/>
                  </a:ln>
                  <a:effectLst/>
                  <a:uLnTx/>
                  <a:uFillTx/>
                  <a:latin typeface="Calibri Light" panose="020F0302020204030204" pitchFamily="34" charset="0"/>
                  <a:ea typeface="Calibri" panose="020F0502020204030204" pitchFamily="34" charset="0"/>
                  <a:cs typeface="Calibri Light" panose="020F0302020204030204" pitchFamily="34" charset="0"/>
                </a:rPr>
                <a:t/>
              </a:r>
              <a:br>
                <a:rPr kumimoji="0" lang="sl-SI" sz="1100" b="0" i="0" u="none" strike="noStrike" kern="1200" cap="none" spc="0" normalizeH="0" baseline="0" noProof="0" dirty="0">
                  <a:ln>
                    <a:noFill/>
                  </a:ln>
                  <a:effectLst/>
                  <a:uLnTx/>
                  <a:uFillTx/>
                  <a:latin typeface="Calibri Light" panose="020F0302020204030204" pitchFamily="34" charset="0"/>
                  <a:ea typeface="Calibri" panose="020F0502020204030204" pitchFamily="34" charset="0"/>
                  <a:cs typeface="Calibri Light" panose="020F0302020204030204" pitchFamily="34" charset="0"/>
                </a:rPr>
              </a:br>
              <a:r>
                <a:rPr kumimoji="0" lang="sl-SI" sz="1100" b="0" i="0" u="none" strike="noStrike" kern="1200" cap="none" spc="0" normalizeH="0" baseline="0" noProof="0" dirty="0">
                  <a:ln>
                    <a:noFill/>
                  </a:ln>
                  <a:effectLst/>
                  <a:uLnTx/>
                  <a:uFillTx/>
                  <a:latin typeface="Calibri Light" panose="020F0302020204030204" pitchFamily="34" charset="0"/>
                  <a:ea typeface="Calibri" panose="020F0502020204030204" pitchFamily="34" charset="0"/>
                  <a:cs typeface="Calibri Light" panose="020F0302020204030204" pitchFamily="34" charset="0"/>
                </a:rPr>
                <a:t>+386 31 475 84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0" i="0" u="none" strike="noStrike" kern="1200" cap="none" spc="0" normalizeH="0" baseline="0" noProof="0" dirty="0">
                  <a:ln>
                    <a:noFill/>
                  </a:ln>
                  <a:effectLst/>
                  <a:uLnTx/>
                  <a:uFillTx/>
                  <a:latin typeface="Calibri Light" panose="020F0302020204030204" pitchFamily="34" charset="0"/>
                  <a:ea typeface="Calibri" panose="020F0502020204030204" pitchFamily="34" charset="0"/>
                  <a:cs typeface="Calibri Light" panose="020F0302020204030204" pitchFamily="34" charset="0"/>
                </a:rPr>
                <a:t>lfilipic@deloittece.com</a:t>
              </a:r>
            </a:p>
          </p:txBody>
        </p:sp>
        <p:sp>
          <p:nvSpPr>
            <p:cNvPr id="69" name="Rectangle 68"/>
            <p:cNvSpPr/>
            <p:nvPr/>
          </p:nvSpPr>
          <p:spPr>
            <a:xfrm>
              <a:off x="9635096" y="5315241"/>
              <a:ext cx="2340000" cy="101566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1"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Matija Ve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Višji</a:t>
              </a:r>
              <a:r>
                <a:rPr kumimoji="0" lang="sl-SI" sz="1100" b="0" i="0" u="none" strike="noStrike" kern="1200" cap="none" spc="0" normalizeH="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a:t>
              </a:r>
              <a:r>
                <a:rPr kumimoji="0" lang="sl-SI" sz="11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Svetovalec</a:t>
              </a:r>
              <a:br>
                <a:rPr kumimoji="0" lang="sl-SI" sz="11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br>
              <a:r>
                <a:rPr kumimoji="0" lang="sl-SI" sz="11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Poslovno svetovanj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
              </a:r>
              <a:br>
                <a:rPr kumimoji="0" lang="sl-SI" sz="11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br>
              <a:r>
                <a:rPr kumimoji="0" lang="sl-SI" sz="11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386 40 347 790</a:t>
              </a:r>
            </a:p>
            <a:p>
              <a:pPr marL="0" marR="0" lvl="0" indent="0" algn="l" defTabSz="914400" rtl="0" eaLnBrk="1" fontAlgn="auto" latinLnBrk="0" hangingPunct="1">
                <a:lnSpc>
                  <a:spcPct val="100000"/>
                </a:lnSpc>
                <a:spcBef>
                  <a:spcPts val="0"/>
                </a:spcBef>
                <a:spcAft>
                  <a:spcPts val="0"/>
                </a:spcAft>
                <a:buClrTx/>
                <a:buSzTx/>
                <a:buFontTx/>
                <a:buNone/>
                <a:tabLst/>
                <a:defRPr/>
              </a:pPr>
              <a:r>
                <a:rPr lang="sl-SI" sz="1100" dirty="0" err="1">
                  <a:solidFill>
                    <a:srgbClr val="000000"/>
                  </a:solidFill>
                  <a:latin typeface="Calibri Light" panose="020F0302020204030204" pitchFamily="34" charset="0"/>
                  <a:ea typeface="Calibri" panose="020F0502020204030204" pitchFamily="34" charset="0"/>
                  <a:cs typeface="Calibri Light" panose="020F0302020204030204" pitchFamily="34" charset="0"/>
                </a:rPr>
                <a:t>mveber</a:t>
              </a:r>
              <a:r>
                <a:rPr kumimoji="0" lang="sl-SI" sz="1100" b="0" i="0" u="none" strike="noStrike" kern="1200" cap="none" spc="0" normalizeH="0" baseline="0" noProof="0" dirty="0">
                  <a:ln>
                    <a:noFill/>
                  </a:ln>
                  <a:solidFill>
                    <a:srgbClr val="000000"/>
                  </a:solidFill>
                  <a:effectLst/>
                  <a:uLnTx/>
                  <a:uFillTx/>
                  <a:latin typeface="Calibri Light" panose="020F0302020204030204" pitchFamily="34" charset="0"/>
                  <a:ea typeface="Calibri" panose="020F0502020204030204" pitchFamily="34" charset="0"/>
                  <a:cs typeface="Calibri Light" panose="020F0302020204030204" pitchFamily="34" charset="0"/>
                </a:rPr>
                <a:t>@deloittece.com</a:t>
              </a:r>
            </a:p>
          </p:txBody>
        </p:sp>
        <p:sp>
          <p:nvSpPr>
            <p:cNvPr id="70" name="Rounded Rectangle 69"/>
            <p:cNvSpPr/>
            <p:nvPr/>
          </p:nvSpPr>
          <p:spPr>
            <a:xfrm>
              <a:off x="8102009" y="3155851"/>
              <a:ext cx="3459126" cy="3521396"/>
            </a:xfrm>
            <a:prstGeom prst="roundRect">
              <a:avLst>
                <a:gd name="adj" fmla="val 7241"/>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l-SI" dirty="0"/>
            </a:p>
          </p:txBody>
        </p:sp>
      </p:grpSp>
      <p:graphicFrame>
        <p:nvGraphicFramePr>
          <p:cNvPr id="8" name="Table 8">
            <a:extLst>
              <a:ext uri="{FF2B5EF4-FFF2-40B4-BE49-F238E27FC236}">
                <a16:creationId xmlns:a16="http://schemas.microsoft.com/office/drawing/2014/main" id="{9E2FF352-3A41-94EA-F04F-B1DCEEF8D2A2}"/>
              </a:ext>
            </a:extLst>
          </p:cNvPr>
          <p:cNvGraphicFramePr>
            <a:graphicFrameLocks noGrp="1"/>
          </p:cNvGraphicFramePr>
          <p:nvPr>
            <p:extLst>
              <p:ext uri="{D42A27DB-BD31-4B8C-83A1-F6EECF244321}">
                <p14:modId xmlns:p14="http://schemas.microsoft.com/office/powerpoint/2010/main" val="299831956"/>
              </p:ext>
            </p:extLst>
          </p:nvPr>
        </p:nvGraphicFramePr>
        <p:xfrm>
          <a:off x="469900" y="2183066"/>
          <a:ext cx="6824518" cy="2296160"/>
        </p:xfrm>
        <a:graphic>
          <a:graphicData uri="http://schemas.openxmlformats.org/drawingml/2006/table">
            <a:tbl>
              <a:tblPr firstRow="1" bandRow="1">
                <a:tableStyleId>{5C22544A-7EE6-4342-B048-85BDC9FD1C3A}</a:tableStyleId>
              </a:tblPr>
              <a:tblGrid>
                <a:gridCol w="4611255">
                  <a:extLst>
                    <a:ext uri="{9D8B030D-6E8A-4147-A177-3AD203B41FA5}">
                      <a16:colId xmlns:a16="http://schemas.microsoft.com/office/drawing/2014/main" val="2347825580"/>
                    </a:ext>
                  </a:extLst>
                </a:gridCol>
                <a:gridCol w="2213263">
                  <a:extLst>
                    <a:ext uri="{9D8B030D-6E8A-4147-A177-3AD203B41FA5}">
                      <a16:colId xmlns:a16="http://schemas.microsoft.com/office/drawing/2014/main" val="4086597545"/>
                    </a:ext>
                  </a:extLst>
                </a:gridCol>
              </a:tblGrid>
              <a:tr h="370840">
                <a:tc>
                  <a:txBody>
                    <a:bodyPr/>
                    <a:lstStyle/>
                    <a:p>
                      <a:pPr algn="ctr"/>
                      <a:r>
                        <a:rPr lang="sl-SI" sz="1200" dirty="0"/>
                        <a:t>Aktivnosti</a:t>
                      </a:r>
                      <a:endParaRPr lang="en-US" sz="1200" dirty="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92D050"/>
                    </a:solidFill>
                  </a:tcPr>
                </a:tc>
                <a:tc>
                  <a:txBody>
                    <a:bodyPr/>
                    <a:lstStyle/>
                    <a:p>
                      <a:pPr algn="ctr"/>
                      <a:r>
                        <a:rPr lang="sl-SI" sz="1200" dirty="0"/>
                        <a:t>Predviden datum</a:t>
                      </a:r>
                      <a:endParaRPr lang="en-US" sz="1200" dirty="0"/>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92D050"/>
                    </a:solidFill>
                  </a:tcPr>
                </a:tc>
                <a:extLst>
                  <a:ext uri="{0D108BD9-81ED-4DB2-BD59-A6C34878D82A}">
                    <a16:rowId xmlns:a16="http://schemas.microsoft.com/office/drawing/2014/main" val="1944357378"/>
                  </a:ext>
                </a:extLst>
              </a:tr>
              <a:tr h="370840">
                <a:tc>
                  <a:txBody>
                    <a:bodyPr/>
                    <a:lstStyle/>
                    <a:p>
                      <a:r>
                        <a:rPr lang="sl-SI" sz="1200" dirty="0"/>
                        <a:t>Predstavitev strateških iniciativ članom Posvetovalne skupine NSP</a:t>
                      </a:r>
                      <a:endParaRPr 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a:r>
                        <a:rPr lang="sl-SI" sz="1200" dirty="0"/>
                        <a:t>8.12.2022</a:t>
                      </a:r>
                      <a:endParaRPr 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598474936"/>
                  </a:ext>
                </a:extLst>
              </a:tr>
              <a:tr h="370840">
                <a:tc>
                  <a:txBody>
                    <a:bodyPr/>
                    <a:lstStyle/>
                    <a:p>
                      <a:r>
                        <a:rPr lang="sl-SI" sz="1200" dirty="0"/>
                        <a:t>Predstavitev strateških iniciativ posameznim skupinam deležnikov NSP (npr. predstavniki bank, potrošnikov, državnih organov, itd.)</a:t>
                      </a:r>
                      <a:endParaRPr 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a:r>
                        <a:rPr lang="sl-SI" sz="1200" dirty="0"/>
                        <a:t>15.12 – 16.12.2022</a:t>
                      </a:r>
                      <a:endParaRPr 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491111791"/>
                  </a:ext>
                </a:extLst>
              </a:tr>
              <a:tr h="370840">
                <a:tc>
                  <a:txBody>
                    <a:bodyPr/>
                    <a:lstStyle/>
                    <a:p>
                      <a:r>
                        <a:rPr lang="sl-SI" sz="1200" dirty="0"/>
                        <a:t>Priprava končnega osnutka Nacionalne strategije za plačila 2023-2027</a:t>
                      </a:r>
                      <a:endParaRPr 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a:r>
                        <a:rPr lang="sl-SI" sz="1200" dirty="0"/>
                        <a:t>23.12.2022</a:t>
                      </a:r>
                      <a:endParaRPr 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30550073"/>
                  </a:ext>
                </a:extLst>
              </a:tr>
              <a:tr h="370840">
                <a:tc>
                  <a:txBody>
                    <a:bodyPr/>
                    <a:lstStyle/>
                    <a:p>
                      <a:r>
                        <a:rPr lang="sl-SI" sz="1200" dirty="0"/>
                        <a:t>Javna predstavitev Nacionalne strategije za plačila 2023-2027</a:t>
                      </a:r>
                      <a:endParaRPr 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algn="ctr"/>
                      <a:r>
                        <a:rPr lang="sl-SI" sz="1200" dirty="0"/>
                        <a:t>Q1 2023</a:t>
                      </a:r>
                      <a:endParaRPr lang="en-US" sz="1200" dirty="0"/>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786923"/>
                  </a:ext>
                </a:extLst>
              </a:tr>
            </a:tbl>
          </a:graphicData>
        </a:graphic>
      </p:graphicFrame>
    </p:spTree>
    <p:extLst>
      <p:ext uri="{BB962C8B-B14F-4D97-AF65-F5344CB8AC3E}">
        <p14:creationId xmlns:p14="http://schemas.microsoft.com/office/powerpoint/2010/main" val="18607468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464103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1" name="think-cell Slide" r:id="rId5" imgW="395" imgH="394" progId="TCLayout.ActiveDocument.1">
                  <p:embed/>
                </p:oleObj>
              </mc:Choice>
              <mc:Fallback>
                <p:oleObj name="think-cell Slide" r:id="rId5" imgW="395" imgH="394" progId="TCLayout.ActiveDocument.1">
                  <p:embed/>
                  <p:pic>
                    <p:nvPicPr>
                      <p:cNvPr id="30" name="Object 2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68288" y="3485860"/>
            <a:ext cx="8001000" cy="876983"/>
          </a:xfrm>
        </p:spPr>
        <p:txBody>
          <a:bodyPr/>
          <a:lstStyle/>
          <a:p>
            <a:r>
              <a:rPr lang="en-US" sz="4000" dirty="0"/>
              <a:t>Hvala.</a:t>
            </a:r>
          </a:p>
        </p:txBody>
      </p:sp>
      <p:sp>
        <p:nvSpPr>
          <p:cNvPr id="14" name="Rectangle 13"/>
          <p:cNvSpPr/>
          <p:nvPr/>
        </p:nvSpPr>
        <p:spPr bwMode="gray">
          <a:xfrm>
            <a:off x="368288" y="4642410"/>
            <a:ext cx="11351764" cy="2051688"/>
          </a:xfrm>
          <a:prstGeom prst="rect">
            <a:avLst/>
          </a:prstGeom>
          <a:noFill/>
          <a:ln w="19050" algn="ctr">
            <a:noFill/>
            <a:miter lim="800000"/>
            <a:headEnd/>
            <a:tailEnd/>
          </a:ln>
        </p:spPr>
        <p:txBody>
          <a:bodyPr wrap="square" lIns="88900" tIns="88900" rIns="88900" bIns="88900" rtlCol="0" anchor="ctr"/>
          <a:lstStyle/>
          <a:p>
            <a:pPr marL="0" marR="0" lvl="0"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rPr>
              <a:t>Deloitte se nanaša na enega ali več družbe Deloitte Touche Tohmatsu Limited ("DTTL"), njegovo globalno mrežo podjetij članic in njihovih povezanih subjektov (skupaj "Deloitte organization"). DTTL (imenovan tudi Deloitte Global) in vsako od njenih podjetij članic in povezanih subjektov so pravno ločeni in neodvisni subjekti, ki se ne morejo zavezovati ali zavezovati drug drugega v zvezi s tretjimi osebami. Družba DTTL in vsako podjetje članice družbe DTTL in povezani subjekt sta zavezana samo za svoja dejanja in izključitev in ne za dejanja drug drugega. DTTL ne zagotavlja storitev strankam. Oglejte si www.deloitte.com/about, če želite izvedeti več. </a:t>
            </a:r>
            <a:endParaRPr kumimoji="0" lang="sl-SI"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endParaRPr>
          </a:p>
          <a:p>
            <a:pPr marL="0" marR="0" lvl="0"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rPr>
              <a:t>Deloitte je vodilni svetovni ponudnik revizij in zagotavljanja, svetovanja, finančnega svetovanja, svetovanja v zvezi s tveganji, davčnih in povezanih storitev. Naša globalna mreža podjetij članic in povezanih subjektov v več kot 150 državah in ozemljih (skupaj"Organizacija Deloitte") služi štirim od petih podjetij Fortune Global 500® podjetja. Izvedite, kako približno 312.000 ljudi družbe Deloitte vpliva na </a:t>
            </a: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hlinkClick r:id="rId7"/>
              </a:rPr>
              <a:t>www.deloitte.com</a:t>
            </a:r>
            <a:endParaRPr kumimoji="0" lang="sl-SI"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endParaRPr>
          </a:p>
          <a:p>
            <a:pPr marL="0" marR="0" lvl="0"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rPr>
              <a:t>Deloitte Central Europe je regionalna organizacija subjektov, organiziranih pod okriljem družbe Deloitte Central Europe Holdings Limited, članice družbe Deloitte Touche Tohmatsu Limited. Storitve zagotavljajo hčerinske družbe in podružnice podjetij, povezanih z družbo Deloitte Central Europe Holdings Limited, ki so ločene in neodvisne pravne osebe. Hčerinske družbe in podružnice podjetij, povezanih z družbo Deloitte Central Europe Holdings Limited, so med vodilnimi strokovnimi službami v regiji in zagotavljajo storitve prek skoraj 7.000 ljudi v 44 pisarnah v 18 državah.</a:t>
            </a:r>
            <a:endParaRPr kumimoji="0" lang="sl-SI"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endParaRPr>
          </a:p>
          <a:p>
            <a:pPr marL="0" marR="0" lvl="0" indent="0" algn="just"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rPr>
              <a:t>© 202</a:t>
            </a:r>
            <a:r>
              <a:rPr kumimoji="0" lang="sl-SI"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rPr>
              <a:t>1</a:t>
            </a:r>
            <a:r>
              <a:rPr kumimoji="0" lang="en-US" sz="9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sym typeface="Open Sans" panose="020B0606030504020204" pitchFamily="34" charset="0"/>
              </a:rPr>
              <a:t> Deloitte</a:t>
            </a: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mn-ea"/>
              <a:cs typeface="+mn-cs"/>
              <a:sym typeface="Open Sans" panose="020B0606030504020204" pitchFamily="34" charset="0"/>
            </a:endParaRPr>
          </a:p>
        </p:txBody>
      </p:sp>
      <p:sp>
        <p:nvSpPr>
          <p:cNvPr id="3" name="Rectangle 2"/>
          <p:cNvSpPr/>
          <p:nvPr/>
        </p:nvSpPr>
        <p:spPr>
          <a:xfrm>
            <a:off x="733530" y="1125414"/>
            <a:ext cx="1507252" cy="542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177295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9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m.&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XJ6teyFtkpab7mkC60l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7UL0oDvjHdThDQdZ07iq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7UL0oDvjHdThDQdZ07i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7UL0oDvjHdThDQdZ07i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ehjQDiAp9WbQyrtGosK3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mgBI.AatUmIgtm.WhjT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kVb9FbJSECWvEXTDSeq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x3ROAwBn0meoXLbeKut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sSp51RuGke5DRceX5MR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6HAQmk.TkKO4dnjesGk8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mgBI.AatUmIgtm.WhjT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kVb9FbJSECWvEXTDSeq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x3ROAwBn0meoXLbeKut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sSp51RuGke5DRceX5MR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6HAQmk.TkKO4dnjesGk8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D Template Aug 2017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B4543C5C-A3F5-40EC-92E6-E0B5EFCAD0CA}" vid="{540D5DE9-AACF-4F06-9757-1B7754C15DCE}"/>
    </a:ext>
  </a:extLst>
</a:theme>
</file>

<file path=ppt/theme/theme2.xml><?xml version="1.0" encoding="utf-8"?>
<a:theme xmlns:a="http://schemas.openxmlformats.org/drawingml/2006/main" name="1_Proposal_template_Deloitte CE_2013">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3.xml><?xml version="1.0" encoding="utf-8"?>
<a:theme xmlns:a="http://schemas.openxmlformats.org/drawingml/2006/main" name="4_Canadian S&amp;O Template 082407">
  <a:themeElements>
    <a:clrScheme name="">
      <a:dk1>
        <a:srgbClr val="000000"/>
      </a:dk1>
      <a:lt1>
        <a:srgbClr val="FFFFFF"/>
      </a:lt1>
      <a:dk2>
        <a:srgbClr val="99CC33"/>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1_Canadian S&amp;O Template 082407">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Verdana"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Verdana" pitchFamily="34" charset="0"/>
            <a:cs typeface="Arial" charset="0"/>
          </a:defRPr>
        </a:defPPr>
      </a:lstStyle>
    </a:lnDef>
  </a:objectDefaults>
  <a:extraClrSchemeLst>
    <a:extraClrScheme>
      <a:clrScheme name="1_Canadian S&amp;O Template 082407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Canadian S&amp;O Template 082407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Canadian S&amp;O Template 082407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Canadian S&amp;O Template 082407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Canadian S&amp;O Template 082407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Canadian S&amp;O Template 082407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Canadian S&amp;O Template 082407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Canadian S&amp;O Template 082407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1_Canadian S&amp;O Template 082407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1_Canadian S&amp;O Template 082407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1_Canadian S&amp;O Template 082407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1_Canadian S&amp;O Template 082407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1_Canadian S&amp;O Template 082407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1_Canadian S&amp;O Template 082407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1_Canadian S&amp;O Template 082407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1_Canadian S&amp;O Template 082407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Proposal_template_Deloitte CE_2013">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5.xml><?xml version="1.0" encoding="utf-8"?>
<a:theme xmlns:a="http://schemas.openxmlformats.org/drawingml/2006/main" name="DD-DE: Black">
  <a:themeElements>
    <a:clrScheme name="DDD">
      <a:dk1>
        <a:srgbClr val="5C5C5C"/>
      </a:dk1>
      <a:lt1>
        <a:sysClr val="window" lastClr="FFFFFF"/>
      </a:lt1>
      <a:dk2>
        <a:srgbClr val="3F3F3F"/>
      </a:dk2>
      <a:lt2>
        <a:srgbClr val="FCFCFC"/>
      </a:lt2>
      <a:accent1>
        <a:srgbClr val="000000"/>
      </a:accent1>
      <a:accent2>
        <a:srgbClr val="8C8C8C"/>
      </a:accent2>
      <a:accent3>
        <a:srgbClr val="B4B4B4"/>
      </a:accent3>
      <a:accent4>
        <a:srgbClr val="DCDCDC"/>
      </a:accent4>
      <a:accent5>
        <a:srgbClr val="92D400"/>
      </a:accent5>
      <a:accent6>
        <a:srgbClr val="00A1DE"/>
      </a:accent6>
      <a:hlink>
        <a:srgbClr val="92D400"/>
      </a:hlink>
      <a:folHlink>
        <a:srgbClr val="92D400"/>
      </a:folHlink>
    </a:clrScheme>
    <a:fontScheme name="Custom 1">
      <a:majorFont>
        <a:latin typeface="Frutiger Next Pro Light"/>
        <a:ea typeface=""/>
        <a:cs typeface=""/>
      </a:majorFont>
      <a:minorFont>
        <a:latin typeface="Frutiger Next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sz="1400" dirty="0" err="1" smtClean="0">
            <a:latin typeface="Frutiger Next Pro Light"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91440" tIns="45720" rIns="91440" bIns="45720" rtlCol="0" anchor="ctr">
        <a:normAutofit/>
      </a:bodyPr>
      <a:lstStyle>
        <a:defPPr>
          <a:defRPr dirty="0" smtClean="0"/>
        </a:defPPr>
      </a:lstStyle>
    </a:txDef>
  </a:objectDefaults>
  <a:extraClrSchemeLst/>
</a:theme>
</file>

<file path=ppt/theme/theme6.xml><?xml version="1.0" encoding="utf-8"?>
<a:theme xmlns:a="http://schemas.openxmlformats.org/drawingml/2006/main" name="Digital Strategy template">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583C2500-5C5F-4A5F-B8A0-90861525764C}" vid="{39E6F049-C146-43AE-8C7C-35624D82A78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2.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NFListDisplayForm</Display>
  <Edit>NFListEditForm</Edit>
  <New>NFListEditForm</New>
</FormTemplates>
</file>

<file path=customXml/item2.xml><?xml version="1.0" encoding="utf-8"?>
<?mso-contentType ?>
<spe:Receivers xmlns:spe="http://schemas.microsoft.com/sharepoint/event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7D3A0D9231F5854286462B03240A44C9" ma:contentTypeVersion="13" ma:contentTypeDescription="Create a new document." ma:contentTypeScope="" ma:versionID="86bc6b3643cad6e847e669b9392c0cae">
  <xsd:schema xmlns:xsd="http://www.w3.org/2001/XMLSchema" xmlns:xs="http://www.w3.org/2001/XMLSchema" xmlns:p="http://schemas.microsoft.com/office/2006/metadata/properties" xmlns:ns2="fc964935-f53d-4b95-80f4-181d7c6fc15b" xmlns:ns3="a4e8a7bf-90b4-42de-871c-e752faf43d5d" targetNamespace="http://schemas.microsoft.com/office/2006/metadata/properties" ma:root="true" ma:fieldsID="7b1dd7a72bf8fed3e1e5404ae3c06d78" ns2:_="" ns3:_="">
    <xsd:import namespace="fc964935-f53d-4b95-80f4-181d7c6fc15b"/>
    <xsd:import namespace="a4e8a7bf-90b4-42de-871c-e752faf43d5d"/>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964935-f53d-4b95-80f4-181d7c6fc15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4e8a7bf-90b4-42de-871c-e752faf43d5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Display>DocumentLibraryForm</Display>
  <Edit>DocumentLibraryForm</Edit>
  <New>DocumentLibraryForm</New>
  <MobileDisplayFormUrl/>
  <MobileEditFormUrl/>
  <MobileNewFormUrl/>
</FormTemplates>
</file>

<file path=customXml/itemProps1.xml><?xml version="1.0" encoding="utf-8"?>
<ds:datastoreItem xmlns:ds="http://schemas.openxmlformats.org/officeDocument/2006/customXml" ds:itemID="{D7F8BC5A-9795-461C-ACB8-DFFCAF588422}">
  <ds:schemaRefs>
    <ds:schemaRef ds:uri="http://schemas.microsoft.com/sharepoint/v3/contenttype/forms"/>
  </ds:schemaRefs>
</ds:datastoreItem>
</file>

<file path=customXml/itemProps2.xml><?xml version="1.0" encoding="utf-8"?>
<ds:datastoreItem xmlns:ds="http://schemas.openxmlformats.org/officeDocument/2006/customXml" ds:itemID="{4C6805F4-E82F-429E-A1FC-DC56F4FC4EBE}">
  <ds:schemaRefs>
    <ds:schemaRef ds:uri="http://schemas.microsoft.com/sharepoint/events"/>
  </ds:schemaRefs>
</ds:datastoreItem>
</file>

<file path=customXml/itemProps3.xml><?xml version="1.0" encoding="utf-8"?>
<ds:datastoreItem xmlns:ds="http://schemas.openxmlformats.org/officeDocument/2006/customXml" ds:itemID="{2DE3A1B6-05E9-4C78-AFA4-D86EC54658AA}">
  <ds:schemaRefs>
    <ds:schemaRef ds:uri="http://schemas.microsoft.com/office/infopath/2007/PartnerControls"/>
    <ds:schemaRef ds:uri="fc964935-f53d-4b95-80f4-181d7c6fc15b"/>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purl.org/dc/elements/1.1/"/>
    <ds:schemaRef ds:uri="a4e8a7bf-90b4-42de-871c-e752faf43d5d"/>
    <ds:schemaRef ds:uri="http://www.w3.org/XML/1998/namespace"/>
    <ds:schemaRef ds:uri="http://purl.org/dc/dcmitype/"/>
  </ds:schemaRefs>
</ds:datastoreItem>
</file>

<file path=customXml/itemProps4.xml><?xml version="1.0" encoding="utf-8"?>
<ds:datastoreItem xmlns:ds="http://schemas.openxmlformats.org/officeDocument/2006/customXml" ds:itemID="{3D3921C0-11F7-49BF-8476-355B941E20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964935-f53d-4b95-80f4-181d7c6fc15b"/>
    <ds:schemaRef ds:uri="a4e8a7bf-90b4-42de-871c-e752faf43d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DDD700D4-1A1E-458B-AE13-9537653D1CC8}">
  <ds:schemaRefs/>
</ds:datastoreItem>
</file>

<file path=docProps/app.xml><?xml version="1.0" encoding="utf-8"?>
<Properties xmlns="http://schemas.openxmlformats.org/officeDocument/2006/extended-properties" xmlns:vt="http://schemas.openxmlformats.org/officeDocument/2006/docPropsVTypes">
  <Template/>
  <TotalTime>72088</TotalTime>
  <Words>894</Words>
  <Application>Microsoft Office PowerPoint</Application>
  <PresentationFormat>Širokozaslonsko</PresentationFormat>
  <Paragraphs>99</Paragraphs>
  <Slides>6</Slides>
  <Notes>6</Notes>
  <HiddenSlides>0</HiddenSlides>
  <MMClips>0</MMClips>
  <ScaleCrop>false</ScaleCrop>
  <HeadingPairs>
    <vt:vector size="8" baseType="variant">
      <vt:variant>
        <vt:lpstr>Uporabljene pisave</vt:lpstr>
      </vt:variant>
      <vt:variant>
        <vt:i4>16</vt:i4>
      </vt:variant>
      <vt:variant>
        <vt:lpstr>Tema</vt:lpstr>
      </vt:variant>
      <vt:variant>
        <vt:i4>6</vt:i4>
      </vt:variant>
      <vt:variant>
        <vt:lpstr>Vdelani OLE strežniki</vt:lpstr>
      </vt:variant>
      <vt:variant>
        <vt:i4>1</vt:i4>
      </vt:variant>
      <vt:variant>
        <vt:lpstr>Naslovi diapozitivov</vt:lpstr>
      </vt:variant>
      <vt:variant>
        <vt:i4>6</vt:i4>
      </vt:variant>
    </vt:vector>
  </HeadingPairs>
  <TitlesOfParts>
    <vt:vector size="29" baseType="lpstr">
      <vt:lpstr>Arial</vt:lpstr>
      <vt:lpstr>Bebas Neue</vt:lpstr>
      <vt:lpstr>Calibri</vt:lpstr>
      <vt:lpstr>Calibri Light</vt:lpstr>
      <vt:lpstr>Chronicle Display Black</vt:lpstr>
      <vt:lpstr>Frutiger Next Pro Bold</vt:lpstr>
      <vt:lpstr>Frutiger Next Pro Light</vt:lpstr>
      <vt:lpstr>Frutiger Next Pro Medium</vt:lpstr>
      <vt:lpstr>Nexa Black</vt:lpstr>
      <vt:lpstr>Open Sans</vt:lpstr>
      <vt:lpstr>Open Sans Light</vt:lpstr>
      <vt:lpstr>Open Sans Semibold</vt:lpstr>
      <vt:lpstr>Times New Roman</vt:lpstr>
      <vt:lpstr>Wingdings</vt:lpstr>
      <vt:lpstr>Wingdings 2</vt:lpstr>
      <vt:lpstr>ヒラギノ角ゴ ProN W3</vt:lpstr>
      <vt:lpstr>DD Template Aug 2017 16x9</vt:lpstr>
      <vt:lpstr>1_Proposal_template_Deloitte CE_2013</vt:lpstr>
      <vt:lpstr>4_Canadian S&amp;O Template 082407</vt:lpstr>
      <vt:lpstr>Proposal_template_Deloitte CE_2013</vt:lpstr>
      <vt:lpstr>DD-DE: Black</vt:lpstr>
      <vt:lpstr>Digital Strategy template</vt:lpstr>
      <vt:lpstr>think-cell Slide</vt:lpstr>
      <vt:lpstr>Analiza trga plačil v Sloveniji</vt:lpstr>
      <vt:lpstr>Projekt je trenutno v zaključnih fazah priprave Nacionalne strategije za plačila 2023-2027, sledi usklajevanje s posameznimi skupinami deležnikov NSP. Javna predstavitev dokumenta je predvidena v začetku leta 2023</vt:lpstr>
      <vt:lpstr>Na podlagi glavnih ugotovitev Diagnostične faze projekta je Deloitte identificiral ključne teme, ki so naslovljene v okviru posameznih strateških iniciativ</vt:lpstr>
      <vt:lpstr>Deloitte je identificiral sedem strateških iniciativ, ki  podpirajo ključne cilje Nacionalne strategije za plačila 2023-2027 in naslavljajo ključne ugotovitve iz Diagnostičnega poročila</vt:lpstr>
      <vt:lpstr>Deloitte bo v začetku decembra organiziral delavnico za predstavitev strateških iniciativ članom Posvetovalne skupine NSP. V naslednjem koraku sledi usklajevanje s posameznimi skupinami deležnikov NSP</vt:lpstr>
      <vt:lpstr>Hval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iza trga plačil v Sloveniji</dc:title>
  <dc:creator>Veber, Matija</dc:creator>
  <cp:lastModifiedBy>tvehovar</cp:lastModifiedBy>
  <cp:revision>3</cp:revision>
  <dcterms:modified xsi:type="dcterms:W3CDTF">2022-12-30T10:5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11-23T07:44:3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a7b336f-fed4-4422-b190-b911c5093a09</vt:lpwstr>
  </property>
  <property fmtid="{D5CDD505-2E9C-101B-9397-08002B2CF9AE}" pid="8" name="MSIP_Label_ea60d57e-af5b-4752-ac57-3e4f28ca11dc_ContentBits">
    <vt:lpwstr>0</vt:lpwstr>
  </property>
</Properties>
</file>